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26"/>
  </p:notesMasterIdLst>
  <p:handoutMasterIdLst>
    <p:handoutMasterId r:id="rId27"/>
  </p:handoutMasterIdLst>
  <p:sldIdLst>
    <p:sldId id="260" r:id="rId2"/>
    <p:sldId id="3282" r:id="rId3"/>
    <p:sldId id="3163" r:id="rId4"/>
    <p:sldId id="3284" r:id="rId5"/>
    <p:sldId id="321" r:id="rId6"/>
    <p:sldId id="431" r:id="rId7"/>
    <p:sldId id="3027" r:id="rId8"/>
    <p:sldId id="434" r:id="rId9"/>
    <p:sldId id="3025" r:id="rId10"/>
    <p:sldId id="328" r:id="rId11"/>
    <p:sldId id="257" r:id="rId12"/>
    <p:sldId id="3026" r:id="rId13"/>
    <p:sldId id="3286" r:id="rId14"/>
    <p:sldId id="320" r:id="rId15"/>
    <p:sldId id="3285" r:id="rId16"/>
    <p:sldId id="3290" r:id="rId17"/>
    <p:sldId id="3287" r:id="rId18"/>
    <p:sldId id="3288" r:id="rId19"/>
    <p:sldId id="3291" r:id="rId20"/>
    <p:sldId id="3289" r:id="rId21"/>
    <p:sldId id="3292" r:id="rId22"/>
    <p:sldId id="3293" r:id="rId23"/>
    <p:sldId id="3294" r:id="rId24"/>
    <p:sldId id="263" r:id="rId25"/>
  </p:sldIdLst>
  <p:sldSz cx="9144000" cy="5143500" type="screen16x9"/>
  <p:notesSz cx="6792913" cy="9925050"/>
  <p:defaultTextStyle>
    <a:defPPr>
      <a:defRPr lang="es-ES_trad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B5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326" autoAdjust="0"/>
    <p:restoredTop sz="94639" autoAdjust="0"/>
  </p:normalViewPr>
  <p:slideViewPr>
    <p:cSldViewPr>
      <p:cViewPr varScale="1">
        <p:scale>
          <a:sx n="104" d="100"/>
          <a:sy n="104" d="100"/>
        </p:scale>
        <p:origin x="102" y="558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92" d="100"/>
          <a:sy n="92" d="100"/>
        </p:scale>
        <p:origin x="-3780" y="-120"/>
      </p:cViewPr>
      <p:guideLst>
        <p:guide orient="horz" pos="3126"/>
        <p:guide pos="2140"/>
      </p:guideLst>
    </p:cSldViewPr>
  </p:notesViewPr>
  <p:gridSpacing cx="45005" cy="450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3596" cy="49625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847745" y="0"/>
            <a:ext cx="2943596" cy="49625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0EF9587-B5ED-4459-9C1F-B3D730D8B7CC}" type="datetimeFigureOut">
              <a:rPr lang="es-ES" smtClean="0"/>
              <a:t>19/06/2023</a:t>
            </a:fld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0" y="9427075"/>
            <a:ext cx="2943596" cy="49625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847745" y="9427075"/>
            <a:ext cx="2943596" cy="49625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88C700-E2F6-4E9F-8F46-CEB5A5443B37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395268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3596" cy="49625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47745" y="0"/>
            <a:ext cx="2943596" cy="49625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DF2B46-47BC-4FD1-923C-9E3C38D04C9A}" type="datetimeFigureOut">
              <a:rPr lang="es-ES" smtClean="0"/>
              <a:t>19/06/2023</a:t>
            </a:fld>
            <a:endParaRPr lang="es-ES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88900" y="744538"/>
            <a:ext cx="6615113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79292" y="4714399"/>
            <a:ext cx="5434330" cy="446627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9427075"/>
            <a:ext cx="2943596" cy="49625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47745" y="9427075"/>
            <a:ext cx="2943596" cy="49625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B741A3A-3291-4943-BA2A-C4F89E5B522C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707995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23838" y="808038"/>
            <a:ext cx="7180263" cy="40401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Wingdings" panose="05000000000000000000" pitchFamily="2" charset="2"/>
              <a:buNone/>
            </a:pPr>
            <a:endParaRPr lang="en-US" b="0" baseline="0" dirty="0"/>
          </a:p>
          <a:p>
            <a:endParaRPr lang="fr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89C9488-A18B-4FF6-A5F5-45C33EDA3037}" type="slidenum">
              <a:rPr lang="nl-NL" smtClean="0"/>
              <a:pPr>
                <a:defRPr/>
              </a:pPr>
              <a:t>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347277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23838" y="808038"/>
            <a:ext cx="7180263" cy="40401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Wingdings" panose="05000000000000000000" pitchFamily="2" charset="2"/>
              <a:buNone/>
            </a:pPr>
            <a:endParaRPr lang="en-US" b="0" baseline="0" dirty="0"/>
          </a:p>
          <a:p>
            <a:endParaRPr lang="fr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89C9488-A18B-4FF6-A5F5-45C33EDA3037}" type="slidenum">
              <a:rPr lang="nl-NL" smtClean="0"/>
              <a:pPr>
                <a:defRPr/>
              </a:pPr>
              <a:t>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760432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/>
              <a:t>De forma concreta, ¿cuales son los criterios de elegibilidad que todas las entidades españolas deben cumplir para ser elegibles en el programa Eurostars-3?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B741A3A-3291-4943-BA2A-C4F89E5B522C}" type="slidenum">
              <a:rPr lang="es-ES" smtClean="0"/>
              <a:t>8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736774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aa-ET" dirty="0"/>
          </a:p>
        </p:txBody>
      </p:sp>
    </p:spTree>
    <p:extLst>
      <p:ext uri="{BB962C8B-B14F-4D97-AF65-F5344CB8AC3E}">
        <p14:creationId xmlns:p14="http://schemas.microsoft.com/office/powerpoint/2010/main" val="12151021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23838" y="808038"/>
            <a:ext cx="7180263" cy="40401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baseline="0" dirty="0"/>
          </a:p>
          <a:p>
            <a:endParaRPr lang="fr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89C9488-A18B-4FF6-A5F5-45C33EDA3037}" type="slidenum">
              <a:rPr lang="nl-NL" smtClean="0"/>
              <a:pPr>
                <a:defRPr/>
              </a:pPr>
              <a:t>10</a:t>
            </a:fld>
            <a:endParaRPr lang="nl-NL"/>
          </a:p>
        </p:txBody>
      </p:sp>
      <p:sp>
        <p:nvSpPr>
          <p:cNvPr id="5" name="4 Marcador de fecha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Eurostars:  Collaborate with Spanish partners</a:t>
            </a:r>
            <a:endParaRPr lang="es-ES_tradnl"/>
          </a:p>
        </p:txBody>
      </p:sp>
      <p:sp>
        <p:nvSpPr>
          <p:cNvPr id="9" name="8 Marcador de encabezado"/>
          <p:cNvSpPr>
            <a:spLocks noGrp="1"/>
          </p:cNvSpPr>
          <p:nvPr>
            <p:ph type="hdr" sz="quarter" idx="14"/>
          </p:nvPr>
        </p:nvSpPr>
        <p:spPr/>
        <p:txBody>
          <a:bodyPr/>
          <a:lstStyle/>
          <a:p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096807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8900" y="744538"/>
            <a:ext cx="6615113" cy="3721100"/>
          </a:xfrm>
          <a:ln/>
        </p:spPr>
      </p:sp>
      <p:sp>
        <p:nvSpPr>
          <p:cNvPr id="9113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ES" altLang="es-ES_tradnl"/>
          </a:p>
        </p:txBody>
      </p:sp>
    </p:spTree>
    <p:extLst>
      <p:ext uri="{BB962C8B-B14F-4D97-AF65-F5344CB8AC3E}">
        <p14:creationId xmlns:p14="http://schemas.microsoft.com/office/powerpoint/2010/main" val="38157320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17 Image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60" y="4783836"/>
            <a:ext cx="4678680" cy="359664"/>
          </a:xfrm>
          <a:prstGeom prst="rect">
            <a:avLst/>
          </a:prstGeom>
        </p:spPr>
      </p:pic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4572001" y="3162056"/>
            <a:ext cx="4176465" cy="106704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27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modificar el estilo de subtítulo del patrón</a:t>
            </a:r>
            <a:endParaRPr lang="es-ES" dirty="0"/>
          </a:p>
        </p:txBody>
      </p:sp>
      <p:sp>
        <p:nvSpPr>
          <p:cNvPr id="2" name="1 Título"/>
          <p:cNvSpPr>
            <a:spLocks noGrp="1"/>
          </p:cNvSpPr>
          <p:nvPr>
            <p:ph type="ctrTitle" hasCustomPrompt="1"/>
          </p:nvPr>
        </p:nvSpPr>
        <p:spPr>
          <a:xfrm>
            <a:off x="678426" y="1686306"/>
            <a:ext cx="8082116" cy="1102519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3200" baseline="0"/>
            </a:lvl1pPr>
          </a:lstStyle>
          <a:p>
            <a:r>
              <a:rPr lang="es-ES" dirty="0"/>
              <a:t>Título de la ponencia</a:t>
            </a:r>
            <a:br>
              <a:rPr lang="es-ES" dirty="0"/>
            </a:br>
            <a:r>
              <a:rPr lang="es-ES" dirty="0"/>
              <a:t>Título de la ponencia</a:t>
            </a:r>
          </a:p>
        </p:txBody>
      </p:sp>
      <p:sp>
        <p:nvSpPr>
          <p:cNvPr id="17" name="3 Marcador de fecha"/>
          <p:cNvSpPr>
            <a:spLocks noGrp="1"/>
          </p:cNvSpPr>
          <p:nvPr>
            <p:ph type="dt" sz="half" idx="4294967295"/>
          </p:nvPr>
        </p:nvSpPr>
        <p:spPr>
          <a:xfrm>
            <a:off x="8133427" y="4557600"/>
            <a:ext cx="831065" cy="27384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B76D2BA3-998D-4B86-8967-FE3A9AD1816A}" type="datetimeFigureOut">
              <a:rPr lang="es-ES" smtClean="0"/>
              <a:t>19/06/2023</a:t>
            </a:fld>
            <a:endParaRPr lang="es-ES"/>
          </a:p>
        </p:txBody>
      </p:sp>
      <p:sp>
        <p:nvSpPr>
          <p:cNvPr id="5" name="4 CuadroTexto"/>
          <p:cNvSpPr txBox="1"/>
          <p:nvPr/>
        </p:nvSpPr>
        <p:spPr>
          <a:xfrm>
            <a:off x="7844605" y="141770"/>
            <a:ext cx="129939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sz="1600" b="1" dirty="0">
                <a:solidFill>
                  <a:schemeClr val="accent5">
                    <a:lumMod val="75000"/>
                  </a:schemeClr>
                </a:solidFill>
              </a:rPr>
              <a:t>#</a:t>
            </a:r>
            <a:r>
              <a:rPr lang="es-ES_tradnl" sz="1600" b="1" dirty="0" err="1">
                <a:solidFill>
                  <a:schemeClr val="accent5">
                    <a:lumMod val="75000"/>
                  </a:schemeClr>
                </a:solidFill>
              </a:rPr>
              <a:t>Ayudas</a:t>
            </a:r>
            <a:r>
              <a:rPr lang="es-ES_tradnl" sz="1600" b="1" baseline="0" dirty="0" err="1">
                <a:solidFill>
                  <a:schemeClr val="accent5">
                    <a:lumMod val="75000"/>
                  </a:schemeClr>
                </a:solidFill>
              </a:rPr>
              <a:t>CDTI</a:t>
            </a:r>
            <a:endParaRPr lang="es-ES_tradnl" sz="1600" b="1" baseline="0" dirty="0">
              <a:solidFill>
                <a:schemeClr val="accent5">
                  <a:lumMod val="75000"/>
                </a:schemeClr>
              </a:solidFill>
            </a:endParaRPr>
          </a:p>
          <a:p>
            <a:r>
              <a:rPr lang="es-ES_tradnl" sz="1600" b="1" baseline="0" dirty="0">
                <a:solidFill>
                  <a:schemeClr val="accent5">
                    <a:lumMod val="75000"/>
                  </a:schemeClr>
                </a:solidFill>
              </a:rPr>
              <a:t>#Eurostars3</a:t>
            </a:r>
            <a:endParaRPr lang="es-ES_tradnl" sz="16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8" name="Imagen 7" descr="Texto&#10;&#10;Descripción generada automáticamente">
            <a:extLst>
              <a:ext uri="{FF2B5EF4-FFF2-40B4-BE49-F238E27FC236}">
                <a16:creationId xmlns:a16="http://schemas.microsoft.com/office/drawing/2014/main" xmlns="" id="{0DEDD35E-2D0E-44A0-5849-E51F084A6F4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61510" y="141770"/>
            <a:ext cx="2416881" cy="44976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Marcador de texto 10"/>
          <p:cNvSpPr>
            <a:spLocks noGrp="1"/>
          </p:cNvSpPr>
          <p:nvPr>
            <p:ph type="body" sz="quarter" idx="13"/>
          </p:nvPr>
        </p:nvSpPr>
        <p:spPr>
          <a:xfrm>
            <a:off x="525066" y="2284644"/>
            <a:ext cx="7886700" cy="213362"/>
          </a:xfrm>
          <a:prstGeom prst="rect">
            <a:avLst/>
          </a:prstGeom>
        </p:spPr>
        <p:txBody>
          <a:bodyPr lIns="0" tIns="0" rIns="0" bIns="0"/>
          <a:lstStyle>
            <a:lvl1pPr marL="171437" indent="-171437">
              <a:buFontTx/>
              <a:buBlip>
                <a:blip r:embed="rId2"/>
              </a:buBlip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s-ES" dirty="0"/>
              <a:t>Haga clic para modificar el estilo de texto del patrón</a:t>
            </a:r>
            <a:endParaRPr lang="es-ES_tradnl" dirty="0"/>
          </a:p>
        </p:txBody>
      </p:sp>
      <p:sp>
        <p:nvSpPr>
          <p:cNvPr id="6" name="Marcador de texto 10"/>
          <p:cNvSpPr>
            <a:spLocks noGrp="1"/>
          </p:cNvSpPr>
          <p:nvPr>
            <p:ph type="body" sz="quarter" idx="11" hasCustomPrompt="1"/>
          </p:nvPr>
        </p:nvSpPr>
        <p:spPr>
          <a:xfrm>
            <a:off x="1516796" y="634538"/>
            <a:ext cx="4524493" cy="4066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3600" b="1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342887" indent="0">
              <a:buFontTx/>
              <a:buNone/>
              <a:defRPr sz="210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685773" indent="0">
              <a:buFontTx/>
              <a:buNone/>
              <a:defRPr/>
            </a:lvl3pPr>
            <a:lvl4pPr marL="1028659" indent="0">
              <a:buFontTx/>
              <a:buNone/>
              <a:defRPr/>
            </a:lvl4pPr>
            <a:lvl5pPr marL="1371545" indent="0">
              <a:buFontTx/>
              <a:buNone/>
              <a:defRPr/>
            </a:lvl5pPr>
          </a:lstStyle>
          <a:p>
            <a:pPr lvl="0"/>
            <a:r>
              <a:rPr lang="es-ES" dirty="0"/>
              <a:t>Titular Presentación</a:t>
            </a:r>
          </a:p>
        </p:txBody>
      </p:sp>
      <p:sp>
        <p:nvSpPr>
          <p:cNvPr id="9" name="Marcador de texto 2"/>
          <p:cNvSpPr>
            <a:spLocks noGrp="1"/>
          </p:cNvSpPr>
          <p:nvPr>
            <p:ph type="body" sz="quarter" idx="12" hasCustomPrompt="1"/>
          </p:nvPr>
        </p:nvSpPr>
        <p:spPr>
          <a:xfrm>
            <a:off x="525067" y="285533"/>
            <a:ext cx="5909072" cy="34900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 u="sng">
                <a:solidFill>
                  <a:srgbClr val="1B90C6"/>
                </a:solidFill>
                <a:latin typeface="Arial" charset="0"/>
                <a:ea typeface="Arial" charset="0"/>
                <a:cs typeface="Arial" charset="0"/>
              </a:defRPr>
            </a:lvl1pPr>
            <a:lvl2pPr marL="342887" indent="0">
              <a:buNone/>
              <a:defRPr sz="1400" b="0" i="0">
                <a:latin typeface="Arial" charset="0"/>
                <a:ea typeface="Arial" charset="0"/>
                <a:cs typeface="Arial" charset="0"/>
              </a:defRPr>
            </a:lvl2pPr>
            <a:lvl3pPr marL="685773" indent="0">
              <a:buNone/>
              <a:defRPr sz="1400" b="0" i="0">
                <a:latin typeface="Arial" charset="0"/>
                <a:ea typeface="Arial" charset="0"/>
                <a:cs typeface="Arial" charset="0"/>
              </a:defRPr>
            </a:lvl3pPr>
            <a:lvl4pPr marL="1028659" indent="0">
              <a:buNone/>
              <a:defRPr sz="1400" b="0" i="0">
                <a:latin typeface="Arial" charset="0"/>
                <a:ea typeface="Arial" charset="0"/>
                <a:cs typeface="Arial" charset="0"/>
              </a:defRPr>
            </a:lvl4pPr>
            <a:lvl5pPr marL="1371545" indent="0">
              <a:buNone/>
              <a:defRPr sz="1400" b="0" i="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s-ES" dirty="0"/>
              <a:t>Titular presentación / Subtitular</a:t>
            </a:r>
            <a:endParaRPr lang="es-ES_tradnl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sz="quarter" idx="14" hasCustomPrompt="1"/>
          </p:nvPr>
        </p:nvSpPr>
        <p:spPr>
          <a:xfrm>
            <a:off x="525067" y="694429"/>
            <a:ext cx="721842" cy="346740"/>
          </a:xfrm>
          <a:prstGeom prst="rect">
            <a:avLst/>
          </a:prstGeom>
          <a:solidFill>
            <a:srgbClr val="1B90C6"/>
          </a:solidFill>
        </p:spPr>
        <p:txBody>
          <a:bodyPr lIns="26999" tIns="26999" rIns="26999" bIns="26999"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342887" indent="0">
              <a:buNone/>
              <a:defRPr sz="3600"/>
            </a:lvl2pPr>
            <a:lvl3pPr marL="685773" indent="0">
              <a:buNone/>
              <a:defRPr sz="3600"/>
            </a:lvl3pPr>
            <a:lvl4pPr marL="1028659" indent="0">
              <a:buNone/>
              <a:defRPr sz="3600"/>
            </a:lvl4pPr>
            <a:lvl5pPr marL="1371545" indent="0">
              <a:buNone/>
              <a:defRPr sz="3600"/>
            </a:lvl5pPr>
          </a:lstStyle>
          <a:p>
            <a:pPr lvl="0"/>
            <a:r>
              <a:rPr lang="es-ES" dirty="0"/>
              <a:t>12.3</a:t>
            </a:r>
            <a:endParaRPr lang="es-ES_tradnl" dirty="0"/>
          </a:p>
        </p:txBody>
      </p:sp>
      <p:sp>
        <p:nvSpPr>
          <p:cNvPr id="13" name="Marcador de texto 10"/>
          <p:cNvSpPr>
            <a:spLocks noGrp="1"/>
          </p:cNvSpPr>
          <p:nvPr>
            <p:ph type="body" sz="quarter" idx="15" hasCustomPrompt="1"/>
          </p:nvPr>
        </p:nvSpPr>
        <p:spPr>
          <a:xfrm>
            <a:off x="525066" y="1390176"/>
            <a:ext cx="1918876" cy="2888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100" b="1">
                <a:solidFill>
                  <a:srgbClr val="1B90C6"/>
                </a:solidFill>
              </a:defRPr>
            </a:lvl1pPr>
            <a:lvl2pPr marL="342887" indent="0">
              <a:buNone/>
              <a:defRPr sz="1500"/>
            </a:lvl2pPr>
            <a:lvl3pPr marL="685773" indent="0">
              <a:buNone/>
              <a:defRPr sz="1500"/>
            </a:lvl3pPr>
            <a:lvl4pPr marL="1028659" indent="0">
              <a:buNone/>
              <a:defRPr sz="1500"/>
            </a:lvl4pPr>
            <a:lvl5pPr marL="1371545" indent="0">
              <a:buNone/>
              <a:defRPr sz="1500"/>
            </a:lvl5pPr>
          </a:lstStyle>
          <a:p>
            <a:pPr lvl="0"/>
            <a:r>
              <a:rPr lang="es-ES" dirty="0"/>
              <a:t>Subtitular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453502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i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0" y="202224"/>
            <a:ext cx="8077200" cy="8572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 eaLnBrk="1" latinLnBrk="0" hangingPunct="1">
              <a:defRPr kumimoji="0" lang="es-ES" sz="3400" b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kumimoji="0" lang="es-ES" dirty="0"/>
              <a:t>Haga clic para modificar el estilo de título del patró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0" y="1197310"/>
            <a:ext cx="8077200" cy="3223022"/>
          </a:xfrm>
          <a:prstGeom prst="rect">
            <a:avLst/>
          </a:prstGeom>
        </p:spPr>
        <p:txBody>
          <a:bodyPr>
            <a:normAutofit/>
          </a:bodyPr>
          <a:lstStyle>
            <a:lvl1pPr eaLnBrk="1" latinLnBrk="0" hangingPunct="1">
              <a:defRPr kumimoji="0" lang="es-ES" sz="280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eaLnBrk="1" latinLnBrk="0" hangingPunct="1">
              <a:defRPr kumimoji="0" lang="es-ES" sz="240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eaLnBrk="1" latinLnBrk="0" hangingPunct="1">
              <a:defRPr kumimoji="0" lang="es-ES" sz="200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eaLnBrk="1" latinLnBrk="0" hangingPunct="1">
              <a:defRPr kumimoji="0" lang="es-ES" sz="200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eaLnBrk="1" latinLnBrk="0" hangingPunct="1">
              <a:defRPr kumimoji="0" lang="es-ES" sz="200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 eaLnBrk="1" latinLnBrk="0" hangingPunct="1"/>
            <a:r>
              <a:rPr lang="es-ES"/>
              <a:t>Haga clic para modificar el estilo de texto del patrón</a:t>
            </a:r>
          </a:p>
          <a:p>
            <a:pPr lvl="1" eaLnBrk="1" latinLnBrk="0" hangingPunct="1"/>
            <a:r>
              <a:rPr lang="es-ES"/>
              <a:t>Segundo nivel</a:t>
            </a:r>
          </a:p>
          <a:p>
            <a:pPr lvl="2" eaLnBrk="1" latinLnBrk="0" hangingPunct="1"/>
            <a:r>
              <a:rPr lang="es-ES"/>
              <a:t>Tercer nivel</a:t>
            </a:r>
          </a:p>
          <a:p>
            <a:pPr lvl="3" eaLnBrk="1" latinLnBrk="0" hangingPunct="1"/>
            <a:r>
              <a:rPr lang="es-ES"/>
              <a:t>Cuarto nivel</a:t>
            </a:r>
          </a:p>
          <a:p>
            <a:pPr lvl="4" eaLnBrk="1" latinLnBrk="0" hangingPunct="1"/>
            <a:r>
              <a:rPr lang="es-ES"/>
              <a:t>Quinto ni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91076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warp dir="in"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ES_tradn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S_tradn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0B6CC2E4-E1C2-41C4-A501-18A4E645E36D}" type="datetimeFigureOut">
              <a:rPr lang="es-ES_tradnl" smtClean="0"/>
              <a:t>19/06/2023</a:t>
            </a:fld>
            <a:endParaRPr lang="es-ES_tradn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5CB538C4-3DF0-4D33-AC08-D1265FF2CDD5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1916453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AB08800-7F80-4345-A298-7B319D2AA2F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61833" y="683306"/>
            <a:ext cx="5694254" cy="456606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defRPr sz="3300" b="1" i="0">
                <a:solidFill>
                  <a:schemeClr val="accent1"/>
                </a:solidFill>
                <a:latin typeface="Nunito Sans" pitchFamily="2" charset="77"/>
              </a:defRPr>
            </a:lvl1pPr>
          </a:lstStyle>
          <a:p>
            <a:r>
              <a:rPr lang="en-GB"/>
              <a:t>Click to write a title</a:t>
            </a:r>
            <a:endParaRPr lang="aa-ET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74C3FEDA-2813-F542-9623-A604C6CD557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61833" y="1257493"/>
            <a:ext cx="5694254" cy="456606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725" b="1">
                <a:latin typeface="Inconsolata" pitchFamily="49" charset="77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write a subtitle (optional)</a:t>
            </a:r>
            <a:endParaRPr lang="aa-ET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5330998E-EFFF-E848-9DB3-CFCF1537BD3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61833" y="1831682"/>
            <a:ext cx="5693800" cy="2373993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Tx/>
              <a:buBlip>
                <a:blip r:embed="rId2"/>
              </a:buBlip>
              <a:defRPr sz="1800">
                <a:latin typeface="Minion Pro" panose="02040503050306020203" pitchFamily="18" charset="0"/>
              </a:defRPr>
            </a:lvl1pPr>
            <a:lvl2pPr>
              <a:defRPr>
                <a:latin typeface="Minion Pro" panose="02040503050306020203" pitchFamily="18" charset="0"/>
              </a:defRPr>
            </a:lvl2pPr>
            <a:lvl3pPr>
              <a:defRPr>
                <a:latin typeface="Minion Pro" panose="02040503050306020203" pitchFamily="18" charset="0"/>
              </a:defRPr>
            </a:lvl3pPr>
            <a:lvl4pPr>
              <a:defRPr>
                <a:latin typeface="Minion Pro" panose="02040503050306020203" pitchFamily="18" charset="0"/>
              </a:defRPr>
            </a:lvl4pPr>
            <a:lvl5pPr>
              <a:defRPr>
                <a:latin typeface="Minion Pro" panose="02040503050306020203" pitchFamily="18" charset="0"/>
              </a:defRPr>
            </a:lvl5pPr>
          </a:lstStyle>
          <a:p>
            <a:pPr lvl="0"/>
            <a:r>
              <a:rPr lang="en-GB"/>
              <a:t>Click to write a first bullet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xmlns="" id="{1E59089E-37D3-2C41-A958-568871FD2D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96133" y="4458315"/>
            <a:ext cx="2981840" cy="282733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1050">
                <a:solidFill>
                  <a:schemeClr val="tx1"/>
                </a:solidFill>
                <a:latin typeface="Minion Pro" panose="02040503050306020203" pitchFamily="18" charset="0"/>
              </a:defRPr>
            </a:lvl1pPr>
          </a:lstStyle>
          <a:p>
            <a:r>
              <a:rPr lang="aa-ET"/>
              <a:t>Write a footer text (optional)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xmlns="" id="{4DA66B5F-AE5B-1C4F-890A-1F9DDA0F7D58}"/>
              </a:ext>
            </a:extLst>
          </p:cNvPr>
          <p:cNvSpPr>
            <a:spLocks noChangeAspect="1"/>
          </p:cNvSpPr>
          <p:nvPr userDrawn="1"/>
        </p:nvSpPr>
        <p:spPr>
          <a:xfrm>
            <a:off x="7498045" y="662333"/>
            <a:ext cx="3291911" cy="3291911"/>
          </a:xfrm>
          <a:prstGeom prst="ellipse">
            <a:avLst/>
          </a:prstGeom>
          <a:noFill/>
          <a:ln w="1016000">
            <a:solidFill>
              <a:schemeClr val="tx2"/>
            </a:solidFill>
            <a:extLst>
              <a:ext uri="{C807C97D-BFC1-408E-A445-0C87EB9F89A2}">
                <ask:lineSketchStyleProps xmlns:ask="http://schemas.microsoft.com/office/drawing/2018/sketchyshapes" xmlns="" sd="1219033472">
                  <a:custGeom>
                    <a:avLst/>
                    <a:gdLst>
                      <a:gd name="connsiteX0" fmla="*/ 0 w 5282171"/>
                      <a:gd name="connsiteY0" fmla="*/ 2641086 h 5282171"/>
                      <a:gd name="connsiteX1" fmla="*/ 2641086 w 5282171"/>
                      <a:gd name="connsiteY1" fmla="*/ 0 h 5282171"/>
                      <a:gd name="connsiteX2" fmla="*/ 5282172 w 5282171"/>
                      <a:gd name="connsiteY2" fmla="*/ 2641086 h 5282171"/>
                      <a:gd name="connsiteX3" fmla="*/ 2641086 w 5282171"/>
                      <a:gd name="connsiteY3" fmla="*/ 5282172 h 5282171"/>
                      <a:gd name="connsiteX4" fmla="*/ 0 w 5282171"/>
                      <a:gd name="connsiteY4" fmla="*/ 2641086 h 52821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282171" h="5282171" extrusionOk="0">
                        <a:moveTo>
                          <a:pt x="0" y="2641086"/>
                        </a:moveTo>
                        <a:cubicBezTo>
                          <a:pt x="-126175" y="1104626"/>
                          <a:pt x="927613" y="95646"/>
                          <a:pt x="2641086" y="0"/>
                        </a:cubicBezTo>
                        <a:cubicBezTo>
                          <a:pt x="4163308" y="13387"/>
                          <a:pt x="5140877" y="1186947"/>
                          <a:pt x="5282172" y="2641086"/>
                        </a:cubicBezTo>
                        <a:cubicBezTo>
                          <a:pt x="5145305" y="4233376"/>
                          <a:pt x="4084082" y="5368594"/>
                          <a:pt x="2641086" y="5282172"/>
                        </a:cubicBezTo>
                        <a:cubicBezTo>
                          <a:pt x="1060388" y="5215387"/>
                          <a:pt x="35708" y="4116780"/>
                          <a:pt x="0" y="2641086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aa-ET" sz="1350"/>
          </a:p>
        </p:txBody>
      </p:sp>
    </p:spTree>
    <p:extLst>
      <p:ext uri="{BB962C8B-B14F-4D97-AF65-F5344CB8AC3E}">
        <p14:creationId xmlns:p14="http://schemas.microsoft.com/office/powerpoint/2010/main" val="3967698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 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11 Marcador de texto"/>
          <p:cNvSpPr>
            <a:spLocks noGrp="1"/>
          </p:cNvSpPr>
          <p:nvPr>
            <p:ph type="body" sz="quarter" idx="10"/>
          </p:nvPr>
        </p:nvSpPr>
        <p:spPr>
          <a:xfrm>
            <a:off x="454253" y="1268362"/>
            <a:ext cx="8235499" cy="297344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S_tradnl" dirty="0"/>
          </a:p>
        </p:txBody>
      </p:sp>
      <p:sp>
        <p:nvSpPr>
          <p:cNvPr id="16" name="15 Título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009819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á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8 Marcador de gráfico"/>
          <p:cNvSpPr>
            <a:spLocks noGrp="1"/>
          </p:cNvSpPr>
          <p:nvPr>
            <p:ph type="chart" sz="quarter" idx="13"/>
          </p:nvPr>
        </p:nvSpPr>
        <p:spPr>
          <a:xfrm>
            <a:off x="572421" y="1256565"/>
            <a:ext cx="7993063" cy="2967775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en el icono para agregar un gráfico</a:t>
            </a:r>
            <a:endParaRPr lang="es-ES_tradnl"/>
          </a:p>
        </p:txBody>
      </p:sp>
      <p:sp>
        <p:nvSpPr>
          <p:cNvPr id="10" name="9 Título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ES_tradnl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7 Título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ES_tradnl"/>
          </a:p>
        </p:txBody>
      </p:sp>
      <p:sp>
        <p:nvSpPr>
          <p:cNvPr id="10" name="9 Marcador de tabla"/>
          <p:cNvSpPr>
            <a:spLocks noGrp="1"/>
          </p:cNvSpPr>
          <p:nvPr>
            <p:ph type="tbl" sz="quarter" idx="13"/>
          </p:nvPr>
        </p:nvSpPr>
        <p:spPr>
          <a:xfrm>
            <a:off x="460826" y="1168402"/>
            <a:ext cx="8223250" cy="3149600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en el icono para agregar una tabla</a:t>
            </a:r>
            <a:endParaRPr lang="es-ES_tradnl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ítulo y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1044077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ES_tradnl" dirty="0"/>
          </a:p>
        </p:txBody>
      </p:sp>
      <p:sp>
        <p:nvSpPr>
          <p:cNvPr id="4" name="2 Subtítulo"/>
          <p:cNvSpPr>
            <a:spLocks noGrp="1"/>
          </p:cNvSpPr>
          <p:nvPr>
            <p:ph type="subTitle" idx="4294967295"/>
          </p:nvPr>
        </p:nvSpPr>
        <p:spPr>
          <a:xfrm>
            <a:off x="1371600" y="2578390"/>
            <a:ext cx="6400800" cy="1314450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para modificar el estilo de subtítulo del patrón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511890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o e ima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s-ES" dirty="0"/>
              <a:t>Título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1631158"/>
            <a:ext cx="4040188" cy="2710769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2" name="11 Marcador de posición de imagen"/>
          <p:cNvSpPr>
            <a:spLocks noGrp="1"/>
          </p:cNvSpPr>
          <p:nvPr>
            <p:ph type="pic" sz="quarter" idx="13"/>
          </p:nvPr>
        </p:nvSpPr>
        <p:spPr>
          <a:xfrm>
            <a:off x="4654551" y="1155702"/>
            <a:ext cx="4035425" cy="3192125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en el icono para agregar una imagen</a:t>
            </a:r>
            <a:endParaRPr lang="es-ES_tradnl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exto a dos column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3" y="204787"/>
            <a:ext cx="3008313" cy="8715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04790"/>
            <a:ext cx="5111750" cy="4113212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3" y="1076328"/>
            <a:ext cx="3008313" cy="32332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31254" y="4692148"/>
            <a:ext cx="540211" cy="36933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2400" b="1" i="0">
                <a:solidFill>
                  <a:schemeClr val="tx2"/>
                </a:solidFill>
                <a:latin typeface="Arial"/>
                <a:cs typeface="Arial"/>
              </a:defRPr>
            </a:lvl1pPr>
          </a:lstStyle>
          <a:p>
            <a:fld id="{D96F9206-8575-43C1-9471-9C5E6E91247F}" type="slidenum">
              <a:rPr lang="es-ES" smtClean="0"/>
              <a:t>‹Nº›</a:t>
            </a:fld>
            <a:endParaRPr lang="es-ES"/>
          </a:p>
        </p:txBody>
      </p:sp>
      <p:sp>
        <p:nvSpPr>
          <p:cNvPr id="5" name="Tijdelijke aanduiding voor titel 1"/>
          <p:cNvSpPr>
            <a:spLocks noGrp="1"/>
          </p:cNvSpPr>
          <p:nvPr>
            <p:ph type="title"/>
          </p:nvPr>
        </p:nvSpPr>
        <p:spPr>
          <a:xfrm>
            <a:off x="720675" y="205980"/>
            <a:ext cx="6500185" cy="5083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1664589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498209"/>
      </p:ext>
    </p:extLst>
  </p:cSld>
  <p:clrMapOvr>
    <a:masterClrMapping/>
  </p:clrMapOvr>
  <p:transition spd="slow">
    <p:wipe dir="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3 Imagen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530" y="4619171"/>
            <a:ext cx="572871" cy="425944"/>
          </a:xfrm>
          <a:prstGeom prst="rect">
            <a:avLst/>
          </a:prstGeom>
        </p:spPr>
      </p:pic>
      <p:sp>
        <p:nvSpPr>
          <p:cNvPr id="7" name="CuadroTexto 4"/>
          <p:cNvSpPr txBox="1"/>
          <p:nvPr/>
        </p:nvSpPr>
        <p:spPr>
          <a:xfrm>
            <a:off x="5258306" y="4823267"/>
            <a:ext cx="388569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5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cumento informativo sin valor legal. Se autoriza la reproducción</a:t>
            </a:r>
            <a:r>
              <a:rPr kumimoji="0" lang="es-ES" sz="5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otal o parcial, citando la fuente. </a:t>
            </a:r>
            <a:br>
              <a:rPr kumimoji="0" lang="es-ES" sz="5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s-ES" sz="5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 information purposes only, not legally binding. </a:t>
            </a:r>
            <a:r>
              <a:rPr kumimoji="0" lang="es-ES" sz="5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production of the text it is authorised provided that the source is acknowledged.</a:t>
            </a:r>
            <a:endParaRPr kumimoji="0" lang="es-ES_tradnl" sz="500" b="0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5" name="Imagen 4" descr="Texto&#10;&#10;Descripción generada automáticamente">
            <a:extLst>
              <a:ext uri="{FF2B5EF4-FFF2-40B4-BE49-F238E27FC236}">
                <a16:creationId xmlns:a16="http://schemas.microsoft.com/office/drawing/2014/main" xmlns="" id="{52ACD4B6-BED5-1901-ACEC-B922F8156DC2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3079334" y="4673208"/>
            <a:ext cx="1612721" cy="30011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3" r:id="rId9"/>
    <p:sldLayoutId id="2147483684" r:id="rId10"/>
    <p:sldLayoutId id="2147483686" r:id="rId11"/>
    <p:sldLayoutId id="2147483687" r:id="rId12"/>
    <p:sldLayoutId id="2147483688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6" Type="http://schemas.openxmlformats.org/officeDocument/2006/relationships/hyperlink" Target="mailto:luis.tejero@cdti.es" TargetMode="External"/><Relationship Id="rId5" Type="http://schemas.openxmlformats.org/officeDocument/2006/relationships/hyperlink" Target="mailto:eurostars3@cdti.es" TargetMode="External"/><Relationship Id="rId4" Type="http://schemas.openxmlformats.org/officeDocument/2006/relationships/image" Target="../media/image7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urekanetwork.org/open-calls/eurostars-funding-programme-2023-call-5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hyperlink" Target="https://een.ec.europa.eu/about/branches/spain" TargetMode="Externa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1.png"/><Relationship Id="rId4" Type="http://schemas.openxmlformats.org/officeDocument/2006/relationships/image" Target="../media/image2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op.europa.eu/en/publication-detail/-/publication/96292c4b-e3e5-11ed-a05c-01aa75ed71a1/language-en/format-PDF/source-284870432#share" TargetMode="External"/><Relationship Id="rId5" Type="http://schemas.openxmlformats.org/officeDocument/2006/relationships/image" Target="../media/image11.png"/><Relationship Id="rId4" Type="http://schemas.openxmlformats.org/officeDocument/2006/relationships/image" Target="../media/image32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5.png"/><Relationship Id="rId5" Type="http://schemas.openxmlformats.org/officeDocument/2006/relationships/image" Target="../media/image11.png"/><Relationship Id="rId4" Type="http://schemas.microsoft.com/office/2007/relationships/hdphoto" Target="../media/hdphoto2.wdp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hyperlink" Target="mailto:eurostars3@cdti.es" TargetMode="External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1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urekanetwork.org/programmes/innowwide/" TargetMode="Externa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urekanetwork.org/programmes/innowwide/library" TargetMode="Externa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0.xml"/><Relationship Id="rId4" Type="http://schemas.openxmlformats.org/officeDocument/2006/relationships/hyperlink" Target="mailto:innowwide@eurekanetwork.org" TargetMode="External"/></Relationships>
</file>

<file path=ppt/slides/_rels/slide22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21" Type="http://schemas.openxmlformats.org/officeDocument/2006/relationships/tags" Target="../tags/tag21.xml"/><Relationship Id="rId63" Type="http://schemas.openxmlformats.org/officeDocument/2006/relationships/tags" Target="../tags/tag63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226" Type="http://schemas.openxmlformats.org/officeDocument/2006/relationships/tags" Target="../tags/tag226.xml"/><Relationship Id="rId268" Type="http://schemas.openxmlformats.org/officeDocument/2006/relationships/tags" Target="../tags/tag268.xml"/><Relationship Id="rId32" Type="http://schemas.openxmlformats.org/officeDocument/2006/relationships/tags" Target="../tags/tag32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335" Type="http://schemas.openxmlformats.org/officeDocument/2006/relationships/tags" Target="../tags/tag335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181" Type="http://schemas.openxmlformats.org/officeDocument/2006/relationships/tags" Target="../tags/tag181.xml"/><Relationship Id="rId237" Type="http://schemas.openxmlformats.org/officeDocument/2006/relationships/tags" Target="../tags/tag237.xml"/><Relationship Id="rId279" Type="http://schemas.openxmlformats.org/officeDocument/2006/relationships/tags" Target="../tags/tag279.xml"/><Relationship Id="rId43" Type="http://schemas.openxmlformats.org/officeDocument/2006/relationships/tags" Target="../tags/tag43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46" Type="http://schemas.openxmlformats.org/officeDocument/2006/relationships/tags" Target="../tags/tag346.xml"/><Relationship Id="rId388" Type="http://schemas.openxmlformats.org/officeDocument/2006/relationships/image" Target="../media/image42.png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48" Type="http://schemas.openxmlformats.org/officeDocument/2006/relationships/tags" Target="../tags/tag248.xml"/><Relationship Id="rId12" Type="http://schemas.openxmlformats.org/officeDocument/2006/relationships/tags" Target="../tags/tag12.xml"/><Relationship Id="rId108" Type="http://schemas.openxmlformats.org/officeDocument/2006/relationships/tags" Target="../tags/tag108.xml"/><Relationship Id="rId315" Type="http://schemas.openxmlformats.org/officeDocument/2006/relationships/tags" Target="../tags/tag315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96" Type="http://schemas.openxmlformats.org/officeDocument/2006/relationships/tags" Target="../tags/tag96.xml"/><Relationship Id="rId161" Type="http://schemas.openxmlformats.org/officeDocument/2006/relationships/tags" Target="../tags/tag161.xml"/><Relationship Id="rId217" Type="http://schemas.openxmlformats.org/officeDocument/2006/relationships/tags" Target="../tags/tag217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326" Type="http://schemas.openxmlformats.org/officeDocument/2006/relationships/tags" Target="../tags/tag326.xml"/><Relationship Id="rId65" Type="http://schemas.openxmlformats.org/officeDocument/2006/relationships/tags" Target="../tags/tag65.xml"/><Relationship Id="rId130" Type="http://schemas.openxmlformats.org/officeDocument/2006/relationships/tags" Target="../tags/tag130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228" Type="http://schemas.openxmlformats.org/officeDocument/2006/relationships/tags" Target="../tags/tag228.xml"/><Relationship Id="rId281" Type="http://schemas.openxmlformats.org/officeDocument/2006/relationships/tags" Target="../tags/tag281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76" Type="http://schemas.openxmlformats.org/officeDocument/2006/relationships/tags" Target="../tags/tag76.xml"/><Relationship Id="rId141" Type="http://schemas.openxmlformats.org/officeDocument/2006/relationships/tags" Target="../tags/tag141.xml"/><Relationship Id="rId379" Type="http://schemas.openxmlformats.org/officeDocument/2006/relationships/slideLayout" Target="../slideLayouts/slideLayout10.xml"/><Relationship Id="rId7" Type="http://schemas.openxmlformats.org/officeDocument/2006/relationships/tags" Target="../tags/tag7.xml"/><Relationship Id="rId183" Type="http://schemas.openxmlformats.org/officeDocument/2006/relationships/tags" Target="../tags/tag183.xml"/><Relationship Id="rId239" Type="http://schemas.openxmlformats.org/officeDocument/2006/relationships/tags" Target="../tags/tag239.xml"/><Relationship Id="rId390" Type="http://schemas.openxmlformats.org/officeDocument/2006/relationships/image" Target="../media/image44.png"/><Relationship Id="rId250" Type="http://schemas.openxmlformats.org/officeDocument/2006/relationships/tags" Target="../tags/tag250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45" Type="http://schemas.openxmlformats.org/officeDocument/2006/relationships/tags" Target="../tags/tag45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348" Type="http://schemas.openxmlformats.org/officeDocument/2006/relationships/tags" Target="../tags/tag348.xml"/><Relationship Id="rId152" Type="http://schemas.openxmlformats.org/officeDocument/2006/relationships/tags" Target="../tags/tag152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56" Type="http://schemas.openxmlformats.org/officeDocument/2006/relationships/tags" Target="../tags/tag56.xml"/><Relationship Id="rId317" Type="http://schemas.openxmlformats.org/officeDocument/2006/relationships/tags" Target="../tags/tag317.xml"/><Relationship Id="rId359" Type="http://schemas.openxmlformats.org/officeDocument/2006/relationships/tags" Target="../tags/tag359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63" Type="http://schemas.openxmlformats.org/officeDocument/2006/relationships/tags" Target="../tags/tag163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" Type="http://schemas.openxmlformats.org/officeDocument/2006/relationships/tags" Target="../tags/tag25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328" Type="http://schemas.openxmlformats.org/officeDocument/2006/relationships/tags" Target="../tags/tag328.xml"/><Relationship Id="rId132" Type="http://schemas.openxmlformats.org/officeDocument/2006/relationships/tags" Target="../tags/tag132.xml"/><Relationship Id="rId174" Type="http://schemas.openxmlformats.org/officeDocument/2006/relationships/tags" Target="../tags/tag174.xml"/><Relationship Id="rId381" Type="http://schemas.openxmlformats.org/officeDocument/2006/relationships/image" Target="../media/image38.png"/><Relationship Id="rId241" Type="http://schemas.openxmlformats.org/officeDocument/2006/relationships/tags" Target="../tags/tag241.xml"/><Relationship Id="rId36" Type="http://schemas.openxmlformats.org/officeDocument/2006/relationships/tags" Target="../tags/tag36.xml"/><Relationship Id="rId283" Type="http://schemas.openxmlformats.org/officeDocument/2006/relationships/tags" Target="../tags/tag283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101" Type="http://schemas.openxmlformats.org/officeDocument/2006/relationships/tags" Target="../tags/tag101.xml"/><Relationship Id="rId143" Type="http://schemas.openxmlformats.org/officeDocument/2006/relationships/tags" Target="../tags/tag143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392" Type="http://schemas.openxmlformats.org/officeDocument/2006/relationships/image" Target="../media/image46.png"/><Relationship Id="rId252" Type="http://schemas.openxmlformats.org/officeDocument/2006/relationships/tags" Target="../tags/tag252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47" Type="http://schemas.openxmlformats.org/officeDocument/2006/relationships/tags" Target="../tags/tag47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54" Type="http://schemas.openxmlformats.org/officeDocument/2006/relationships/tags" Target="../tags/tag154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393" Type="http://schemas.openxmlformats.org/officeDocument/2006/relationships/image" Target="../media/image47.png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383" Type="http://schemas.openxmlformats.org/officeDocument/2006/relationships/image" Target="../media/image39.png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384" Type="http://schemas.openxmlformats.org/officeDocument/2006/relationships/image" Target="cid:3FD6EDC1-F5D4-43CB-966B-BB807AA9EED0" TargetMode="Externa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385" Type="http://schemas.openxmlformats.org/officeDocument/2006/relationships/image" Target="../media/image40.png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386" Type="http://schemas.openxmlformats.org/officeDocument/2006/relationships/image" Target="../media/image41.png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Relationship Id="rId303" Type="http://schemas.openxmlformats.org/officeDocument/2006/relationships/tags" Target="../tags/tag303.xml"/><Relationship Id="rId42" Type="http://schemas.openxmlformats.org/officeDocument/2006/relationships/tags" Target="../tags/tag42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345" Type="http://schemas.openxmlformats.org/officeDocument/2006/relationships/tags" Target="../tags/tag345.xml"/><Relationship Id="rId387" Type="http://schemas.openxmlformats.org/officeDocument/2006/relationships/image" Target="cid:C183DBC1-6B05-48FA-BDA3-B98A2B4F90FC" TargetMode="Externa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53" Type="http://schemas.openxmlformats.org/officeDocument/2006/relationships/tags" Target="../tags/tag53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56" Type="http://schemas.openxmlformats.org/officeDocument/2006/relationships/tags" Target="../tags/tag356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216" Type="http://schemas.openxmlformats.org/officeDocument/2006/relationships/tags" Target="../tags/tag216.xml"/><Relationship Id="rId258" Type="http://schemas.openxmlformats.org/officeDocument/2006/relationships/tags" Target="../tags/tag258.xml"/><Relationship Id="rId22" Type="http://schemas.openxmlformats.org/officeDocument/2006/relationships/tags" Target="../tags/tag22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325" Type="http://schemas.openxmlformats.org/officeDocument/2006/relationships/tags" Target="../tags/tag325.xml"/><Relationship Id="rId367" Type="http://schemas.openxmlformats.org/officeDocument/2006/relationships/tags" Target="../tags/tag367.xml"/><Relationship Id="rId171" Type="http://schemas.openxmlformats.org/officeDocument/2006/relationships/tags" Target="../tags/tag171.xml"/><Relationship Id="rId227" Type="http://schemas.openxmlformats.org/officeDocument/2006/relationships/tags" Target="../tags/tag227.xml"/><Relationship Id="rId269" Type="http://schemas.openxmlformats.org/officeDocument/2006/relationships/tags" Target="../tags/tag269.xml"/><Relationship Id="rId33" Type="http://schemas.openxmlformats.org/officeDocument/2006/relationships/tags" Target="../tags/tag33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36" Type="http://schemas.openxmlformats.org/officeDocument/2006/relationships/tags" Target="../tags/tag336.xml"/><Relationship Id="rId75" Type="http://schemas.openxmlformats.org/officeDocument/2006/relationships/tags" Target="../tags/tag75.xml"/><Relationship Id="rId140" Type="http://schemas.openxmlformats.org/officeDocument/2006/relationships/tags" Target="../tags/tag140.xml"/><Relationship Id="rId182" Type="http://schemas.openxmlformats.org/officeDocument/2006/relationships/tags" Target="../tags/tag182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86" Type="http://schemas.openxmlformats.org/officeDocument/2006/relationships/tags" Target="../tags/tag86.xml"/><Relationship Id="rId151" Type="http://schemas.openxmlformats.org/officeDocument/2006/relationships/tags" Target="../tags/tag151.xml"/><Relationship Id="rId389" Type="http://schemas.openxmlformats.org/officeDocument/2006/relationships/image" Target="../media/image43.png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316" Type="http://schemas.openxmlformats.org/officeDocument/2006/relationships/tags" Target="../tags/tag316.xml"/><Relationship Id="rId55" Type="http://schemas.openxmlformats.org/officeDocument/2006/relationships/tags" Target="../tags/tag55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358" Type="http://schemas.openxmlformats.org/officeDocument/2006/relationships/tags" Target="../tags/tag358.xml"/><Relationship Id="rId162" Type="http://schemas.openxmlformats.org/officeDocument/2006/relationships/tags" Target="../tags/tag162.xml"/><Relationship Id="rId218" Type="http://schemas.openxmlformats.org/officeDocument/2006/relationships/tags" Target="../tags/tag218.xml"/><Relationship Id="rId271" Type="http://schemas.openxmlformats.org/officeDocument/2006/relationships/tags" Target="../tags/tag271.xml"/><Relationship Id="rId24" Type="http://schemas.openxmlformats.org/officeDocument/2006/relationships/tags" Target="../tags/tag24.xml"/><Relationship Id="rId66" Type="http://schemas.openxmlformats.org/officeDocument/2006/relationships/tags" Target="../tags/tag66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69" Type="http://schemas.openxmlformats.org/officeDocument/2006/relationships/tags" Target="../tags/tag369.xml"/><Relationship Id="rId173" Type="http://schemas.openxmlformats.org/officeDocument/2006/relationships/tags" Target="../tags/tag173.xml"/><Relationship Id="rId229" Type="http://schemas.openxmlformats.org/officeDocument/2006/relationships/tags" Target="../tags/tag229.xml"/><Relationship Id="rId380" Type="http://schemas.openxmlformats.org/officeDocument/2006/relationships/image" Target="../media/image11.png"/><Relationship Id="rId240" Type="http://schemas.openxmlformats.org/officeDocument/2006/relationships/tags" Target="../tags/tag240.xml"/><Relationship Id="rId35" Type="http://schemas.openxmlformats.org/officeDocument/2006/relationships/tags" Target="../tags/tag35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38" Type="http://schemas.openxmlformats.org/officeDocument/2006/relationships/tags" Target="../tags/tag338.xml"/><Relationship Id="rId8" Type="http://schemas.openxmlformats.org/officeDocument/2006/relationships/tags" Target="../tags/tag8.xml"/><Relationship Id="rId142" Type="http://schemas.openxmlformats.org/officeDocument/2006/relationships/tags" Target="../tags/tag142.xml"/><Relationship Id="rId184" Type="http://schemas.openxmlformats.org/officeDocument/2006/relationships/tags" Target="../tags/tag184.xml"/><Relationship Id="rId391" Type="http://schemas.openxmlformats.org/officeDocument/2006/relationships/image" Target="../media/image45.png"/><Relationship Id="rId251" Type="http://schemas.openxmlformats.org/officeDocument/2006/relationships/tags" Target="../tags/tag251.xml"/><Relationship Id="rId46" Type="http://schemas.openxmlformats.org/officeDocument/2006/relationships/tags" Target="../tags/tag46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53" Type="http://schemas.openxmlformats.org/officeDocument/2006/relationships/tags" Target="../tags/tag153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220" Type="http://schemas.openxmlformats.org/officeDocument/2006/relationships/tags" Target="../tags/tag220.xml"/><Relationship Id="rId15" Type="http://schemas.openxmlformats.org/officeDocument/2006/relationships/tags" Target="../tags/tag15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318" Type="http://schemas.openxmlformats.org/officeDocument/2006/relationships/tags" Target="../tags/tag318.xml"/><Relationship Id="rId99" Type="http://schemas.openxmlformats.org/officeDocument/2006/relationships/tags" Target="../tags/tag99.xml"/><Relationship Id="rId122" Type="http://schemas.openxmlformats.org/officeDocument/2006/relationships/tags" Target="../tags/tag122.xml"/><Relationship Id="rId164" Type="http://schemas.openxmlformats.org/officeDocument/2006/relationships/tags" Target="../tags/tag164.xml"/><Relationship Id="rId371" Type="http://schemas.openxmlformats.org/officeDocument/2006/relationships/tags" Target="../tags/tag371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73" Type="http://schemas.openxmlformats.org/officeDocument/2006/relationships/tags" Target="../tags/tag273.xml"/><Relationship Id="rId329" Type="http://schemas.openxmlformats.org/officeDocument/2006/relationships/tags" Target="../tags/tag329.xml"/><Relationship Id="rId68" Type="http://schemas.openxmlformats.org/officeDocument/2006/relationships/tags" Target="../tags/tag68.xml"/><Relationship Id="rId133" Type="http://schemas.openxmlformats.org/officeDocument/2006/relationships/tags" Target="../tags/tag133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200" Type="http://schemas.openxmlformats.org/officeDocument/2006/relationships/tags" Target="../tags/tag200.xml"/><Relationship Id="rId382" Type="http://schemas.openxmlformats.org/officeDocument/2006/relationships/image" Target="cid:61A12279-98D3-400C-8B5A-8AD9956B2630" TargetMode="Externa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0.xml"/><Relationship Id="rId4" Type="http://schemas.openxmlformats.org/officeDocument/2006/relationships/hyperlink" Target="https://www.eurekanetwork.org/programmes/innowwide/partner-search" TargetMode="Externa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6" Type="http://schemas.openxmlformats.org/officeDocument/2006/relationships/hyperlink" Target="mailto:luis.tejero@cdti.es" TargetMode="External"/><Relationship Id="rId5" Type="http://schemas.openxmlformats.org/officeDocument/2006/relationships/hyperlink" Target="mailto:eurostars3@cdti.es" TargetMode="External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4.png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13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19.png"/><Relationship Id="rId12" Type="http://schemas.openxmlformats.org/officeDocument/2006/relationships/image" Target="../media/image26.svg"/><Relationship Id="rId17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30.sv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0.svg"/><Relationship Id="rId11" Type="http://schemas.openxmlformats.org/officeDocument/2006/relationships/image" Target="../media/image21.png"/><Relationship Id="rId5" Type="http://schemas.openxmlformats.org/officeDocument/2006/relationships/image" Target="../media/image18.png"/><Relationship Id="rId15" Type="http://schemas.openxmlformats.org/officeDocument/2006/relationships/image" Target="../media/image23.png"/><Relationship Id="rId10" Type="http://schemas.openxmlformats.org/officeDocument/2006/relationships/image" Target="../media/image24.svg"/><Relationship Id="rId4" Type="http://schemas.openxmlformats.org/officeDocument/2006/relationships/image" Target="../media/image18.svg"/><Relationship Id="rId9" Type="http://schemas.openxmlformats.org/officeDocument/2006/relationships/image" Target="../media/image20.png"/><Relationship Id="rId14" Type="http://schemas.openxmlformats.org/officeDocument/2006/relationships/image" Target="../media/image28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xmlns="" id="{66951834-3DDC-0A09-C808-1DC4B2B2CB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571999" y="2632455"/>
            <a:ext cx="2576770" cy="965500"/>
          </a:xfrm>
          <a:prstGeom prst="rect">
            <a:avLst/>
          </a:prstGeom>
        </p:spPr>
      </p:pic>
      <p:pic>
        <p:nvPicPr>
          <p:cNvPr id="3" name="Imagen 2" descr="Logotipo, nombre de la empresa&#10;&#10;Descripción generada automáticamente">
            <a:extLst>
              <a:ext uri="{FF2B5EF4-FFF2-40B4-BE49-F238E27FC236}">
                <a16:creationId xmlns:a16="http://schemas.microsoft.com/office/drawing/2014/main" xmlns="" id="{A1311BA2-F26C-4889-AFEF-09DCBE5B3B6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8301" y="2681024"/>
            <a:ext cx="1185059" cy="965500"/>
          </a:xfrm>
          <a:prstGeom prst="rect">
            <a:avLst/>
          </a:prstGeom>
        </p:spPr>
      </p:pic>
      <p:sp>
        <p:nvSpPr>
          <p:cNvPr id="6" name="5 Título"/>
          <p:cNvSpPr txBox="1">
            <a:spLocks/>
          </p:cNvSpPr>
          <p:nvPr/>
        </p:nvSpPr>
        <p:spPr>
          <a:xfrm>
            <a:off x="634062" y="1107487"/>
            <a:ext cx="7875875" cy="3147075"/>
          </a:xfrm>
          <a:prstGeom prst="rect">
            <a:avLst/>
          </a:prstGeom>
        </p:spPr>
        <p:txBody>
          <a:bodyPr>
            <a:noAutofit/>
          </a:bodyPr>
          <a:lstStyle>
            <a:lvl1pPr algn="r" defTabSz="914400" rtl="0" eaLnBrk="1" latinLnBrk="0" hangingPunct="1">
              <a:spcBef>
                <a:spcPct val="0"/>
              </a:spcBef>
              <a:buNone/>
              <a:defRPr sz="32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_tradnl" sz="4400" b="1" dirty="0">
                <a:solidFill>
                  <a:schemeClr val="tx2"/>
                </a:solidFill>
              </a:rPr>
              <a:t>Partenariado Pymes Innovadoras</a:t>
            </a:r>
          </a:p>
          <a:p>
            <a:pPr algn="l"/>
            <a:endParaRPr lang="es-ES_tradnl" sz="1800" b="1" dirty="0">
              <a:solidFill>
                <a:schemeClr val="tx2"/>
              </a:solidFill>
            </a:endParaRPr>
          </a:p>
          <a:p>
            <a:pPr algn="ctr"/>
            <a:r>
              <a:rPr lang="es-ES_tradnl" sz="3600" b="1" i="1" dirty="0">
                <a:solidFill>
                  <a:schemeClr val="tx2"/>
                </a:solidFill>
              </a:rPr>
              <a:t>Eurostars-3  / </a:t>
            </a:r>
            <a:r>
              <a:rPr lang="es-ES_tradnl" sz="3600" b="1" i="1" dirty="0" err="1">
                <a:solidFill>
                  <a:schemeClr val="tx2"/>
                </a:solidFill>
              </a:rPr>
              <a:t>InnoWwide</a:t>
            </a:r>
            <a:r>
              <a:rPr lang="es-ES_tradnl" sz="3600" b="1" i="1" dirty="0">
                <a:solidFill>
                  <a:schemeClr val="tx2"/>
                </a:solidFill>
              </a:rPr>
              <a:t> </a:t>
            </a:r>
            <a:endParaRPr lang="es-ES_tradnl" sz="2800" i="1" dirty="0">
              <a:solidFill>
                <a:schemeClr val="tx2"/>
              </a:solidFill>
            </a:endParaRPr>
          </a:p>
        </p:txBody>
      </p:sp>
      <p:sp>
        <p:nvSpPr>
          <p:cNvPr id="8" name="1 Subtítulo"/>
          <p:cNvSpPr>
            <a:spLocks noGrp="1"/>
          </p:cNvSpPr>
          <p:nvPr>
            <p:ph type="subTitle" idx="1"/>
          </p:nvPr>
        </p:nvSpPr>
        <p:spPr>
          <a:xfrm>
            <a:off x="7148769" y="4512855"/>
            <a:ext cx="1743711" cy="330545"/>
          </a:xfrm>
        </p:spPr>
        <p:txBody>
          <a:bodyPr>
            <a:normAutofit fontScale="92500" lnSpcReduction="10000"/>
          </a:bodyPr>
          <a:lstStyle/>
          <a:p>
            <a:pPr marL="0" indent="0" algn="l">
              <a:buNone/>
            </a:pPr>
            <a:r>
              <a:rPr lang="es-ES_tradnl" sz="18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23 de junio 2023</a:t>
            </a:r>
          </a:p>
        </p:txBody>
      </p:sp>
      <p:sp>
        <p:nvSpPr>
          <p:cNvPr id="5" name="1 Subtítulo">
            <a:extLst>
              <a:ext uri="{FF2B5EF4-FFF2-40B4-BE49-F238E27FC236}">
                <a16:creationId xmlns:a16="http://schemas.microsoft.com/office/drawing/2014/main" xmlns="" id="{DDD7140F-0BEC-4FDC-B0C9-575B9BCDEE8A}"/>
              </a:ext>
            </a:extLst>
          </p:cNvPr>
          <p:cNvSpPr txBox="1">
            <a:spLocks/>
          </p:cNvSpPr>
          <p:nvPr/>
        </p:nvSpPr>
        <p:spPr>
          <a:xfrm>
            <a:off x="407438" y="3971567"/>
            <a:ext cx="2383844" cy="587014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0" indent="0" algn="r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2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_tradnl" sz="1800" dirty="0">
                <a:solidFill>
                  <a:srgbClr val="057CFF"/>
                </a:solidFill>
                <a:latin typeface="+mj-lt"/>
                <a:ea typeface="+mj-ea"/>
                <a:cs typeface="+mj-cs"/>
                <a:hlinkClick r:id="rId5"/>
              </a:rPr>
              <a:t>eurostars3@cdti.es</a:t>
            </a:r>
            <a:endParaRPr lang="es-ES_tradnl" sz="1800" dirty="0">
              <a:solidFill>
                <a:srgbClr val="057CFF"/>
              </a:solidFill>
              <a:latin typeface="+mj-lt"/>
              <a:ea typeface="+mj-ea"/>
              <a:cs typeface="+mj-cs"/>
            </a:endParaRPr>
          </a:p>
          <a:p>
            <a:pPr algn="ctr"/>
            <a:r>
              <a:rPr lang="es-ES_tradnl" sz="1800" dirty="0">
                <a:solidFill>
                  <a:srgbClr val="057CFF"/>
                </a:solidFill>
                <a:latin typeface="+mj-lt"/>
                <a:ea typeface="+mj-ea"/>
                <a:cs typeface="+mj-cs"/>
                <a:hlinkClick r:id="rId6"/>
              </a:rPr>
              <a:t>luis.tejero@cdti.es</a:t>
            </a:r>
            <a:r>
              <a:rPr lang="es-ES_tradnl" sz="1800" dirty="0">
                <a:solidFill>
                  <a:srgbClr val="057CFF"/>
                </a:solidFill>
                <a:latin typeface="+mj-lt"/>
                <a:ea typeface="+mj-ea"/>
                <a:cs typeface="+mj-cs"/>
              </a:rPr>
              <a:t>  </a:t>
            </a:r>
          </a:p>
          <a:p>
            <a:pPr algn="l"/>
            <a:endParaRPr lang="es-ES_tradnl" sz="1800" dirty="0">
              <a:solidFill>
                <a:srgbClr val="057CFF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1 Subtítulo">
            <a:extLst>
              <a:ext uri="{FF2B5EF4-FFF2-40B4-BE49-F238E27FC236}">
                <a16:creationId xmlns:a16="http://schemas.microsoft.com/office/drawing/2014/main" xmlns="" id="{3E247BA5-1F9F-2C2F-B16E-47A82551B8A2}"/>
              </a:ext>
            </a:extLst>
          </p:cNvPr>
          <p:cNvSpPr txBox="1">
            <a:spLocks/>
          </p:cNvSpPr>
          <p:nvPr/>
        </p:nvSpPr>
        <p:spPr>
          <a:xfrm>
            <a:off x="3924404" y="3834848"/>
            <a:ext cx="5040560" cy="11536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2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s-ES_tradnl" sz="2000" dirty="0">
                <a:solidFill>
                  <a:srgbClr val="1F497D"/>
                </a:solidFill>
                <a:latin typeface="Calibri"/>
              </a:rPr>
              <a:t>Luis Tejero Povedano</a:t>
            </a:r>
          </a:p>
          <a:p>
            <a:pPr>
              <a:defRPr/>
            </a:pPr>
            <a:r>
              <a:rPr lang="es-ES_tradnl" sz="2000" dirty="0">
                <a:solidFill>
                  <a:srgbClr val="1F497D"/>
                </a:solidFill>
                <a:latin typeface="Calibri"/>
              </a:rPr>
              <a:t>Dirección Adjunta de Cooperación Tecnológica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xmlns="" id="{E8DC9F9E-CDC3-E249-EBFE-52D2D02749F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56433"/>
          <a:stretch/>
        </p:blipFill>
        <p:spPr>
          <a:xfrm>
            <a:off x="2771800" y="-67243"/>
            <a:ext cx="2883414" cy="8409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6781332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Rectángulo redondeado"/>
          <p:cNvSpPr/>
          <p:nvPr/>
        </p:nvSpPr>
        <p:spPr>
          <a:xfrm>
            <a:off x="3701270" y="2136433"/>
            <a:ext cx="602673" cy="272755"/>
          </a:xfrm>
          <a:prstGeom prst="roundRect">
            <a:avLst/>
          </a:prstGeom>
          <a:solidFill>
            <a:srgbClr val="0DFF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4" name="TextBox 2"/>
          <p:cNvSpPr txBox="1"/>
          <p:nvPr/>
        </p:nvSpPr>
        <p:spPr>
          <a:xfrm>
            <a:off x="294507" y="856808"/>
            <a:ext cx="4752528" cy="3605961"/>
          </a:xfrm>
          <a:prstGeom prst="rect">
            <a:avLst/>
          </a:prstGeom>
          <a:noFill/>
        </p:spPr>
        <p:txBody>
          <a:bodyPr wrap="square" lIns="0" tIns="0" rIns="0" bIns="0" numCol="3" spcCol="360000" rtlCol="0">
            <a:noAutofit/>
          </a:bodyPr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ta-IN" sz="1400" dirty="0">
                <a:latin typeface="Calibri" pitchFamily="34" charset="0"/>
                <a:cs typeface="Arial"/>
              </a:rPr>
              <a:t>Austria</a:t>
            </a: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ta-IN" sz="1400" dirty="0">
                <a:latin typeface="Calibri" pitchFamily="34" charset="0"/>
                <a:cs typeface="Arial"/>
              </a:rPr>
              <a:t>Bulgaria</a:t>
            </a: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ta-IN" sz="1400" dirty="0">
                <a:latin typeface="Calibri" pitchFamily="34" charset="0"/>
                <a:cs typeface="Arial"/>
              </a:rPr>
              <a:t>Belgium</a:t>
            </a:r>
            <a:endParaRPr lang="en-US" sz="1400" dirty="0">
              <a:latin typeface="Calibri" pitchFamily="34" charset="0"/>
              <a:cs typeface="Calibri" pitchFamily="34" charset="0"/>
            </a:endParaRP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latin typeface="Calibri" pitchFamily="34" charset="0"/>
                <a:cs typeface="Calibri" pitchFamily="34" charset="0"/>
              </a:rPr>
              <a:t>Canada</a:t>
            </a:r>
            <a:endParaRPr lang="ta-IN" sz="1400" dirty="0">
              <a:latin typeface="Calibri" pitchFamily="34" charset="0"/>
              <a:cs typeface="Arial"/>
            </a:endParaRP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ta-IN" sz="1400" dirty="0">
                <a:latin typeface="Calibri" pitchFamily="34" charset="0"/>
                <a:cs typeface="Arial"/>
              </a:rPr>
              <a:t>Croatia</a:t>
            </a: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ta-IN" sz="1400" dirty="0">
                <a:latin typeface="Calibri" pitchFamily="34" charset="0"/>
              </a:rPr>
              <a:t>Cyprus</a:t>
            </a: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ta-IN" sz="1400" dirty="0">
                <a:latin typeface="Calibri" pitchFamily="34" charset="0"/>
                <a:cs typeface="Arial"/>
              </a:rPr>
              <a:t>Czech Republic</a:t>
            </a: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ta-IN" sz="1400" dirty="0">
                <a:latin typeface="Calibri" pitchFamily="34" charset="0"/>
                <a:cs typeface="Arial"/>
              </a:rPr>
              <a:t>Denmark</a:t>
            </a: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ta-IN" sz="1400" dirty="0">
                <a:latin typeface="Calibri" pitchFamily="34" charset="0"/>
                <a:cs typeface="Arial"/>
              </a:rPr>
              <a:t>Estonia</a:t>
            </a: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ta-IN" sz="1400" dirty="0">
                <a:latin typeface="Calibri" pitchFamily="34" charset="0"/>
                <a:cs typeface="Arial"/>
              </a:rPr>
              <a:t>Finland</a:t>
            </a: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ta-IN" sz="1400" dirty="0">
                <a:latin typeface="Calibri" pitchFamily="34" charset="0"/>
                <a:cs typeface="Arial"/>
              </a:rPr>
              <a:t>France</a:t>
            </a: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ta-IN" sz="1400" dirty="0">
                <a:latin typeface="Calibri" pitchFamily="34" charset="0"/>
              </a:rPr>
              <a:t>Germany</a:t>
            </a:r>
            <a:endParaRPr lang="es-ES_tradnl" sz="1400" dirty="0">
              <a:latin typeface="Calibri" pitchFamily="34" charset="0"/>
              <a:cs typeface="Arial"/>
            </a:endParaRP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Greece</a:t>
            </a: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ta-IN" sz="1400" dirty="0">
                <a:latin typeface="Calibri" pitchFamily="34" charset="0"/>
                <a:cs typeface="Arial"/>
              </a:rPr>
              <a:t>Hungary</a:t>
            </a: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ta-IN" sz="1400" dirty="0">
                <a:latin typeface="Calibri" pitchFamily="34" charset="0"/>
                <a:cs typeface="Arial"/>
              </a:rPr>
              <a:t>Iceland</a:t>
            </a: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ta-IN" sz="1400" dirty="0">
                <a:latin typeface="Calibri" pitchFamily="34" charset="0"/>
                <a:cs typeface="Arial"/>
              </a:rPr>
              <a:t>Ireland</a:t>
            </a: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ta-IN" sz="1400" b="1" dirty="0">
                <a:solidFill>
                  <a:srgbClr val="FF0000"/>
                </a:solidFill>
                <a:latin typeface="Calibri" pitchFamily="34" charset="0"/>
                <a:cs typeface="Arial"/>
              </a:rPr>
              <a:t>Israel</a:t>
            </a: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ta-IN" sz="1400" dirty="0">
                <a:latin typeface="Calibri" pitchFamily="34" charset="0"/>
                <a:cs typeface="Arial"/>
              </a:rPr>
              <a:t>Italy</a:t>
            </a: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ta-IN" sz="1400" dirty="0">
                <a:latin typeface="Calibri" pitchFamily="34" charset="0"/>
                <a:cs typeface="Arial"/>
              </a:rPr>
              <a:t>Latvia</a:t>
            </a: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ta-IN" sz="1400" dirty="0">
                <a:latin typeface="Calibri" pitchFamily="34" charset="0"/>
                <a:cs typeface="Arial"/>
              </a:rPr>
              <a:t>Lithuania</a:t>
            </a: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ta-IN" sz="1400" dirty="0">
                <a:latin typeface="Calibri" pitchFamily="34" charset="0"/>
                <a:cs typeface="Arial"/>
              </a:rPr>
              <a:t>Luxembourg</a:t>
            </a: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ta-IN" sz="1400" dirty="0">
                <a:latin typeface="Calibri" pitchFamily="34" charset="0"/>
                <a:cs typeface="Arial"/>
              </a:rPr>
              <a:t>Malta</a:t>
            </a: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ta-IN" sz="1400" dirty="0">
                <a:latin typeface="Calibri" pitchFamily="34" charset="0"/>
                <a:cs typeface="Arial"/>
              </a:rPr>
              <a:t>The Netherlands</a:t>
            </a: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ta-IN" sz="1400" dirty="0">
                <a:latin typeface="Calibri" pitchFamily="34" charset="0"/>
                <a:cs typeface="Arial"/>
              </a:rPr>
              <a:t>Norway</a:t>
            </a: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latin typeface="Calibri" pitchFamily="34" charset="0"/>
                <a:cs typeface="Calibri" pitchFamily="34" charset="0"/>
              </a:rPr>
              <a:t>Poland</a:t>
            </a: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ta-IN" sz="1400" dirty="0">
                <a:latin typeface="Calibri" pitchFamily="34" charset="0"/>
                <a:cs typeface="Arial"/>
              </a:rPr>
              <a:t>Portugal</a:t>
            </a: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ta-IN" sz="1400" dirty="0">
                <a:latin typeface="Calibri" pitchFamily="34" charset="0"/>
              </a:rPr>
              <a:t>Romania</a:t>
            </a:r>
            <a:endParaRPr lang="es-ES" sz="1400" dirty="0">
              <a:latin typeface="Calibri" pitchFamily="34" charset="0"/>
            </a:endParaRP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endParaRPr lang="ta-IN" sz="1400" b="1" dirty="0">
              <a:latin typeface="Calibri" pitchFamily="34" charset="0"/>
              <a:cs typeface="Arial"/>
            </a:endParaRP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s-ES" sz="1400" dirty="0" err="1">
                <a:latin typeface="Calibri" pitchFamily="34" charset="0"/>
                <a:cs typeface="Arial"/>
              </a:rPr>
              <a:t>Singapore</a:t>
            </a:r>
            <a:endParaRPr lang="es-ES" sz="1400" dirty="0">
              <a:latin typeface="Calibri" pitchFamily="34" charset="0"/>
              <a:cs typeface="Arial"/>
            </a:endParaRP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s-ES" sz="1400" dirty="0">
                <a:latin typeface="Calibri" pitchFamily="34" charset="0"/>
                <a:cs typeface="Arial"/>
              </a:rPr>
              <a:t>S</a:t>
            </a:r>
            <a:r>
              <a:rPr lang="ta-IN" sz="1400" dirty="0">
                <a:latin typeface="Calibri" pitchFamily="34" charset="0"/>
                <a:cs typeface="Arial"/>
              </a:rPr>
              <a:t>lovak Republic</a:t>
            </a: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ta-IN" sz="1400" b="1" dirty="0">
                <a:solidFill>
                  <a:srgbClr val="FF0000"/>
                </a:solidFill>
                <a:latin typeface="Calibri" pitchFamily="34" charset="0"/>
              </a:rPr>
              <a:t>Slovenia</a:t>
            </a:r>
            <a:endParaRPr lang="en-US" sz="1400" b="1" dirty="0">
              <a:solidFill>
                <a:srgbClr val="FF0000"/>
              </a:solidFill>
              <a:latin typeface="Calibri" pitchFamily="34" charset="0"/>
              <a:cs typeface="Arial"/>
            </a:endParaRP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latin typeface="Calibri" pitchFamily="34" charset="0"/>
                <a:cs typeface="Calibri" pitchFamily="34" charset="0"/>
              </a:rPr>
              <a:t>South Africa</a:t>
            </a:r>
            <a:endParaRPr lang="ta-IN" sz="1400" dirty="0">
              <a:latin typeface="Calibri" pitchFamily="34" charset="0"/>
              <a:cs typeface="Arial"/>
            </a:endParaRP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ta-IN" sz="1400" dirty="0">
                <a:latin typeface="Calibri" pitchFamily="34" charset="0"/>
                <a:cs typeface="Arial"/>
              </a:rPr>
              <a:t>South Korea</a:t>
            </a: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ta-IN" sz="1400" b="1" i="1" dirty="0">
                <a:latin typeface="Calibri" pitchFamily="34" charset="0"/>
                <a:cs typeface="Arial"/>
              </a:rPr>
              <a:t>Spain</a:t>
            </a: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ta-IN" sz="1400" dirty="0">
                <a:latin typeface="Calibri" pitchFamily="34" charset="0"/>
                <a:cs typeface="Arial"/>
              </a:rPr>
              <a:t>Sweden</a:t>
            </a: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ta-IN" sz="1400" dirty="0">
                <a:latin typeface="Calibri" pitchFamily="34" charset="0"/>
                <a:cs typeface="Arial"/>
              </a:rPr>
              <a:t>Switzerland</a:t>
            </a: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ta-IN" sz="1400" dirty="0">
                <a:latin typeface="Calibri" pitchFamily="34" charset="0"/>
                <a:cs typeface="Arial"/>
              </a:rPr>
              <a:t>Turkey</a:t>
            </a: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ta-IN" sz="1400" dirty="0">
                <a:latin typeface="Calibri" pitchFamily="34" charset="0"/>
                <a:cs typeface="Arial"/>
              </a:rPr>
              <a:t>United Kingdom</a:t>
            </a:r>
            <a:endParaRPr lang="en-US" sz="140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" name="5 Triángulo isósceles"/>
          <p:cNvSpPr/>
          <p:nvPr/>
        </p:nvSpPr>
        <p:spPr>
          <a:xfrm>
            <a:off x="3633730" y="3714957"/>
            <a:ext cx="68015" cy="97196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1 Título"/>
          <p:cNvSpPr>
            <a:spLocks noGrp="1"/>
          </p:cNvSpPr>
          <p:nvPr>
            <p:ph type="title"/>
          </p:nvPr>
        </p:nvSpPr>
        <p:spPr>
          <a:xfrm>
            <a:off x="533400" y="203717"/>
            <a:ext cx="8077200" cy="522489"/>
          </a:xfrm>
        </p:spPr>
        <p:txBody>
          <a:bodyPr lIns="68580" tIns="34290" rIns="68580" bIns="34290"/>
          <a:lstStyle/>
          <a:p>
            <a:r>
              <a:rPr lang="es-ES_tradnl" sz="2700" b="1" dirty="0">
                <a:solidFill>
                  <a:srgbClr val="2F6EB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íses activos en la CoD5</a:t>
            </a:r>
          </a:p>
        </p:txBody>
      </p:sp>
      <p:sp>
        <p:nvSpPr>
          <p:cNvPr id="16" name="15 Rectángulo"/>
          <p:cNvSpPr/>
          <p:nvPr/>
        </p:nvSpPr>
        <p:spPr>
          <a:xfrm>
            <a:off x="3446875" y="4102225"/>
            <a:ext cx="412018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1000" dirty="0">
                <a:hlinkClick r:id="rId3"/>
              </a:rPr>
              <a:t>Eureka | eurostars-funding-programme-2023-call-5 (eurekanetwork.org)</a:t>
            </a:r>
            <a:endParaRPr lang="es-ES_tradnl" sz="1000" dirty="0"/>
          </a:p>
        </p:txBody>
      </p:sp>
      <p:sp>
        <p:nvSpPr>
          <p:cNvPr id="18" name="17 CuadroTexto"/>
          <p:cNvSpPr txBox="1"/>
          <p:nvPr/>
        </p:nvSpPr>
        <p:spPr>
          <a:xfrm>
            <a:off x="3599722" y="3638488"/>
            <a:ext cx="4221731" cy="43088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s-ES" sz="1100" b="1" dirty="0">
                <a:solidFill>
                  <a:srgbClr val="2D6BB5"/>
                </a:solidFill>
                <a:latin typeface="Arial Narrow" panose="020B0606020202030204" pitchFamily="34" charset="0"/>
              </a:rPr>
              <a:t>  Países no pertenecientes a la UE y no asociados a HE</a:t>
            </a:r>
          </a:p>
          <a:p>
            <a:r>
              <a:rPr lang="es-ES" sz="1100" b="1" dirty="0">
                <a:solidFill>
                  <a:srgbClr val="FF0000"/>
                </a:solidFill>
                <a:latin typeface="Arial Narrow" panose="020B0606020202030204" pitchFamily="34" charset="0"/>
              </a:rPr>
              <a:t>En rojo: fondos no disponibles</a:t>
            </a:r>
            <a:endParaRPr lang="en-US" sz="1100" b="1" dirty="0">
              <a:solidFill>
                <a:srgbClr val="FF0000"/>
              </a:solidFill>
              <a:latin typeface="Arial Narrow" panose="020B0606020202030204" pitchFamily="34" charset="0"/>
            </a:endParaRPr>
          </a:p>
        </p:txBody>
      </p:sp>
      <p:sp>
        <p:nvSpPr>
          <p:cNvPr id="21" name="2 CuadroTexto">
            <a:extLst>
              <a:ext uri="{FF2B5EF4-FFF2-40B4-BE49-F238E27FC236}">
                <a16:creationId xmlns:a16="http://schemas.microsoft.com/office/drawing/2014/main" xmlns="" id="{D5B947A3-ED5F-A6BC-E729-25AAF75FA188}"/>
              </a:ext>
            </a:extLst>
          </p:cNvPr>
          <p:cNvSpPr txBox="1"/>
          <p:nvPr/>
        </p:nvSpPr>
        <p:spPr>
          <a:xfrm>
            <a:off x="5337085" y="1906395"/>
            <a:ext cx="3721435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00" b="1" dirty="0">
                <a:solidFill>
                  <a:srgbClr val="2D6BB5"/>
                </a:solidFill>
                <a:latin typeface="Arial Narrow" panose="020B0606020202030204" pitchFamily="34" charset="0"/>
              </a:rPr>
              <a:t>Mantenemos el compromiso español: 13 M€ por anualidad</a:t>
            </a:r>
          </a:p>
          <a:p>
            <a:pPr algn="ctr"/>
            <a:r>
              <a:rPr lang="es-ES" b="1" dirty="0">
                <a:solidFill>
                  <a:srgbClr val="2D6BB5"/>
                </a:solidFill>
                <a:latin typeface="Arial Narrow" panose="020B0606020202030204" pitchFamily="34" charset="0"/>
              </a:rPr>
              <a:t>(6,5M€ por corte)</a:t>
            </a:r>
            <a:endParaRPr lang="en-US" b="1" dirty="0">
              <a:solidFill>
                <a:srgbClr val="2D6BB5"/>
              </a:solidFill>
              <a:latin typeface="Arial Narrow" panose="020B0606020202030204" pitchFamily="34" charset="0"/>
            </a:endParaRP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xmlns="" id="{1AB53B17-3F92-52B7-2EBD-2CD48C9695B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6585" y="4506965"/>
            <a:ext cx="1485165" cy="556482"/>
          </a:xfrm>
          <a:prstGeom prst="rect">
            <a:avLst/>
          </a:prstGeom>
        </p:spPr>
      </p:pic>
      <p:sp>
        <p:nvSpPr>
          <p:cNvPr id="7" name="5 Triángulo isósceles">
            <a:extLst>
              <a:ext uri="{FF2B5EF4-FFF2-40B4-BE49-F238E27FC236}">
                <a16:creationId xmlns:a16="http://schemas.microsoft.com/office/drawing/2014/main" xmlns="" id="{953340FA-EFD8-F8AE-E35D-D48BD534F77C}"/>
              </a:ext>
            </a:extLst>
          </p:cNvPr>
          <p:cNvSpPr/>
          <p:nvPr/>
        </p:nvSpPr>
        <p:spPr>
          <a:xfrm>
            <a:off x="161510" y="1716655"/>
            <a:ext cx="68015" cy="97196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5 Triángulo isósceles">
            <a:extLst>
              <a:ext uri="{FF2B5EF4-FFF2-40B4-BE49-F238E27FC236}">
                <a16:creationId xmlns:a16="http://schemas.microsoft.com/office/drawing/2014/main" xmlns="" id="{81CAB925-7DE3-16C8-199C-B695C85DA2C8}"/>
              </a:ext>
            </a:extLst>
          </p:cNvPr>
          <p:cNvSpPr/>
          <p:nvPr/>
        </p:nvSpPr>
        <p:spPr>
          <a:xfrm>
            <a:off x="3568350" y="3244211"/>
            <a:ext cx="68015" cy="97196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9" name="5 Triángulo isósceles">
            <a:extLst>
              <a:ext uri="{FF2B5EF4-FFF2-40B4-BE49-F238E27FC236}">
                <a16:creationId xmlns:a16="http://schemas.microsoft.com/office/drawing/2014/main" xmlns="" id="{4E6221F8-0FDD-E731-49C0-3C0AF577E60E}"/>
              </a:ext>
            </a:extLst>
          </p:cNvPr>
          <p:cNvSpPr/>
          <p:nvPr/>
        </p:nvSpPr>
        <p:spPr>
          <a:xfrm>
            <a:off x="3553146" y="918164"/>
            <a:ext cx="68015" cy="97196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5 Triángulo isósceles">
            <a:extLst>
              <a:ext uri="{FF2B5EF4-FFF2-40B4-BE49-F238E27FC236}">
                <a16:creationId xmlns:a16="http://schemas.microsoft.com/office/drawing/2014/main" xmlns="" id="{38515831-CE35-F9E7-834E-E87FAA1ACA0F}"/>
              </a:ext>
            </a:extLst>
          </p:cNvPr>
          <p:cNvSpPr/>
          <p:nvPr/>
        </p:nvSpPr>
        <p:spPr>
          <a:xfrm>
            <a:off x="3565715" y="1701192"/>
            <a:ext cx="68015" cy="97196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2" name="5 Triángulo isósceles">
            <a:extLst>
              <a:ext uri="{FF2B5EF4-FFF2-40B4-BE49-F238E27FC236}">
                <a16:creationId xmlns:a16="http://schemas.microsoft.com/office/drawing/2014/main" xmlns="" id="{03A9305B-5750-64C6-389D-1C5C925F15F8}"/>
              </a:ext>
            </a:extLst>
          </p:cNvPr>
          <p:cNvSpPr/>
          <p:nvPr/>
        </p:nvSpPr>
        <p:spPr>
          <a:xfrm>
            <a:off x="3574584" y="1965145"/>
            <a:ext cx="68015" cy="97196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3" name="5 Triángulo isósceles">
            <a:extLst>
              <a:ext uri="{FF2B5EF4-FFF2-40B4-BE49-F238E27FC236}">
                <a16:creationId xmlns:a16="http://schemas.microsoft.com/office/drawing/2014/main" xmlns="" id="{F9A74728-A804-0056-AE3F-90B6D6B217E9}"/>
              </a:ext>
            </a:extLst>
          </p:cNvPr>
          <p:cNvSpPr/>
          <p:nvPr/>
        </p:nvSpPr>
        <p:spPr>
          <a:xfrm>
            <a:off x="3565715" y="2736026"/>
            <a:ext cx="68015" cy="97196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1958688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33454" y="273654"/>
            <a:ext cx="8277091" cy="513669"/>
          </a:xfrm>
        </p:spPr>
        <p:txBody>
          <a:bodyPr>
            <a:noAutofit/>
          </a:bodyPr>
          <a:lstStyle/>
          <a:p>
            <a:r>
              <a:rPr lang="es-ES_tradnl" sz="2700" b="1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struyendo el proyecto – Búsqueda de </a:t>
            </a:r>
            <a:r>
              <a:rPr lang="es-ES_tradnl" sz="2700" b="1" u="sng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ocios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540000" y="900000"/>
            <a:ext cx="8277091" cy="3291930"/>
          </a:xfrm>
        </p:spPr>
        <p:txBody>
          <a:bodyPr/>
          <a:lstStyle/>
          <a:p>
            <a:pPr marL="0" indent="0">
              <a:buNone/>
            </a:pPr>
            <a:r>
              <a:rPr lang="es-ES_tradnl" sz="2000" b="1" dirty="0"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Tengo la idea, me faltan los socios:    </a:t>
            </a:r>
          </a:p>
          <a:p>
            <a:r>
              <a:rPr lang="es-ES_tradnl" sz="1200" b="1" dirty="0">
                <a:solidFill>
                  <a:srgbClr val="0000FF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een.ec.europa.eu/</a:t>
            </a:r>
            <a:r>
              <a:rPr lang="es-ES_tradnl" sz="1200" b="1" dirty="0" err="1">
                <a:solidFill>
                  <a:srgbClr val="0000FF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about</a:t>
            </a:r>
            <a:r>
              <a:rPr lang="es-ES_tradnl" sz="1200" b="1" dirty="0">
                <a:solidFill>
                  <a:srgbClr val="0000FF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/</a:t>
            </a:r>
            <a:r>
              <a:rPr lang="es-ES_tradnl" sz="1200" b="1" dirty="0" err="1">
                <a:solidFill>
                  <a:srgbClr val="0000FF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branches</a:t>
            </a:r>
            <a:r>
              <a:rPr lang="es-ES_tradnl" sz="1200" b="1" dirty="0">
                <a:solidFill>
                  <a:srgbClr val="0000FF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/</a:t>
            </a:r>
            <a:r>
              <a:rPr lang="es-ES_tradnl" sz="1200" b="1" dirty="0" err="1">
                <a:solidFill>
                  <a:srgbClr val="0000FF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spain</a:t>
            </a:r>
            <a:r>
              <a:rPr lang="es-ES_tradnl" sz="1200" b="1" dirty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  <a:hlinkClick r:id="" action="ppaction://noaction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 </a:t>
            </a:r>
          </a:p>
          <a:p>
            <a:pPr marL="0" indent="0">
              <a:buNone/>
            </a:pPr>
            <a:r>
              <a:rPr lang="es-ES_tradnl" sz="1800" b="1" dirty="0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  </a:t>
            </a:r>
            <a:endParaRPr lang="es-ES_tradnl" sz="2000" b="1" dirty="0">
              <a:solidFill>
                <a:schemeClr val="accent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  <a:p>
            <a:pPr marL="457200" indent="-457200">
              <a:buFont typeface="+mj-lt"/>
              <a:buAutoNum type="arabicPeriod"/>
            </a:pPr>
            <a:endParaRPr lang="es-ES_tradnl" sz="2000" b="1" dirty="0">
              <a:solidFill>
                <a:srgbClr val="2F6EBB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pic>
        <p:nvPicPr>
          <p:cNvPr id="1026" name="Picture 2" descr="EEN Spain (@EEN_spain) | Twitter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6685" y="1830141"/>
            <a:ext cx="1837985" cy="1837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xmlns="" id="{524A4DAC-5CB5-494E-BFF4-FD2E1859C6B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21950" y="1671650"/>
            <a:ext cx="3681738" cy="2108013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xmlns="" id="{C96EAB41-205A-4C33-8C44-F96DA49F2BB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6585" y="4506965"/>
            <a:ext cx="1485165" cy="556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2729331"/>
      </p:ext>
    </p:extLst>
  </p:cSld>
  <p:clrMapOvr>
    <a:masterClrMapping/>
  </p:clrMapOvr>
  <p:transition spd="slow">
    <p:push dir="u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1 Título"/>
          <p:cNvSpPr txBox="1">
            <a:spLocks/>
          </p:cNvSpPr>
          <p:nvPr/>
        </p:nvSpPr>
        <p:spPr>
          <a:xfrm>
            <a:off x="441040" y="129054"/>
            <a:ext cx="8077200" cy="381622"/>
          </a:xfrm>
          <a:prstGeom prst="rect">
            <a:avLst/>
          </a:prstGeom>
        </p:spPr>
        <p:txBody>
          <a:bodyPr lIns="68580" tIns="34290" rIns="68580" bIns="34290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2700" b="1" dirty="0">
                <a:solidFill>
                  <a:srgbClr val="2F6EB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¿Por qué Eurostars-3?</a:t>
            </a:r>
          </a:p>
        </p:txBody>
      </p:sp>
      <p:sp>
        <p:nvSpPr>
          <p:cNvPr id="4" name="Forma libre: forma 3">
            <a:extLst>
              <a:ext uri="{FF2B5EF4-FFF2-40B4-BE49-F238E27FC236}">
                <a16:creationId xmlns:a16="http://schemas.microsoft.com/office/drawing/2014/main" xmlns="" id="{FBA5BE05-3ADD-1199-393B-C29D4B996EC9}"/>
              </a:ext>
            </a:extLst>
          </p:cNvPr>
          <p:cNvSpPr/>
          <p:nvPr/>
        </p:nvSpPr>
        <p:spPr>
          <a:xfrm>
            <a:off x="521550" y="1052143"/>
            <a:ext cx="8017868" cy="1041567"/>
          </a:xfrm>
          <a:custGeom>
            <a:avLst/>
            <a:gdLst>
              <a:gd name="connsiteX0" fmla="*/ 0 w 8145905"/>
              <a:gd name="connsiteY0" fmla="*/ 115730 h 1157298"/>
              <a:gd name="connsiteX1" fmla="*/ 115730 w 8145905"/>
              <a:gd name="connsiteY1" fmla="*/ 0 h 1157298"/>
              <a:gd name="connsiteX2" fmla="*/ 8030175 w 8145905"/>
              <a:gd name="connsiteY2" fmla="*/ 0 h 1157298"/>
              <a:gd name="connsiteX3" fmla="*/ 8145905 w 8145905"/>
              <a:gd name="connsiteY3" fmla="*/ 115730 h 1157298"/>
              <a:gd name="connsiteX4" fmla="*/ 8145905 w 8145905"/>
              <a:gd name="connsiteY4" fmla="*/ 1041568 h 1157298"/>
              <a:gd name="connsiteX5" fmla="*/ 8030175 w 8145905"/>
              <a:gd name="connsiteY5" fmla="*/ 1157298 h 1157298"/>
              <a:gd name="connsiteX6" fmla="*/ 115730 w 8145905"/>
              <a:gd name="connsiteY6" fmla="*/ 1157298 h 1157298"/>
              <a:gd name="connsiteX7" fmla="*/ 0 w 8145905"/>
              <a:gd name="connsiteY7" fmla="*/ 1041568 h 1157298"/>
              <a:gd name="connsiteX8" fmla="*/ 0 w 8145905"/>
              <a:gd name="connsiteY8" fmla="*/ 115730 h 1157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145905" h="1157298">
                <a:moveTo>
                  <a:pt x="0" y="115730"/>
                </a:moveTo>
                <a:cubicBezTo>
                  <a:pt x="0" y="51814"/>
                  <a:pt x="51814" y="0"/>
                  <a:pt x="115730" y="0"/>
                </a:cubicBezTo>
                <a:lnTo>
                  <a:pt x="8030175" y="0"/>
                </a:lnTo>
                <a:cubicBezTo>
                  <a:pt x="8094091" y="0"/>
                  <a:pt x="8145905" y="51814"/>
                  <a:pt x="8145905" y="115730"/>
                </a:cubicBezTo>
                <a:lnTo>
                  <a:pt x="8145905" y="1041568"/>
                </a:lnTo>
                <a:cubicBezTo>
                  <a:pt x="8145905" y="1105484"/>
                  <a:pt x="8094091" y="1157298"/>
                  <a:pt x="8030175" y="1157298"/>
                </a:cubicBezTo>
                <a:lnTo>
                  <a:pt x="115730" y="1157298"/>
                </a:lnTo>
                <a:cubicBezTo>
                  <a:pt x="51814" y="1157298"/>
                  <a:pt x="0" y="1105484"/>
                  <a:pt x="0" y="1041568"/>
                </a:cubicBezTo>
                <a:lnTo>
                  <a:pt x="0" y="115730"/>
                </a:lnTo>
                <a:close/>
              </a:path>
            </a:pathLst>
          </a:cu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spcFirstLastPara="0" vert="horz" wrap="square" lIns="1798250" tIns="53340" rIns="53341" bIns="53340" numCol="1" spcCol="1270" anchor="ctr" anchorCtr="0">
            <a:noAutofit/>
          </a:bodyPr>
          <a:lstStyle/>
          <a:p>
            <a:pPr marL="0" lvl="0" indent="0" algn="just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ES" sz="1400" kern="1200" dirty="0"/>
              <a:t>- EL </a:t>
            </a:r>
            <a:r>
              <a:rPr lang="es-ES" sz="1800" b="1" kern="1200" dirty="0"/>
              <a:t>26% </a:t>
            </a:r>
            <a:r>
              <a:rPr lang="es-ES" sz="1400" kern="1200" dirty="0"/>
              <a:t>DE LAS SOLICITUDES RECIBEN FINANCIACIÓN</a:t>
            </a:r>
          </a:p>
          <a:p>
            <a:pPr marL="0" lvl="0" indent="0" algn="just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ES" sz="1400" kern="1200" dirty="0"/>
              <a:t>- </a:t>
            </a:r>
            <a:r>
              <a:rPr lang="es-ES" sz="1600" b="1" kern="1200" dirty="0"/>
              <a:t>1.750 MILLONES </a:t>
            </a:r>
            <a:r>
              <a:rPr lang="es-ES" sz="1400" kern="1200" dirty="0"/>
              <a:t>DE EUROS DE INVERSIÓN PÚBLICO-PRIVADA DESDE 2014 (MÁS DE 3.000 MILLONES DESDE EL INICIO DEL PROGRAMA)</a:t>
            </a:r>
          </a:p>
        </p:txBody>
      </p:sp>
      <p:sp>
        <p:nvSpPr>
          <p:cNvPr id="5" name="Rectángulo: esquinas redondeadas 4">
            <a:extLst>
              <a:ext uri="{FF2B5EF4-FFF2-40B4-BE49-F238E27FC236}">
                <a16:creationId xmlns:a16="http://schemas.microsoft.com/office/drawing/2014/main" xmlns="" id="{1A495552-B52B-9E42-BEB4-23B53D500ACD}"/>
              </a:ext>
            </a:extLst>
          </p:cNvPr>
          <p:cNvSpPr/>
          <p:nvPr/>
        </p:nvSpPr>
        <p:spPr>
          <a:xfrm>
            <a:off x="717006" y="1190171"/>
            <a:ext cx="1199696" cy="796206"/>
          </a:xfrm>
          <a:prstGeom prst="roundRect">
            <a:avLst>
              <a:gd name="adj" fmla="val 10000"/>
            </a:avLst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5000" r="-5000"/>
            </a:stretch>
          </a:blip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6" name="Forma libre: forma 5">
            <a:extLst>
              <a:ext uri="{FF2B5EF4-FFF2-40B4-BE49-F238E27FC236}">
                <a16:creationId xmlns:a16="http://schemas.microsoft.com/office/drawing/2014/main" xmlns="" id="{6570E355-EAA8-8426-CF8E-278BDBECDCAD}"/>
              </a:ext>
            </a:extLst>
          </p:cNvPr>
          <p:cNvSpPr/>
          <p:nvPr/>
        </p:nvSpPr>
        <p:spPr>
          <a:xfrm>
            <a:off x="521550" y="2180646"/>
            <a:ext cx="8031044" cy="1073705"/>
          </a:xfrm>
          <a:custGeom>
            <a:avLst/>
            <a:gdLst>
              <a:gd name="connsiteX0" fmla="*/ 0 w 8145905"/>
              <a:gd name="connsiteY0" fmla="*/ 115730 h 1157298"/>
              <a:gd name="connsiteX1" fmla="*/ 115730 w 8145905"/>
              <a:gd name="connsiteY1" fmla="*/ 0 h 1157298"/>
              <a:gd name="connsiteX2" fmla="*/ 8030175 w 8145905"/>
              <a:gd name="connsiteY2" fmla="*/ 0 h 1157298"/>
              <a:gd name="connsiteX3" fmla="*/ 8145905 w 8145905"/>
              <a:gd name="connsiteY3" fmla="*/ 115730 h 1157298"/>
              <a:gd name="connsiteX4" fmla="*/ 8145905 w 8145905"/>
              <a:gd name="connsiteY4" fmla="*/ 1041568 h 1157298"/>
              <a:gd name="connsiteX5" fmla="*/ 8030175 w 8145905"/>
              <a:gd name="connsiteY5" fmla="*/ 1157298 h 1157298"/>
              <a:gd name="connsiteX6" fmla="*/ 115730 w 8145905"/>
              <a:gd name="connsiteY6" fmla="*/ 1157298 h 1157298"/>
              <a:gd name="connsiteX7" fmla="*/ 0 w 8145905"/>
              <a:gd name="connsiteY7" fmla="*/ 1041568 h 1157298"/>
              <a:gd name="connsiteX8" fmla="*/ 0 w 8145905"/>
              <a:gd name="connsiteY8" fmla="*/ 115730 h 1157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145905" h="1157298">
                <a:moveTo>
                  <a:pt x="0" y="115730"/>
                </a:moveTo>
                <a:cubicBezTo>
                  <a:pt x="0" y="51814"/>
                  <a:pt x="51814" y="0"/>
                  <a:pt x="115730" y="0"/>
                </a:cubicBezTo>
                <a:lnTo>
                  <a:pt x="8030175" y="0"/>
                </a:lnTo>
                <a:cubicBezTo>
                  <a:pt x="8094091" y="0"/>
                  <a:pt x="8145905" y="51814"/>
                  <a:pt x="8145905" y="115730"/>
                </a:cubicBezTo>
                <a:lnTo>
                  <a:pt x="8145905" y="1041568"/>
                </a:lnTo>
                <a:cubicBezTo>
                  <a:pt x="8145905" y="1105484"/>
                  <a:pt x="8094091" y="1157298"/>
                  <a:pt x="8030175" y="1157298"/>
                </a:cubicBezTo>
                <a:lnTo>
                  <a:pt x="115730" y="1157298"/>
                </a:lnTo>
                <a:cubicBezTo>
                  <a:pt x="51814" y="1157298"/>
                  <a:pt x="0" y="1105484"/>
                  <a:pt x="0" y="1041568"/>
                </a:cubicBezTo>
                <a:lnTo>
                  <a:pt x="0" y="115730"/>
                </a:lnTo>
                <a:close/>
              </a:path>
            </a:pathLst>
          </a:cu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spcFirstLastPara="0" vert="horz" wrap="square" lIns="1798250" tIns="53340" rIns="53341" bIns="53340" numCol="1" spcCol="1270" anchor="ctr" anchorCtr="0">
            <a:noAutofit/>
          </a:bodyPr>
          <a:lstStyle/>
          <a:p>
            <a:pPr marL="0" lvl="0" indent="0" algn="just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ES" sz="1400" kern="1200" dirty="0"/>
              <a:t>- EL 45% DE LOS PARTICIPANTES LLEGA A </a:t>
            </a:r>
            <a:r>
              <a:rPr lang="es-ES" sz="1400" b="1" kern="1200" dirty="0"/>
              <a:t>NUEVOS MERCADOS</a:t>
            </a:r>
            <a:endParaRPr lang="es-ES" sz="1200" b="1" kern="1200" dirty="0"/>
          </a:p>
          <a:p>
            <a:pPr marL="0" lvl="0" indent="0" algn="just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ES" sz="1400" kern="1200" dirty="0"/>
              <a:t>- EL 84% DE LOS SOCIOS DEL PROYECTO ESTABLECEN UNA </a:t>
            </a:r>
            <a:r>
              <a:rPr lang="es-ES" sz="1400" b="1" kern="1200" dirty="0"/>
              <a:t>RELACIÓN A LARGO PLAZO</a:t>
            </a:r>
          </a:p>
          <a:p>
            <a:pPr marL="0" lvl="0" indent="0" algn="just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ES" sz="1400" kern="1200" dirty="0"/>
              <a:t>- LAS EMPRESAS EXPERIMENTAN UN AUMENTO MEDIO DEL </a:t>
            </a:r>
            <a:r>
              <a:rPr lang="es-ES" sz="1400" b="1" kern="1200" dirty="0"/>
              <a:t>15% EN SU FACTURACIÓN ANUAL</a:t>
            </a:r>
          </a:p>
        </p:txBody>
      </p:sp>
      <p:sp>
        <p:nvSpPr>
          <p:cNvPr id="7" name="Rectángulo: esquinas redondeadas 6">
            <a:extLst>
              <a:ext uri="{FF2B5EF4-FFF2-40B4-BE49-F238E27FC236}">
                <a16:creationId xmlns:a16="http://schemas.microsoft.com/office/drawing/2014/main" xmlns="" id="{E387335E-F47B-DB46-765A-E2D0913DCCC5}"/>
              </a:ext>
            </a:extLst>
          </p:cNvPr>
          <p:cNvSpPr/>
          <p:nvPr/>
        </p:nvSpPr>
        <p:spPr>
          <a:xfrm>
            <a:off x="762004" y="2268968"/>
            <a:ext cx="1109700" cy="892164"/>
          </a:xfrm>
          <a:prstGeom prst="roundRect">
            <a:avLst>
              <a:gd name="adj" fmla="val 10000"/>
            </a:avLst>
          </a:prstGeom>
          <a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38000" r="-38000"/>
            </a:stretch>
          </a:blip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8" name="Forma libre: forma 7">
            <a:extLst>
              <a:ext uri="{FF2B5EF4-FFF2-40B4-BE49-F238E27FC236}">
                <a16:creationId xmlns:a16="http://schemas.microsoft.com/office/drawing/2014/main" xmlns="" id="{1133AF17-353F-7A1E-15D1-3D521E10972F}"/>
              </a:ext>
            </a:extLst>
          </p:cNvPr>
          <p:cNvSpPr/>
          <p:nvPr/>
        </p:nvSpPr>
        <p:spPr>
          <a:xfrm>
            <a:off x="521550" y="3360900"/>
            <a:ext cx="8017868" cy="970807"/>
          </a:xfrm>
          <a:custGeom>
            <a:avLst/>
            <a:gdLst>
              <a:gd name="connsiteX0" fmla="*/ 0 w 8145905"/>
              <a:gd name="connsiteY0" fmla="*/ 115730 h 1157298"/>
              <a:gd name="connsiteX1" fmla="*/ 115730 w 8145905"/>
              <a:gd name="connsiteY1" fmla="*/ 0 h 1157298"/>
              <a:gd name="connsiteX2" fmla="*/ 8030175 w 8145905"/>
              <a:gd name="connsiteY2" fmla="*/ 0 h 1157298"/>
              <a:gd name="connsiteX3" fmla="*/ 8145905 w 8145905"/>
              <a:gd name="connsiteY3" fmla="*/ 115730 h 1157298"/>
              <a:gd name="connsiteX4" fmla="*/ 8145905 w 8145905"/>
              <a:gd name="connsiteY4" fmla="*/ 1041568 h 1157298"/>
              <a:gd name="connsiteX5" fmla="*/ 8030175 w 8145905"/>
              <a:gd name="connsiteY5" fmla="*/ 1157298 h 1157298"/>
              <a:gd name="connsiteX6" fmla="*/ 115730 w 8145905"/>
              <a:gd name="connsiteY6" fmla="*/ 1157298 h 1157298"/>
              <a:gd name="connsiteX7" fmla="*/ 0 w 8145905"/>
              <a:gd name="connsiteY7" fmla="*/ 1041568 h 1157298"/>
              <a:gd name="connsiteX8" fmla="*/ 0 w 8145905"/>
              <a:gd name="connsiteY8" fmla="*/ 115730 h 1157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145905" h="1157298">
                <a:moveTo>
                  <a:pt x="0" y="115730"/>
                </a:moveTo>
                <a:cubicBezTo>
                  <a:pt x="0" y="51814"/>
                  <a:pt x="51814" y="0"/>
                  <a:pt x="115730" y="0"/>
                </a:cubicBezTo>
                <a:lnTo>
                  <a:pt x="8030175" y="0"/>
                </a:lnTo>
                <a:cubicBezTo>
                  <a:pt x="8094091" y="0"/>
                  <a:pt x="8145905" y="51814"/>
                  <a:pt x="8145905" y="115730"/>
                </a:cubicBezTo>
                <a:lnTo>
                  <a:pt x="8145905" y="1041568"/>
                </a:lnTo>
                <a:cubicBezTo>
                  <a:pt x="8145905" y="1105484"/>
                  <a:pt x="8094091" y="1157298"/>
                  <a:pt x="8030175" y="1157298"/>
                </a:cubicBezTo>
                <a:lnTo>
                  <a:pt x="115730" y="1157298"/>
                </a:lnTo>
                <a:cubicBezTo>
                  <a:pt x="51814" y="1157298"/>
                  <a:pt x="0" y="1105484"/>
                  <a:pt x="0" y="1041568"/>
                </a:cubicBezTo>
                <a:lnTo>
                  <a:pt x="0" y="115730"/>
                </a:lnTo>
                <a:close/>
              </a:path>
            </a:pathLst>
          </a:cu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spcFirstLastPara="0" vert="horz" wrap="square" lIns="1798250" tIns="53340" rIns="53341" bIns="53340" numCol="1" spcCol="1270" anchor="ctr" anchorCtr="0">
            <a:noAutofit/>
          </a:bodyPr>
          <a:lstStyle/>
          <a:p>
            <a:pPr marL="0" lvl="0" indent="0" algn="just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s-ES" sz="1400" kern="1200" dirty="0"/>
              <a:t>-LAS RELACIONES DE I+D SE TRANSFORMAN EN </a:t>
            </a:r>
            <a:r>
              <a:rPr lang="es-ES" sz="1600" b="1" kern="1200" dirty="0"/>
              <a:t>RELACIONES COMERCIALES</a:t>
            </a:r>
            <a:endParaRPr lang="es-ES" sz="1400" b="1" kern="1200" dirty="0"/>
          </a:p>
          <a:p>
            <a:pPr lvl="0" algn="just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s-ES" sz="1400" kern="1200" dirty="0"/>
              <a:t>-AUMENTO DE LA </a:t>
            </a:r>
            <a:r>
              <a:rPr lang="es-ES" sz="1600" b="1" kern="1200" dirty="0"/>
              <a:t>VISIBILIDAD</a:t>
            </a:r>
            <a:r>
              <a:rPr lang="es-ES" sz="1600" kern="1200" dirty="0"/>
              <a:t> </a:t>
            </a:r>
            <a:r>
              <a:rPr lang="es-ES" sz="1600" dirty="0"/>
              <a:t>e </a:t>
            </a:r>
            <a:r>
              <a:rPr lang="es-ES" sz="1600" b="1" dirty="0"/>
              <a:t>INTERNACIONALIZACIÓN</a:t>
            </a:r>
            <a:r>
              <a:rPr lang="es-ES" sz="1600" dirty="0"/>
              <a:t> </a:t>
            </a:r>
            <a:r>
              <a:rPr lang="es-ES" sz="1400" kern="1200" dirty="0"/>
              <a:t>DE LAS ORGANIZACIONES EN SUS CAMPOS DE ESPECIALIZACIÓN</a:t>
            </a:r>
          </a:p>
        </p:txBody>
      </p:sp>
      <p:sp>
        <p:nvSpPr>
          <p:cNvPr id="9" name="Rectángulo: esquinas redondeadas 8">
            <a:extLst>
              <a:ext uri="{FF2B5EF4-FFF2-40B4-BE49-F238E27FC236}">
                <a16:creationId xmlns:a16="http://schemas.microsoft.com/office/drawing/2014/main" xmlns="" id="{8BFEA3E1-B3E4-3001-780F-03AFA65291ED}"/>
              </a:ext>
            </a:extLst>
          </p:cNvPr>
          <p:cNvSpPr/>
          <p:nvPr/>
        </p:nvSpPr>
        <p:spPr>
          <a:xfrm>
            <a:off x="717006" y="3429610"/>
            <a:ext cx="1199696" cy="852330"/>
          </a:xfrm>
          <a:prstGeom prst="roundRect">
            <a:avLst>
              <a:gd name="adj" fmla="val 10000"/>
            </a:avLst>
          </a:prstGeom>
          <a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6000" r="-6000"/>
            </a:stretch>
          </a:blip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xmlns="" id="{1328B994-232F-3687-3A27-2B948BACBBA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6585" y="4506965"/>
            <a:ext cx="1485165" cy="556482"/>
          </a:xfrm>
          <a:prstGeom prst="rect">
            <a:avLst/>
          </a:prstGeom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xmlns="" id="{47D4D924-F3EC-1021-603E-C34E533A4621}"/>
              </a:ext>
            </a:extLst>
          </p:cNvPr>
          <p:cNvSpPr txBox="1"/>
          <p:nvPr/>
        </p:nvSpPr>
        <p:spPr>
          <a:xfrm>
            <a:off x="1846848" y="667493"/>
            <a:ext cx="526558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hlinkClick r:id="rId6"/>
              </a:rPr>
              <a:t>Eurostars-2 final evaluation - Publications Office of the EU (europa.eu)</a:t>
            </a:r>
            <a:endParaRPr lang="es-ES" sz="1400" dirty="0"/>
          </a:p>
        </p:txBody>
      </p:sp>
    </p:spTree>
    <p:extLst>
      <p:ext uri="{BB962C8B-B14F-4D97-AF65-F5344CB8AC3E}">
        <p14:creationId xmlns:p14="http://schemas.microsoft.com/office/powerpoint/2010/main" val="350206067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 animBg="1"/>
      <p:bldP spid="8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1 Título"/>
          <p:cNvSpPr txBox="1">
            <a:spLocks/>
          </p:cNvSpPr>
          <p:nvPr/>
        </p:nvSpPr>
        <p:spPr>
          <a:xfrm>
            <a:off x="540839" y="178231"/>
            <a:ext cx="8077200" cy="381622"/>
          </a:xfrm>
          <a:prstGeom prst="rect">
            <a:avLst/>
          </a:prstGeom>
        </p:spPr>
        <p:txBody>
          <a:bodyPr lIns="68580" tIns="34290" rIns="68580" bIns="34290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2700" b="1" dirty="0">
                <a:solidFill>
                  <a:srgbClr val="2F6EB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stribución histórica de participación 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xmlns="" id="{01135795-CC5C-A6B4-0B82-AE62B51F511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80" t="17067" r="6930" b="6784"/>
          <a:stretch/>
        </p:blipFill>
        <p:spPr>
          <a:xfrm>
            <a:off x="66412" y="1175623"/>
            <a:ext cx="4569088" cy="2880513"/>
          </a:xfrm>
          <a:prstGeom prst="rect">
            <a:avLst/>
          </a:prstGeom>
        </p:spPr>
      </p:pic>
      <p:pic>
        <p:nvPicPr>
          <p:cNvPr id="3" name="Imagen 2">
            <a:extLst>
              <a:ext uri="{FF2B5EF4-FFF2-40B4-BE49-F238E27FC236}">
                <a16:creationId xmlns:a16="http://schemas.microsoft.com/office/drawing/2014/main" xmlns="" id="{2D06EC8B-EB89-CB51-F23C-4B9846F25F1D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797025" y="1424122"/>
            <a:ext cx="925927" cy="229525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xmlns="" id="{2C2CEB0E-853A-DCF9-1562-86A9C8F1776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6585" y="4506965"/>
            <a:ext cx="1485165" cy="556482"/>
          </a:xfrm>
          <a:prstGeom prst="rect">
            <a:avLst/>
          </a:prstGeom>
        </p:spPr>
      </p:pic>
      <p:pic>
        <p:nvPicPr>
          <p:cNvPr id="6" name="Imagen 5" descr="Gráfico, Gráfico de barras&#10;&#10;Descripción generada automáticamente">
            <a:extLst>
              <a:ext uri="{FF2B5EF4-FFF2-40B4-BE49-F238E27FC236}">
                <a16:creationId xmlns:a16="http://schemas.microsoft.com/office/drawing/2014/main" xmlns="" id="{20314ACC-A12F-5BFE-D5A9-9C5F74B54409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608" t="20705" r="5028" b="5521"/>
          <a:stretch/>
        </p:blipFill>
        <p:spPr>
          <a:xfrm>
            <a:off x="6012160" y="1514132"/>
            <a:ext cx="2655295" cy="2205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5144099"/>
      </p:ext>
    </p:extLst>
  </p:cSld>
  <p:clrMapOvr>
    <a:masterClrMapping/>
  </p:clrMapOvr>
  <p:transition spd="slow">
    <p:push dir="u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7387421"/>
              </p:ext>
            </p:extLst>
          </p:nvPr>
        </p:nvGraphicFramePr>
        <p:xfrm>
          <a:off x="341530" y="1221600"/>
          <a:ext cx="8573869" cy="3060340"/>
        </p:xfrm>
        <a:graphic>
          <a:graphicData uri="http://schemas.openxmlformats.org/drawingml/2006/table">
            <a:tbl>
              <a:tblPr firstRow="1" bandRow="1">
                <a:effectLst>
                  <a:innerShdw blurRad="63500" dist="50800" dir="2700000">
                    <a:prstClr val="black">
                      <a:alpha val="50000"/>
                    </a:prstClr>
                  </a:innerShdw>
                </a:effectLst>
                <a:tableStyleId>{5C22544A-7EE6-4342-B048-85BDC9FD1C3A}</a:tableStyleId>
              </a:tblPr>
              <a:tblGrid>
                <a:gridCol w="220524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83531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53330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94681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es-ES_tradnl" sz="2000" dirty="0"/>
                        <a:t>Qué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es-ES_tradnl" sz="2000" dirty="0"/>
                        <a:t>Cuánd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es-ES_tradnl" sz="2000" dirty="0"/>
                        <a:t>Nota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4740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s-ES_tradnl" sz="1600" b="1" dirty="0"/>
                        <a:t>Sesiones onlin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s-ES_tradnl" sz="1600" i="1" dirty="0"/>
                        <a:t>Mediados julio (CDTI y ES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s-ES_tradnl" sz="1600" dirty="0">
                          <a:solidFill>
                            <a:schemeClr val="tx1"/>
                          </a:solidFill>
                        </a:rPr>
                        <a:t>Descargas disponibles pront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4740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s-ES_tradnl" sz="1600" b="1" dirty="0"/>
                        <a:t>Cierre</a:t>
                      </a:r>
                      <a:r>
                        <a:rPr lang="es-ES_tradnl" sz="1600" b="1" baseline="0" dirty="0"/>
                        <a:t> </a:t>
                      </a:r>
                      <a:r>
                        <a:rPr lang="es-ES_tradnl" sz="1600" b="1" baseline="0" dirty="0" err="1"/>
                        <a:t>CoD</a:t>
                      </a:r>
                      <a:endParaRPr lang="es-ES_tradnl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s-ES_tradnl" sz="1600" i="1" dirty="0"/>
                        <a:t>14/09/23  14: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s-ES_tradnl" sz="1600" dirty="0"/>
                        <a:t>¡presentar 12-24 horas antes!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4740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s-ES_tradnl" sz="1600" b="1" dirty="0"/>
                        <a:t>1ª notificació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s-ES_tradnl" sz="1600" i="1" dirty="0"/>
                        <a:t>Finales octubre 20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s-ES_tradnl" sz="1600" dirty="0"/>
                        <a:t>Proyectos que pasan el IE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7684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_tradnl" sz="1600" b="1" dirty="0"/>
                        <a:t>2ª notificació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s-ES_tradnl" sz="1600" i="1" dirty="0"/>
                        <a:t>Finales noviembre 20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_tradnl" sz="1600" dirty="0"/>
                        <a:t>Proyectos calificados/descalificados por el IE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4740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s-ES_tradnl" sz="1600" b="1" dirty="0"/>
                        <a:t>Notificación Fin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s-ES_tradnl" sz="1600" i="1" dirty="0"/>
                        <a:t>Mediados diciembre 20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s-ES_tradnl" sz="1600" dirty="0"/>
                        <a:t>Proyectos aprobados/no aprobado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4740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s-ES_tradnl" sz="1600" b="1" dirty="0"/>
                        <a:t>Presentación</a:t>
                      </a:r>
                      <a:r>
                        <a:rPr lang="es-ES_tradnl" sz="1600" b="1" baseline="0" dirty="0"/>
                        <a:t> CII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s-ES_tradnl" sz="1600" i="1" baseline="0" dirty="0"/>
                        <a:t>1º semestre 2024</a:t>
                      </a:r>
                      <a:endParaRPr lang="es-ES_tradnl" sz="16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s-ES_tradnl" sz="1600" dirty="0"/>
                        <a:t>10 días hábiles – en españo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4798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s-ES_tradnl" sz="1600" b="1" baseline="0" dirty="0"/>
                        <a:t>Inicio de proyecto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s-ES_tradnl" sz="1600" dirty="0"/>
                        <a:t>Recomendado </a:t>
                      </a:r>
                      <a:r>
                        <a:rPr lang="es-ES_tradnl" sz="1600" b="1" dirty="0"/>
                        <a:t>mayo-junio 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s-ES_tradnl" sz="1600" b="0" dirty="0"/>
                        <a:t>Obligatorio gastos en 202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sp>
        <p:nvSpPr>
          <p:cNvPr id="3" name="2 Rectángulo"/>
          <p:cNvSpPr/>
          <p:nvPr/>
        </p:nvSpPr>
        <p:spPr>
          <a:xfrm>
            <a:off x="2265701" y="629124"/>
            <a:ext cx="4725525" cy="4234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s-ES_tradnl" sz="1600" b="1" dirty="0"/>
              <a:t>Asesoramiento continuo en: </a:t>
            </a:r>
            <a:r>
              <a:rPr lang="es-ES_tradnl" sz="1600" b="1" dirty="0">
                <a:hlinkClick r:id="rId2"/>
              </a:rPr>
              <a:t>eurostars3@cdti.es</a:t>
            </a:r>
            <a:endParaRPr lang="es-ES_tradnl" sz="1600" b="1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xmlns="" id="{CA32A430-6E48-1A5E-4ADD-E46759FD14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6585" y="4506965"/>
            <a:ext cx="1485165" cy="556482"/>
          </a:xfrm>
          <a:prstGeom prst="rect">
            <a:avLst/>
          </a:prstGeom>
        </p:spPr>
      </p:pic>
      <p:sp>
        <p:nvSpPr>
          <p:cNvPr id="6" name="1 Título">
            <a:extLst>
              <a:ext uri="{FF2B5EF4-FFF2-40B4-BE49-F238E27FC236}">
                <a16:creationId xmlns:a16="http://schemas.microsoft.com/office/drawing/2014/main" xmlns="" id="{4120C565-1071-B21A-76F2-2C8D10544D92}"/>
              </a:ext>
            </a:extLst>
          </p:cNvPr>
          <p:cNvSpPr txBox="1">
            <a:spLocks/>
          </p:cNvSpPr>
          <p:nvPr/>
        </p:nvSpPr>
        <p:spPr>
          <a:xfrm>
            <a:off x="540839" y="178231"/>
            <a:ext cx="8077200" cy="381622"/>
          </a:xfrm>
          <a:prstGeom prst="rect">
            <a:avLst/>
          </a:prstGeom>
        </p:spPr>
        <p:txBody>
          <a:bodyPr lIns="68580" tIns="34290" rIns="68580" bIns="34290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2700" b="1" dirty="0">
                <a:solidFill>
                  <a:srgbClr val="2F6EB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echas a tener en cuenta – CoD5</a:t>
            </a:r>
          </a:p>
        </p:txBody>
      </p:sp>
    </p:spTree>
    <p:extLst>
      <p:ext uri="{BB962C8B-B14F-4D97-AF65-F5344CB8AC3E}">
        <p14:creationId xmlns:p14="http://schemas.microsoft.com/office/powerpoint/2010/main" val="1633706402"/>
      </p:ext>
    </p:extLst>
  </p:cSld>
  <p:clrMapOvr>
    <a:masterClrMapping/>
  </p:clrMapOvr>
  <p:transition spd="slow"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5 Título">
            <a:extLst>
              <a:ext uri="{FF2B5EF4-FFF2-40B4-BE49-F238E27FC236}">
                <a16:creationId xmlns:a16="http://schemas.microsoft.com/office/drawing/2014/main" xmlns="" id="{D2DA1A2A-F71C-5BB1-46CC-9EC9AFB95EE7}"/>
              </a:ext>
            </a:extLst>
          </p:cNvPr>
          <p:cNvSpPr txBox="1">
            <a:spLocks/>
          </p:cNvSpPr>
          <p:nvPr/>
        </p:nvSpPr>
        <p:spPr>
          <a:xfrm>
            <a:off x="161511" y="1311610"/>
            <a:ext cx="4410490" cy="945105"/>
          </a:xfrm>
          <a:prstGeom prst="rect">
            <a:avLst/>
          </a:prstGeom>
        </p:spPr>
        <p:txBody>
          <a:bodyPr>
            <a:noAutofit/>
          </a:bodyPr>
          <a:lstStyle>
            <a:lvl1pPr algn="r" defTabSz="914400" rtl="0" eaLnBrk="1" latinLnBrk="0" hangingPunct="1">
              <a:spcBef>
                <a:spcPct val="0"/>
              </a:spcBef>
              <a:buNone/>
              <a:defRPr sz="32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_tradnl" sz="6000" b="1" i="1" dirty="0" err="1">
                <a:solidFill>
                  <a:srgbClr val="1DB5DE"/>
                </a:solidFill>
                <a:latin typeface="Arial" charset="0"/>
                <a:cs typeface="Arial" charset="0"/>
              </a:rPr>
              <a:t>InnoWwide</a:t>
            </a:r>
            <a:endParaRPr lang="es-ES_tradnl" sz="6000" b="1" i="1" dirty="0">
              <a:solidFill>
                <a:srgbClr val="1DB5DE"/>
              </a:solidFill>
              <a:latin typeface="Arial" charset="0"/>
              <a:cs typeface="Arial" charset="0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xmlns="" id="{393BB942-2BA1-E88C-2448-21416B7369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26895" y="1581640"/>
            <a:ext cx="5765640" cy="2160350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07D090CB-FDC8-8E55-3844-B1E7406FF2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6585" y="4506965"/>
            <a:ext cx="1485165" cy="556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2541399"/>
      </p:ext>
    </p:extLst>
  </p:cSld>
  <p:clrMapOvr>
    <a:masterClrMapping/>
  </p:clrMapOvr>
  <p:transition spd="slow"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07D090CB-FDC8-8E55-3844-B1E7406FF2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6585" y="4506965"/>
            <a:ext cx="1485165" cy="556482"/>
          </a:xfrm>
          <a:prstGeom prst="rect">
            <a:avLst/>
          </a:prstGeom>
        </p:spPr>
      </p:pic>
      <p:sp>
        <p:nvSpPr>
          <p:cNvPr id="2" name="Marcador de texto 7">
            <a:extLst>
              <a:ext uri="{FF2B5EF4-FFF2-40B4-BE49-F238E27FC236}">
                <a16:creationId xmlns:a16="http://schemas.microsoft.com/office/drawing/2014/main" xmlns="" id="{D288EDA0-B9CE-2E2B-F0B7-D75C364E8E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80198" y="1131590"/>
            <a:ext cx="7583602" cy="2262970"/>
          </a:xfrm>
        </p:spPr>
        <p:txBody>
          <a:bodyPr/>
          <a:lstStyle/>
          <a:p>
            <a:pPr marL="342900" indent="-342900">
              <a:lnSpc>
                <a:spcPct val="150000"/>
              </a:lnSpc>
              <a:spcBef>
                <a:spcPts val="0"/>
              </a:spcBef>
              <a:buFont typeface="+mj-lt"/>
              <a:buAutoNum type="arabicParenR"/>
            </a:pPr>
            <a:r>
              <a:rPr lang="es-ES_tradnl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ilitar el acceso a </a:t>
            </a:r>
            <a:r>
              <a:rPr lang="es-ES_tradnl" sz="1800" dirty="0">
                <a:solidFill>
                  <a:srgbClr val="1DB5DE"/>
                </a:solidFill>
                <a:latin typeface="Arial" charset="0"/>
                <a:cs typeface="Arial" charset="0"/>
              </a:rPr>
              <a:t>nuevos mercados</a:t>
            </a:r>
          </a:p>
          <a:p>
            <a:pPr marL="342900" indent="-342900" algn="just">
              <a:lnSpc>
                <a:spcPct val="150000"/>
              </a:lnSpc>
              <a:spcBef>
                <a:spcPts val="0"/>
              </a:spcBef>
              <a:buFont typeface="+mj-lt"/>
              <a:buAutoNum type="arabicParenR"/>
            </a:pPr>
            <a:r>
              <a:rPr lang="es-ES_tradnl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mentar la </a:t>
            </a:r>
            <a:r>
              <a:rPr lang="es-ES_tradnl" sz="1800" dirty="0">
                <a:solidFill>
                  <a:srgbClr val="1DB5DE"/>
                </a:solidFill>
                <a:latin typeface="Arial" charset="0"/>
                <a:cs typeface="Arial" charset="0"/>
              </a:rPr>
              <a:t>generación de I+D o de oportunidades de negocio</a:t>
            </a:r>
            <a:r>
              <a:rPr lang="es-ES_tradnl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n socios de cualquier parte del mundo</a:t>
            </a:r>
          </a:p>
          <a:p>
            <a:pPr marL="342900" indent="-342900" algn="just">
              <a:lnSpc>
                <a:spcPct val="150000"/>
              </a:lnSpc>
              <a:spcBef>
                <a:spcPts val="0"/>
              </a:spcBef>
              <a:buFont typeface="+mj-lt"/>
              <a:buAutoNum type="arabicParenR"/>
            </a:pPr>
            <a:r>
              <a:rPr lang="es-ES_tradnl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oyar la comprobación de que los </a:t>
            </a:r>
            <a:r>
              <a:rPr lang="es-ES_tradnl" sz="1800" dirty="0">
                <a:solidFill>
                  <a:srgbClr val="1DB5DE"/>
                </a:solidFill>
                <a:latin typeface="Arial" charset="0"/>
                <a:cs typeface="Arial" charset="0"/>
              </a:rPr>
              <a:t>resultados tecnológicos </a:t>
            </a:r>
            <a:r>
              <a:rPr lang="es-ES_tradnl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las pymes pueden ser </a:t>
            </a:r>
            <a:r>
              <a:rPr lang="es-ES_tradnl" sz="1800" dirty="0">
                <a:solidFill>
                  <a:srgbClr val="1DB5DE"/>
                </a:solidFill>
                <a:latin typeface="Arial" charset="0"/>
                <a:cs typeface="Arial" charset="0"/>
              </a:rPr>
              <a:t>comercializados en mercados globales</a:t>
            </a:r>
          </a:p>
          <a:p>
            <a:pPr marL="342900" indent="-342900" algn="just">
              <a:lnSpc>
                <a:spcPct val="150000"/>
              </a:lnSpc>
              <a:spcBef>
                <a:spcPts val="0"/>
              </a:spcBef>
              <a:buFont typeface="+mj-lt"/>
              <a:buAutoNum type="arabicParenR"/>
            </a:pPr>
            <a:r>
              <a:rPr lang="es-ES_tradnl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upuesto estimado: </a:t>
            </a:r>
            <a:r>
              <a:rPr lang="es-ES_tradnl" sz="1800" dirty="0">
                <a:solidFill>
                  <a:srgbClr val="1DB5DE"/>
                </a:solidFill>
                <a:latin typeface="Arial" charset="0"/>
                <a:cs typeface="Arial" charset="0"/>
              </a:rPr>
              <a:t>25 millones </a:t>
            </a:r>
            <a:r>
              <a:rPr lang="es-ES_tradnl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a 6 años (</a:t>
            </a:r>
            <a:r>
              <a:rPr lang="es-ES_tradnl" sz="1800" dirty="0">
                <a:solidFill>
                  <a:srgbClr val="1DB5DE"/>
                </a:solidFill>
                <a:latin typeface="Arial" charset="0"/>
                <a:cs typeface="Arial" charset="0"/>
              </a:rPr>
              <a:t>1 </a:t>
            </a:r>
            <a:r>
              <a:rPr lang="es-ES_tradnl" sz="1800" dirty="0" err="1">
                <a:solidFill>
                  <a:srgbClr val="1DB5DE"/>
                </a:solidFill>
                <a:latin typeface="Arial" charset="0"/>
                <a:cs typeface="Arial" charset="0"/>
              </a:rPr>
              <a:t>call</a:t>
            </a:r>
            <a:r>
              <a:rPr lang="es-ES_tradnl" sz="1800" dirty="0">
                <a:solidFill>
                  <a:srgbClr val="1DB5DE"/>
                </a:solidFill>
                <a:latin typeface="Arial" charset="0"/>
                <a:cs typeface="Arial" charset="0"/>
              </a:rPr>
              <a:t>/año</a:t>
            </a:r>
            <a:r>
              <a:rPr lang="es-ES_tradnl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342900" indent="-342900" algn="just">
              <a:lnSpc>
                <a:spcPct val="150000"/>
              </a:lnSpc>
              <a:spcBef>
                <a:spcPts val="0"/>
              </a:spcBef>
              <a:buFont typeface="+mj-lt"/>
              <a:buAutoNum type="arabicParenR"/>
            </a:pPr>
            <a:r>
              <a:rPr lang="es-ES_tradnl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ctativa de apoyo a </a:t>
            </a:r>
            <a:r>
              <a:rPr lang="es-ES_tradnl" sz="1800" dirty="0">
                <a:solidFill>
                  <a:srgbClr val="1DB5DE"/>
                </a:solidFill>
                <a:latin typeface="Arial" charset="0"/>
                <a:cs typeface="Arial" charset="0"/>
              </a:rPr>
              <a:t>400 pymes</a:t>
            </a:r>
          </a:p>
          <a:p>
            <a:pPr marL="342900" indent="-342900" algn="just">
              <a:buFont typeface="+mj-lt"/>
              <a:buAutoNum type="arabicParenR"/>
            </a:pPr>
            <a:endParaRPr lang="es-ES_tradnl" sz="2000" dirty="0">
              <a:solidFill>
                <a:srgbClr val="1DB5DE"/>
              </a:solidFill>
              <a:latin typeface="Arial" charset="0"/>
              <a:cs typeface="Arial" charset="0"/>
            </a:endParaRPr>
          </a:p>
        </p:txBody>
      </p:sp>
      <p:sp>
        <p:nvSpPr>
          <p:cNvPr id="3" name="Marcador de texto 5">
            <a:extLst>
              <a:ext uri="{FF2B5EF4-FFF2-40B4-BE49-F238E27FC236}">
                <a16:creationId xmlns:a16="http://schemas.microsoft.com/office/drawing/2014/main" xmlns="" id="{50FF64A6-6D54-5577-6D9D-4AD2873847E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63872" y="366505"/>
            <a:ext cx="6616255" cy="406632"/>
          </a:xfrm>
        </p:spPr>
        <p:txBody>
          <a:bodyPr/>
          <a:lstStyle/>
          <a:p>
            <a:pPr algn="ctr"/>
            <a:r>
              <a:rPr lang="es-ES_tradnl" sz="2700" dirty="0">
                <a:solidFill>
                  <a:srgbClr val="1DB5DE"/>
                </a:solidFill>
              </a:rPr>
              <a:t>Objetivos de </a:t>
            </a:r>
            <a:r>
              <a:rPr lang="es-ES_tradnl" sz="2700" i="1" dirty="0" err="1">
                <a:solidFill>
                  <a:srgbClr val="1DB5DE"/>
                </a:solidFill>
              </a:rPr>
              <a:t>InnoWwide</a:t>
            </a:r>
            <a:endParaRPr lang="es-ES_tradnl" sz="2700" i="1" dirty="0">
              <a:solidFill>
                <a:srgbClr val="1DB5D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4643966"/>
      </p:ext>
    </p:extLst>
  </p:cSld>
  <p:clrMapOvr>
    <a:masterClrMapping/>
  </p:clrMapOvr>
  <p:transition spd="slow">
    <p:push dir="u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07D090CB-FDC8-8E55-3844-B1E7406FF2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6585" y="4506965"/>
            <a:ext cx="1485165" cy="556482"/>
          </a:xfrm>
          <a:prstGeom prst="rect">
            <a:avLst/>
          </a:prstGeom>
        </p:spPr>
      </p:pic>
      <p:sp>
        <p:nvSpPr>
          <p:cNvPr id="3" name="Marcador de texto 7">
            <a:extLst>
              <a:ext uri="{FF2B5EF4-FFF2-40B4-BE49-F238E27FC236}">
                <a16:creationId xmlns:a16="http://schemas.microsoft.com/office/drawing/2014/main" xmlns="" id="{55477519-8DE5-D7A3-8FFA-DF61571B0E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6535" y="772253"/>
            <a:ext cx="8528448" cy="1575175"/>
          </a:xfrm>
        </p:spPr>
        <p:txBody>
          <a:bodyPr/>
          <a:lstStyle/>
          <a:p>
            <a:pPr marL="457200" indent="-457200">
              <a:lnSpc>
                <a:spcPct val="150000"/>
              </a:lnSpc>
              <a:spcBef>
                <a:spcPts val="0"/>
              </a:spcBef>
              <a:buFont typeface="+mj-lt"/>
              <a:buAutoNum type="arabicParenR"/>
            </a:pPr>
            <a:r>
              <a:rPr lang="es-ES_tradnl" sz="1800" dirty="0">
                <a:solidFill>
                  <a:srgbClr val="1DB5DE"/>
                </a:solidFill>
                <a:latin typeface="Arial" charset="0"/>
                <a:cs typeface="Arial" charset="0"/>
              </a:rPr>
              <a:t>Proyectos de viabilidad de mercado (MFP)</a:t>
            </a:r>
          </a:p>
          <a:p>
            <a:pPr marL="342900" indent="-342900">
              <a:lnSpc>
                <a:spcPct val="150000"/>
              </a:lnSpc>
              <a:spcBef>
                <a:spcPts val="0"/>
              </a:spcBef>
              <a:buFont typeface="+mj-lt"/>
              <a:buAutoNum type="arabicParenR"/>
            </a:pPr>
            <a:r>
              <a:rPr lang="es-ES_tradnl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jar </a:t>
            </a:r>
            <a:r>
              <a:rPr lang="es-ES_tradnl" sz="1800" dirty="0">
                <a:solidFill>
                  <a:srgbClr val="1DB5DE"/>
                </a:solidFill>
                <a:latin typeface="Arial" charset="0"/>
                <a:cs typeface="Arial" charset="0"/>
              </a:rPr>
              <a:t>un mercado objetivo </a:t>
            </a:r>
            <a:r>
              <a:rPr lang="es-ES_tradnl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interés (</a:t>
            </a:r>
            <a:r>
              <a:rPr lang="es-ES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 África, América, Asia u Oceanía</a:t>
            </a:r>
            <a:r>
              <a:rPr lang="es-ES_tradnl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342900" indent="-342900">
              <a:lnSpc>
                <a:spcPct val="150000"/>
              </a:lnSpc>
              <a:spcBef>
                <a:spcPts val="0"/>
              </a:spcBef>
              <a:buFont typeface="+mj-lt"/>
              <a:buAutoNum type="arabicParenR"/>
            </a:pPr>
            <a:r>
              <a:rPr lang="es-ES_tradnl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das las áreas son bienvenidas: </a:t>
            </a:r>
            <a:r>
              <a:rPr lang="es-ES_tradnl" sz="1800" dirty="0">
                <a:solidFill>
                  <a:srgbClr val="1DB5DE"/>
                </a:solidFill>
                <a:latin typeface="Arial" charset="0"/>
                <a:cs typeface="Arial" charset="0"/>
              </a:rPr>
              <a:t>bottom-up</a:t>
            </a:r>
          </a:p>
          <a:p>
            <a:pPr marL="342900" indent="-342900">
              <a:lnSpc>
                <a:spcPct val="150000"/>
              </a:lnSpc>
              <a:spcBef>
                <a:spcPts val="0"/>
              </a:spcBef>
              <a:buFont typeface="+mj-lt"/>
              <a:buAutoNum type="arabicParenR"/>
            </a:pPr>
            <a:r>
              <a:rPr lang="es-ES_tradnl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o-Beneficiario: </a:t>
            </a:r>
            <a:r>
              <a:rPr lang="es-ES_tradnl" sz="1800" dirty="0">
                <a:solidFill>
                  <a:srgbClr val="1DB5DE"/>
                </a:solidFill>
                <a:latin typeface="Arial" charset="0"/>
                <a:cs typeface="Arial" charset="0"/>
              </a:rPr>
              <a:t>pymes </a:t>
            </a:r>
            <a:r>
              <a:rPr lang="es-ES_tradnl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pañolas (</a:t>
            </a:r>
            <a:r>
              <a:rPr lang="es-ES" sz="18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yme innovadora de un Estado miembro de la Unión Europea o de Islandia, Israel, Noruega o Turquía</a:t>
            </a:r>
            <a:r>
              <a:rPr lang="es-ES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s-ES_tradnl" sz="1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50000"/>
              </a:lnSpc>
              <a:spcBef>
                <a:spcPts val="0"/>
              </a:spcBef>
              <a:buFont typeface="+mj-lt"/>
              <a:buAutoNum type="arabicParenR"/>
            </a:pPr>
            <a:r>
              <a:rPr lang="es-ES_tradnl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 civil y duración de </a:t>
            </a:r>
            <a:r>
              <a:rPr lang="es-ES_tradnl" sz="1800" dirty="0">
                <a:solidFill>
                  <a:srgbClr val="1DB5DE"/>
                </a:solidFill>
                <a:latin typeface="Arial" charset="0"/>
                <a:cs typeface="Arial" charset="0"/>
              </a:rPr>
              <a:t>6 meses.</a:t>
            </a:r>
          </a:p>
          <a:p>
            <a:pPr marL="342900" indent="-342900">
              <a:lnSpc>
                <a:spcPct val="150000"/>
              </a:lnSpc>
              <a:spcBef>
                <a:spcPts val="0"/>
              </a:spcBef>
              <a:buFont typeface="+mj-lt"/>
              <a:buAutoNum type="arabicParenR"/>
            </a:pPr>
            <a:r>
              <a:rPr lang="es-ES_tradnl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vención fija: </a:t>
            </a:r>
            <a:r>
              <a:rPr lang="es-ES_tradnl" sz="1800" dirty="0">
                <a:solidFill>
                  <a:srgbClr val="1DB5DE"/>
                </a:solidFill>
                <a:latin typeface="Arial" charset="0"/>
                <a:cs typeface="Arial" charset="0"/>
              </a:rPr>
              <a:t>60.000€ </a:t>
            </a:r>
            <a:r>
              <a:rPr lang="es-ES_tradnl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presupuesto &gt; 86.000€)</a:t>
            </a:r>
          </a:p>
          <a:p>
            <a:pPr marL="342900" indent="-342900">
              <a:lnSpc>
                <a:spcPct val="150000"/>
              </a:lnSpc>
              <a:spcBef>
                <a:spcPts val="0"/>
              </a:spcBef>
              <a:buFont typeface="+mj-lt"/>
              <a:buAutoNum type="arabicParenR"/>
            </a:pP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bligatorio tener un </a:t>
            </a:r>
            <a:r>
              <a:rPr lang="es-ES" sz="1800" dirty="0">
                <a:solidFill>
                  <a:srgbClr val="1DB5DE"/>
                </a:solidFill>
                <a:latin typeface="Arial" charset="0"/>
                <a:cs typeface="Arial" charset="0"/>
              </a:rPr>
              <a:t>subcontratista </a:t>
            </a: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 el mercado objetivo (“</a:t>
            </a:r>
            <a:r>
              <a:rPr kumimoji="0" lang="es-ES" sz="1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in</a:t>
            </a:r>
            <a:r>
              <a:rPr kumimoji="0" lang="es-E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1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bcontractor</a:t>
            </a: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”)</a:t>
            </a:r>
          </a:p>
          <a:p>
            <a:pPr marL="342900" indent="-342900">
              <a:lnSpc>
                <a:spcPct val="150000"/>
              </a:lnSpc>
              <a:spcBef>
                <a:spcPts val="0"/>
              </a:spcBef>
              <a:buFont typeface="+mj-lt"/>
              <a:buAutoNum type="arabicParenR"/>
            </a:pPr>
            <a:endParaRPr lang="es-ES_tradnl" sz="1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arenR"/>
            </a:pPr>
            <a:endParaRPr lang="es-ES_tradnl" sz="1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xmlns="" id="{9D6E7364-DCFA-7A00-066A-915F4E46F97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16085" y="231310"/>
            <a:ext cx="7111830" cy="406632"/>
          </a:xfrm>
        </p:spPr>
        <p:txBody>
          <a:bodyPr/>
          <a:lstStyle/>
          <a:p>
            <a:pPr algn="ctr"/>
            <a:r>
              <a:rPr lang="es-ES_tradnl" sz="2700" dirty="0">
                <a:solidFill>
                  <a:srgbClr val="1DB5DE"/>
                </a:solidFill>
              </a:rPr>
              <a:t>Características generales</a:t>
            </a:r>
          </a:p>
          <a:p>
            <a:endParaRPr lang="es-ES_tradnl" sz="3300" dirty="0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xmlns="" id="{7532655E-6092-2BE8-398E-8A9AA484F2B6}"/>
              </a:ext>
            </a:extLst>
          </p:cNvPr>
          <p:cNvSpPr txBox="1"/>
          <p:nvPr/>
        </p:nvSpPr>
        <p:spPr>
          <a:xfrm>
            <a:off x="2085473" y="4180042"/>
            <a:ext cx="497305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es-ES_tradnl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https://www.eurekanetwork.org/programmes/innowwide/</a:t>
            </a:r>
            <a:endParaRPr lang="es-ES_tradnl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3388148"/>
      </p:ext>
    </p:extLst>
  </p:cSld>
  <p:clrMapOvr>
    <a:masterClrMapping/>
  </p:clrMapOvr>
  <p:transition spd="slow">
    <p:push dir="u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07D090CB-FDC8-8E55-3844-B1E7406FF2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6585" y="4506965"/>
            <a:ext cx="1485165" cy="556482"/>
          </a:xfrm>
          <a:prstGeom prst="rect">
            <a:avLst/>
          </a:prstGeom>
        </p:spPr>
      </p:pic>
      <p:sp>
        <p:nvSpPr>
          <p:cNvPr id="2" name="Marcador de texto 7">
            <a:extLst>
              <a:ext uri="{FF2B5EF4-FFF2-40B4-BE49-F238E27FC236}">
                <a16:creationId xmlns:a16="http://schemas.microsoft.com/office/drawing/2014/main" xmlns="" id="{435D8B0B-4988-DA2D-AE6F-1029DD7269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7604" y="1037419"/>
            <a:ext cx="8460940" cy="3068661"/>
          </a:xfrm>
        </p:spPr>
        <p:txBody>
          <a:bodyPr/>
          <a:lstStyle/>
          <a:p>
            <a:r>
              <a:rPr lang="es-ES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oración técnica, de mercado, legal y/o socioeconómica preliminar que permite validar la </a:t>
            </a:r>
            <a:r>
              <a:rPr lang="es-ES" sz="1800" dirty="0">
                <a:solidFill>
                  <a:srgbClr val="1DB5DE"/>
                </a:solidFill>
                <a:latin typeface="Arial" charset="0"/>
                <a:cs typeface="Arial" charset="0"/>
              </a:rPr>
              <a:t>viabilidad de la solución tecnológica de la pyme en un determinado país</a:t>
            </a:r>
            <a:endParaRPr lang="es-ES" sz="2000" dirty="0">
              <a:solidFill>
                <a:srgbClr val="1DB5DE"/>
              </a:solidFill>
              <a:latin typeface="Arial" charset="0"/>
              <a:cs typeface="Arial" charset="0"/>
            </a:endParaRPr>
          </a:p>
          <a:p>
            <a:r>
              <a:rPr lang="es-ES_tradnl" sz="1800" dirty="0">
                <a:solidFill>
                  <a:srgbClr val="1DB5DE"/>
                </a:solidFill>
                <a:latin typeface="Arial" charset="0"/>
                <a:cs typeface="Arial" charset="0"/>
              </a:rPr>
              <a:t>Actividades elegibles</a:t>
            </a:r>
            <a:r>
              <a:rPr lang="es-ES_tradnl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lvl="1"/>
            <a:r>
              <a:rPr lang="es-ES_tradnl" sz="1600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bajos de preparación de </a:t>
            </a:r>
            <a:r>
              <a:rPr lang="es-ES_tradnl" sz="1600" u="sng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-creación</a:t>
            </a:r>
            <a:r>
              <a:rPr lang="es-ES_tradnl" sz="1600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y adaptación tecnológica</a:t>
            </a:r>
          </a:p>
          <a:p>
            <a:pPr lvl="1"/>
            <a:r>
              <a:rPr lang="es-ES_tradnl" sz="1600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udio de mercado</a:t>
            </a:r>
          </a:p>
          <a:p>
            <a:pPr lvl="1"/>
            <a:r>
              <a:rPr lang="es-ES_tradnl" sz="1600" u="sng" dirty="0">
                <a:latin typeface="Arial" panose="020B0604020202020204" pitchFamily="34" charset="0"/>
                <a:cs typeface="Arial" panose="020B0604020202020204" pitchFamily="34" charset="0"/>
              </a:rPr>
              <a:t>Verificación de cumplimiento legal, etc</a:t>
            </a:r>
            <a:r>
              <a:rPr lang="es-ES_tradnl" sz="16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lvl="1"/>
            <a:r>
              <a:rPr lang="es-ES_tradnl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ajes de pr</a:t>
            </a:r>
            <a:r>
              <a:rPr lang="es-ES_tradnl" sz="1600" dirty="0">
                <a:latin typeface="Arial" panose="020B0604020202020204" pitchFamily="34" charset="0"/>
                <a:cs typeface="Arial" panose="020B0604020202020204" pitchFamily="34" charset="0"/>
              </a:rPr>
              <a:t>ospección</a:t>
            </a:r>
          </a:p>
          <a:p>
            <a:pPr lvl="1"/>
            <a:r>
              <a:rPr lang="es-ES_tradnl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paración de material promocional</a:t>
            </a:r>
          </a:p>
          <a:p>
            <a:pPr marL="171437" marR="0" lvl="0" indent="-171437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l resultado esperado debe tener un </a:t>
            </a:r>
            <a:r>
              <a:rPr lang="es-ES" sz="1800" dirty="0">
                <a:solidFill>
                  <a:srgbClr val="1DB5DE"/>
                </a:solidFill>
                <a:latin typeface="Arial" charset="0"/>
                <a:cs typeface="Arial" charset="0"/>
              </a:rPr>
              <a:t>gran impacto en el país objetivo </a:t>
            </a: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“</a:t>
            </a:r>
            <a:r>
              <a:rPr kumimoji="0" lang="es-E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lot</a:t>
            </a: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rket</a:t>
            </a: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”).</a:t>
            </a:r>
          </a:p>
          <a:p>
            <a:pPr marL="457200" lvl="1" indent="0">
              <a:buNone/>
            </a:pPr>
            <a:endParaRPr lang="es-ES_tradnl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s-ES_tradnl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Marcador de texto 5">
            <a:extLst>
              <a:ext uri="{FF2B5EF4-FFF2-40B4-BE49-F238E27FC236}">
                <a16:creationId xmlns:a16="http://schemas.microsoft.com/office/drawing/2014/main" xmlns="" id="{268012E6-0C0E-0CCC-6D39-DE8905999C1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46575" y="321500"/>
            <a:ext cx="8002999" cy="406632"/>
          </a:xfrm>
        </p:spPr>
        <p:txBody>
          <a:bodyPr/>
          <a:lstStyle/>
          <a:p>
            <a:pPr algn="ctr"/>
            <a:r>
              <a:rPr lang="es-ES" sz="2700" dirty="0">
                <a:solidFill>
                  <a:srgbClr val="1DB5DE"/>
                </a:solidFill>
              </a:rPr>
              <a:t>Proyecto de Viabilidad de Mercado (MVP)</a:t>
            </a:r>
          </a:p>
          <a:p>
            <a:endParaRPr lang="es-ES_tradnl" sz="3300" dirty="0"/>
          </a:p>
        </p:txBody>
      </p:sp>
    </p:spTree>
    <p:extLst>
      <p:ext uri="{BB962C8B-B14F-4D97-AF65-F5344CB8AC3E}">
        <p14:creationId xmlns:p14="http://schemas.microsoft.com/office/powerpoint/2010/main" val="48526035"/>
      </p:ext>
    </p:extLst>
  </p:cSld>
  <p:clrMapOvr>
    <a:masterClrMapping/>
  </p:clrMapOvr>
  <p:transition spd="slow">
    <p:push dir="u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07D090CB-FDC8-8E55-3844-B1E7406FF2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6585" y="4506965"/>
            <a:ext cx="1485165" cy="556482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xmlns="" id="{8E3E3973-23AD-31F4-314A-13E1F22653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559" y="761065"/>
            <a:ext cx="4434381" cy="2392047"/>
          </a:xfrm>
          <a:prstGeom prst="rect">
            <a:avLst/>
          </a:prstGeom>
        </p:spPr>
      </p:pic>
      <p:pic>
        <p:nvPicPr>
          <p:cNvPr id="10" name="Picture 10">
            <a:extLst>
              <a:ext uri="{FF2B5EF4-FFF2-40B4-BE49-F238E27FC236}">
                <a16:creationId xmlns:a16="http://schemas.microsoft.com/office/drawing/2014/main" xmlns="" id="{6251F00F-3F5D-F71E-F894-65392F6C6F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1957089"/>
            <a:ext cx="4434381" cy="26830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Marcador de texto 5">
            <a:extLst>
              <a:ext uri="{FF2B5EF4-FFF2-40B4-BE49-F238E27FC236}">
                <a16:creationId xmlns:a16="http://schemas.microsoft.com/office/drawing/2014/main" xmlns="" id="{4379BD22-ABA2-9968-2C93-50462EA0D0BD}"/>
              </a:ext>
            </a:extLst>
          </p:cNvPr>
          <p:cNvSpPr txBox="1">
            <a:spLocks/>
          </p:cNvSpPr>
          <p:nvPr/>
        </p:nvSpPr>
        <p:spPr>
          <a:xfrm>
            <a:off x="2456765" y="231490"/>
            <a:ext cx="4434381" cy="40663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36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342887" indent="0" algn="l" defTabSz="914400" rtl="0" eaLnBrk="1" latinLnBrk="0" hangingPunct="1">
              <a:spcBef>
                <a:spcPct val="20000"/>
              </a:spcBef>
              <a:buFontTx/>
              <a:buNone/>
              <a:defRPr sz="21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685773" indent="0" algn="l" defTabSz="914400" rtl="0" eaLnBrk="1" latinLnBrk="0" hangingPunct="1">
              <a:spcBef>
                <a:spcPct val="20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59" indent="0" algn="l" defTabSz="914400" rtl="0" eaLnBrk="1" latinLnBrk="0" hangingPunct="1">
              <a:spcBef>
                <a:spcPct val="2000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45" indent="0" algn="l" defTabSz="914400" rtl="0" eaLnBrk="1" latinLnBrk="0" hangingPunct="1">
              <a:spcBef>
                <a:spcPct val="2000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_tradnl" sz="2700" dirty="0">
                <a:solidFill>
                  <a:srgbClr val="1DB5DE"/>
                </a:solidFill>
              </a:rPr>
              <a:t>Resultados: llamada 2022</a:t>
            </a:r>
          </a:p>
        </p:txBody>
      </p:sp>
    </p:spTree>
    <p:extLst>
      <p:ext uri="{BB962C8B-B14F-4D97-AF65-F5344CB8AC3E}">
        <p14:creationId xmlns:p14="http://schemas.microsoft.com/office/powerpoint/2010/main" val="1981467739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Marcador de texto 7"/>
          <p:cNvSpPr>
            <a:spLocks noGrp="1"/>
          </p:cNvSpPr>
          <p:nvPr>
            <p:ph type="body" sz="quarter" idx="13"/>
          </p:nvPr>
        </p:nvSpPr>
        <p:spPr>
          <a:xfrm>
            <a:off x="367588" y="784580"/>
            <a:ext cx="7917184" cy="818268"/>
          </a:xfrm>
        </p:spPr>
        <p:txBody>
          <a:bodyPr>
            <a:normAutofit lnSpcReduction="10000"/>
          </a:bodyPr>
          <a:lstStyle/>
          <a:p>
            <a:r>
              <a:rPr lang="es-ES_tradnl" sz="180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ocatorias conjuntas para el apoyo de proyectos transnacionales de investigación e innovación en temáticas estratégicas de alto valor añadido europeo.</a:t>
            </a:r>
            <a:endParaRPr lang="es-ES_tradnl" sz="1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xmlns="" id="{0467AA21-FD4C-55DE-E838-4F806CE2873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" t="5433" r="4484" b="18036"/>
          <a:stretch/>
        </p:blipFill>
        <p:spPr>
          <a:xfrm>
            <a:off x="284211" y="2037003"/>
            <a:ext cx="3675528" cy="1857951"/>
          </a:xfrm>
          <a:prstGeom prst="rect">
            <a:avLst/>
          </a:prstGeom>
        </p:spPr>
      </p:pic>
      <p:sp>
        <p:nvSpPr>
          <p:cNvPr id="11" name="1 Título">
            <a:extLst>
              <a:ext uri="{FF2B5EF4-FFF2-40B4-BE49-F238E27FC236}">
                <a16:creationId xmlns:a16="http://schemas.microsoft.com/office/drawing/2014/main" xmlns="" id="{7B02E51D-23DF-F943-47CB-CC14FD46AB05}"/>
              </a:ext>
            </a:extLst>
          </p:cNvPr>
          <p:cNvSpPr txBox="1">
            <a:spLocks/>
          </p:cNvSpPr>
          <p:nvPr/>
        </p:nvSpPr>
        <p:spPr>
          <a:xfrm>
            <a:off x="83346" y="35236"/>
            <a:ext cx="8077200" cy="421279"/>
          </a:xfrm>
          <a:prstGeom prst="rect">
            <a:avLst/>
          </a:prstGeom>
        </p:spPr>
        <p:txBody>
          <a:bodyPr lIns="68580" tIns="34290" rIns="68580" bIns="34290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2700" b="1" dirty="0">
                <a:solidFill>
                  <a:srgbClr val="2F6EB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rtenariados europeos</a:t>
            </a:r>
          </a:p>
        </p:txBody>
      </p:sp>
      <p:pic>
        <p:nvPicPr>
          <p:cNvPr id="3" name="table">
            <a:extLst>
              <a:ext uri="{FF2B5EF4-FFF2-40B4-BE49-F238E27FC236}">
                <a16:creationId xmlns:a16="http://schemas.microsoft.com/office/drawing/2014/main" xmlns="" id="{F2AAF221-2CFB-D74A-054B-6F729BA180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9739" y="2037003"/>
            <a:ext cx="4977745" cy="1857951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852295B4-3253-7B45-8DDA-080389F06F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6585" y="4506965"/>
            <a:ext cx="1485165" cy="556482"/>
          </a:xfrm>
          <a:prstGeom prst="rect">
            <a:avLst/>
          </a:prstGeom>
        </p:spPr>
      </p:pic>
      <p:sp>
        <p:nvSpPr>
          <p:cNvPr id="4" name="30 Rectángulo">
            <a:extLst>
              <a:ext uri="{FF2B5EF4-FFF2-40B4-BE49-F238E27FC236}">
                <a16:creationId xmlns:a16="http://schemas.microsoft.com/office/drawing/2014/main" xmlns="" id="{1336CCFC-7ACE-8240-281C-0A4684A81080}"/>
              </a:ext>
            </a:extLst>
          </p:cNvPr>
          <p:cNvSpPr/>
          <p:nvPr/>
        </p:nvSpPr>
        <p:spPr>
          <a:xfrm>
            <a:off x="3959739" y="4102775"/>
            <a:ext cx="4977745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600" dirty="0">
                <a:solidFill>
                  <a:schemeClr val="accent1"/>
                </a:solidFill>
                <a:cs typeface="Arial" panose="020B0604020202020204" pitchFamily="34" charset="0"/>
              </a:rPr>
              <a:t>Nuevos Partenariados </a:t>
            </a:r>
            <a:r>
              <a:rPr lang="es-ES" sz="1600" dirty="0" err="1">
                <a:solidFill>
                  <a:schemeClr val="accent1"/>
                </a:solidFill>
                <a:cs typeface="Arial" panose="020B0604020202020204" pitchFamily="34" charset="0"/>
              </a:rPr>
              <a:t>Co-fund</a:t>
            </a:r>
            <a:r>
              <a:rPr lang="es-ES" sz="1600" dirty="0">
                <a:solidFill>
                  <a:schemeClr val="accent1"/>
                </a:solidFill>
                <a:cs typeface="Arial" panose="020B0604020202020204" pitchFamily="34" charset="0"/>
              </a:rPr>
              <a:t> 2024/2025</a:t>
            </a:r>
            <a:endParaRPr lang="es-ES" sz="1200" dirty="0">
              <a:solidFill>
                <a:schemeClr val="accent1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2641165"/>
      </p:ext>
    </p:extLst>
  </p:cSld>
  <p:clrMapOvr>
    <a:masterClrMapping/>
  </p:clrMapOvr>
  <p:transition spd="slow">
    <p:push dir="u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07D090CB-FDC8-8E55-3844-B1E7406FF2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6585" y="4506965"/>
            <a:ext cx="1485165" cy="556482"/>
          </a:xfrm>
          <a:prstGeom prst="rect">
            <a:avLst/>
          </a:prstGeom>
        </p:spPr>
      </p:pic>
      <p:sp>
        <p:nvSpPr>
          <p:cNvPr id="2" name="Marcador de texto 7">
            <a:extLst>
              <a:ext uri="{FF2B5EF4-FFF2-40B4-BE49-F238E27FC236}">
                <a16:creationId xmlns:a16="http://schemas.microsoft.com/office/drawing/2014/main" xmlns="" id="{963BC0C4-7A34-D927-3885-BB84626540B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6535" y="1564654"/>
            <a:ext cx="3758557" cy="1310935"/>
          </a:xfrm>
        </p:spPr>
        <p:txBody>
          <a:bodyPr/>
          <a:lstStyle/>
          <a:p>
            <a:pPr>
              <a:buFont typeface="Wingdings" panose="05000000000000000000" pitchFamily="2" charset="2"/>
              <a:buChar char="q"/>
            </a:pPr>
            <a:r>
              <a:rPr lang="es-ES_tradnl" sz="1800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pertura: 5 septiembre 2022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s-ES_tradnl" sz="1800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ierre: </a:t>
            </a:r>
            <a:r>
              <a:rPr lang="es-ES_tradnl" sz="18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 noviembre 2022</a:t>
            </a:r>
            <a:endParaRPr lang="es-ES_tradnl" sz="1800" b="1" i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q"/>
            </a:pPr>
            <a:r>
              <a:rPr lang="es-ES_tradnl" sz="18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sultados: marzo 2023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s-ES_tradnl" sz="18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irma contratos: abril 2023</a:t>
            </a:r>
          </a:p>
        </p:txBody>
      </p:sp>
      <p:sp>
        <p:nvSpPr>
          <p:cNvPr id="3" name="Marcador de texto 7">
            <a:extLst>
              <a:ext uri="{FF2B5EF4-FFF2-40B4-BE49-F238E27FC236}">
                <a16:creationId xmlns:a16="http://schemas.microsoft.com/office/drawing/2014/main" xmlns="" id="{BEE0D9DB-4A71-0640-A610-94285E992757}"/>
              </a:ext>
            </a:extLst>
          </p:cNvPr>
          <p:cNvSpPr txBox="1">
            <a:spLocks/>
          </p:cNvSpPr>
          <p:nvPr/>
        </p:nvSpPr>
        <p:spPr>
          <a:xfrm>
            <a:off x="4224178" y="1564654"/>
            <a:ext cx="4781461" cy="1993093"/>
          </a:xfrm>
          <a:prstGeom prst="rect">
            <a:avLst/>
          </a:prstGeom>
        </p:spPr>
        <p:txBody>
          <a:bodyPr lIns="0" tIns="0" rIns="0" bIns="0"/>
          <a:lstStyle>
            <a:lvl1pPr marL="171437" indent="-171437" algn="l" defTabSz="914400" rtl="0" eaLnBrk="1" latinLnBrk="0" hangingPunct="1">
              <a:spcBef>
                <a:spcPct val="20000"/>
              </a:spcBef>
              <a:buFontTx/>
              <a:buBlip>
                <a:blip r:embed="rId3"/>
              </a:buBlip>
              <a:defRPr sz="15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v"/>
            </a:pPr>
            <a:r>
              <a:rPr lang="es-ES_tradnl" sz="1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pertura: ¿25 julio 2023?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es-ES_tradnl" sz="1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ierre: ¿</a:t>
            </a:r>
            <a:r>
              <a:rPr lang="es-ES_tradnl" sz="1800" b="1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</a:t>
            </a:r>
            <a:r>
              <a:rPr lang="es-ES_tradnl" sz="1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_tradnl" sz="1800" b="1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ctubre 2023 14:00?</a:t>
            </a:r>
            <a:endParaRPr lang="es-ES_tradnl" sz="1800" b="1" i="1" dirty="0">
              <a:solidFill>
                <a:schemeClr val="tx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v"/>
            </a:pPr>
            <a:r>
              <a:rPr lang="es-ES_tradnl" sz="1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sultados: ¿febrero-marzo 2024 ?</a:t>
            </a:r>
            <a:endParaRPr lang="es-ES_tradnl" sz="1600" dirty="0">
              <a:solidFill>
                <a:schemeClr val="tx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v"/>
            </a:pPr>
            <a:r>
              <a:rPr lang="es-ES_tradnl" sz="1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irma contratos: ¿abril 2024 ?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es-ES_tradnl" sz="1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siones Online: ESE en julio, CDTI en sept</a:t>
            </a:r>
          </a:p>
          <a:p>
            <a:pPr marL="0" indent="0">
              <a:buFontTx/>
              <a:buNone/>
            </a:pPr>
            <a:r>
              <a:rPr lang="es-ES_tradnl" sz="1800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o: 70% anticipo - 30% tras informe final</a:t>
            </a:r>
          </a:p>
        </p:txBody>
      </p:sp>
      <p:sp>
        <p:nvSpPr>
          <p:cNvPr id="4" name="Marcador de texto 9">
            <a:extLst>
              <a:ext uri="{FF2B5EF4-FFF2-40B4-BE49-F238E27FC236}">
                <a16:creationId xmlns:a16="http://schemas.microsoft.com/office/drawing/2014/main" xmlns="" id="{6842620B-9640-06FC-910A-853F461707DF}"/>
              </a:ext>
            </a:extLst>
          </p:cNvPr>
          <p:cNvSpPr txBox="1">
            <a:spLocks/>
          </p:cNvSpPr>
          <p:nvPr/>
        </p:nvSpPr>
        <p:spPr>
          <a:xfrm>
            <a:off x="4225025" y="1110929"/>
            <a:ext cx="3306110" cy="320012"/>
          </a:xfrm>
          <a:prstGeom prst="rect">
            <a:avLst/>
          </a:prstGeom>
        </p:spPr>
        <p:txBody>
          <a:bodyPr lIns="68575" tIns="34289" rIns="68575" bIns="34289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es-ES_tradnl" sz="2000" b="1" dirty="0">
                <a:solidFill>
                  <a:schemeClr val="tx2"/>
                </a:solidFill>
              </a:rPr>
              <a:t>Llamada 2023: pendiente</a:t>
            </a:r>
          </a:p>
        </p:txBody>
      </p:sp>
      <p:sp>
        <p:nvSpPr>
          <p:cNvPr id="6" name="Marcador de texto 9">
            <a:extLst>
              <a:ext uri="{FF2B5EF4-FFF2-40B4-BE49-F238E27FC236}">
                <a16:creationId xmlns:a16="http://schemas.microsoft.com/office/drawing/2014/main" xmlns="" id="{227DD404-584F-A44B-93AD-072CCB89705D}"/>
              </a:ext>
            </a:extLst>
          </p:cNvPr>
          <p:cNvSpPr txBox="1">
            <a:spLocks/>
          </p:cNvSpPr>
          <p:nvPr/>
        </p:nvSpPr>
        <p:spPr>
          <a:xfrm>
            <a:off x="386535" y="1110929"/>
            <a:ext cx="3306110" cy="320012"/>
          </a:xfrm>
          <a:prstGeom prst="rect">
            <a:avLst/>
          </a:prstGeom>
        </p:spPr>
        <p:txBody>
          <a:bodyPr lIns="68575" tIns="34289" rIns="68575" bIns="34289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es-ES_tradnl" sz="2000" b="1" dirty="0">
                <a:solidFill>
                  <a:schemeClr val="bg1">
                    <a:lumMod val="65000"/>
                  </a:schemeClr>
                </a:solidFill>
              </a:rPr>
              <a:t>Llamada 2022: cerrada</a:t>
            </a:r>
          </a:p>
        </p:txBody>
      </p:sp>
      <p:sp>
        <p:nvSpPr>
          <p:cNvPr id="7" name="Marcador de texto 5">
            <a:extLst>
              <a:ext uri="{FF2B5EF4-FFF2-40B4-BE49-F238E27FC236}">
                <a16:creationId xmlns:a16="http://schemas.microsoft.com/office/drawing/2014/main" xmlns="" id="{4BD199FD-B6C7-D3CD-18DC-23ECFB01C57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1121" y="212748"/>
            <a:ext cx="6536344" cy="406632"/>
          </a:xfrm>
        </p:spPr>
        <p:txBody>
          <a:bodyPr/>
          <a:lstStyle/>
          <a:p>
            <a:pPr algn="ctr"/>
            <a:r>
              <a:rPr lang="es-ES_tradnl" sz="2700" dirty="0">
                <a:solidFill>
                  <a:srgbClr val="1DB5DE"/>
                </a:solidFill>
              </a:rPr>
              <a:t>Calendario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xmlns="" id="{A044E8AC-E0DB-A1D7-E61F-02359B709B61}"/>
              </a:ext>
            </a:extLst>
          </p:cNvPr>
          <p:cNvSpPr txBox="1"/>
          <p:nvPr/>
        </p:nvSpPr>
        <p:spPr>
          <a:xfrm>
            <a:off x="4230705" y="3793019"/>
            <a:ext cx="454550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,2 M€ budget </a:t>
            </a:r>
            <a:r>
              <a:rPr lang="en-US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fund </a:t>
            </a:r>
            <a:r>
              <a:rPr lang="en-US" b="1" dirty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70 projects</a:t>
            </a:r>
            <a:endParaRPr lang="es-ES" b="1" dirty="0">
              <a:solidFill>
                <a:schemeClr val="tx2">
                  <a:lumMod val="40000"/>
                  <a:lumOff val="6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xmlns="" id="{5FF06E5A-738E-E26E-9530-441C72E32E9B}"/>
              </a:ext>
            </a:extLst>
          </p:cNvPr>
          <p:cNvSpPr txBox="1"/>
          <p:nvPr/>
        </p:nvSpPr>
        <p:spPr>
          <a:xfrm>
            <a:off x="296525" y="3820863"/>
            <a:ext cx="375855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M€ budget to fund 50 projects</a:t>
            </a:r>
            <a:endParaRPr lang="es-ES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9657171"/>
      </p:ext>
    </p:extLst>
  </p:cSld>
  <p:clrMapOvr>
    <a:masterClrMapping/>
  </p:clrMapOvr>
  <p:transition spd="slow">
    <p:push dir="u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07D090CB-FDC8-8E55-3844-B1E7406FF2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6585" y="4506965"/>
            <a:ext cx="1485165" cy="556482"/>
          </a:xfrm>
          <a:prstGeom prst="rect">
            <a:avLst/>
          </a:prstGeom>
        </p:spPr>
      </p:pic>
      <p:sp>
        <p:nvSpPr>
          <p:cNvPr id="2" name="TextBox 8">
            <a:extLst>
              <a:ext uri="{FF2B5EF4-FFF2-40B4-BE49-F238E27FC236}">
                <a16:creationId xmlns:a16="http://schemas.microsoft.com/office/drawing/2014/main" xmlns="" id="{114F9938-8DD4-C182-3A52-114FDFF4B80C}"/>
              </a:ext>
            </a:extLst>
          </p:cNvPr>
          <p:cNvSpPr txBox="1"/>
          <p:nvPr/>
        </p:nvSpPr>
        <p:spPr>
          <a:xfrm>
            <a:off x="431540" y="1221600"/>
            <a:ext cx="8495131" cy="227440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342900" lvl="0" indent="-342900" algn="just">
              <a:lnSpc>
                <a:spcPct val="120000"/>
              </a:lnSpc>
              <a:buClr>
                <a:srgbClr val="1DB5DE"/>
              </a:buClr>
              <a:buSzPct val="110000"/>
              <a:buFont typeface="Arial" panose="020B0604020202020204" pitchFamily="34" charset="0"/>
              <a:buChar char="•"/>
            </a:pPr>
            <a:r>
              <a:rPr lang="es-ES" dirty="0">
                <a:solidFill>
                  <a:srgbClr val="1DB5DE"/>
                </a:solidFill>
                <a:latin typeface="Arial" charset="0"/>
                <a:cs typeface="Arial" charset="0"/>
              </a:rPr>
              <a:t>Lea atentamente la convocatoria y otros documentos útiles </a:t>
            </a:r>
            <a:r>
              <a:rPr lang="es-ES" sz="2000" dirty="0">
                <a:solidFill>
                  <a:srgbClr val="161949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preguntas frecuentes, modelo de solicitud offline, manual de la plataforma) </a:t>
            </a:r>
            <a:r>
              <a:rPr lang="es-ES" sz="2000" dirty="0">
                <a:solidFill>
                  <a:srgbClr val="161949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</a:t>
            </a:r>
            <a:r>
              <a:rPr lang="es-ES" sz="2000" b="1" dirty="0">
                <a:solidFill>
                  <a:srgbClr val="1DB5DE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  <a:hlinkClick r:id="rId3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Innowwide </a:t>
            </a:r>
            <a:r>
              <a:rPr lang="es-ES" sz="2000" b="1" dirty="0" err="1">
                <a:solidFill>
                  <a:srgbClr val="1DB5DE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Wingdings" panose="05000000000000000000" pitchFamily="2" charset="2"/>
                <a:hlinkClick r:id="rId3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library</a:t>
            </a:r>
            <a:endParaRPr lang="es-ES" sz="2000" b="1" dirty="0">
              <a:solidFill>
                <a:srgbClr val="1DB5DE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lvl="0" algn="just">
              <a:lnSpc>
                <a:spcPct val="120000"/>
              </a:lnSpc>
              <a:buClr>
                <a:srgbClr val="1DB5DE"/>
              </a:buClr>
              <a:buSzPct val="110000"/>
            </a:pPr>
            <a:endParaRPr lang="es-ES" sz="2000" b="1" dirty="0">
              <a:solidFill>
                <a:srgbClr val="1DB5DE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342900" lvl="0" indent="-342900" algn="just">
              <a:lnSpc>
                <a:spcPct val="120000"/>
              </a:lnSpc>
              <a:buClr>
                <a:srgbClr val="1DB5DE"/>
              </a:buClr>
              <a:buSzPct val="110000"/>
              <a:buFont typeface="Arial" panose="020B0604020202020204" pitchFamily="34" charset="0"/>
              <a:buChar char="•"/>
            </a:pPr>
            <a:r>
              <a:rPr lang="es-ES" sz="2000" dirty="0">
                <a:solidFill>
                  <a:srgbClr val="161949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i después de leerlos tiene dudas, envíelas a </a:t>
            </a:r>
            <a:r>
              <a:rPr lang="es-ES" sz="2000" dirty="0">
                <a:solidFill>
                  <a:srgbClr val="1DB5DE"/>
                </a:solidFill>
                <a:latin typeface="Arial" charset="0"/>
                <a:cs typeface="Arial" charset="0"/>
                <a:hlinkClick r:id="rId4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innowwide@eurekanetwork.org</a:t>
            </a:r>
            <a:r>
              <a:rPr lang="es-ES" sz="2000" dirty="0">
                <a:solidFill>
                  <a:srgbClr val="1DB5DE"/>
                </a:solidFill>
                <a:latin typeface="Arial" charset="0"/>
                <a:cs typeface="Arial" charset="0"/>
              </a:rPr>
              <a:t>   </a:t>
            </a:r>
            <a:endParaRPr lang="es-ES" dirty="0">
              <a:solidFill>
                <a:srgbClr val="1DB5DE"/>
              </a:solidFill>
              <a:latin typeface="Arial" charset="0"/>
              <a:cs typeface="Arial" charset="0"/>
            </a:endParaRPr>
          </a:p>
        </p:txBody>
      </p:sp>
      <p:sp>
        <p:nvSpPr>
          <p:cNvPr id="3" name="Marcador de texto 5">
            <a:extLst>
              <a:ext uri="{FF2B5EF4-FFF2-40B4-BE49-F238E27FC236}">
                <a16:creationId xmlns:a16="http://schemas.microsoft.com/office/drawing/2014/main" xmlns="" id="{400CCCC6-BD73-6BB5-E872-E740EEA35122}"/>
              </a:ext>
            </a:extLst>
          </p:cNvPr>
          <p:cNvSpPr txBox="1">
            <a:spLocks/>
          </p:cNvSpPr>
          <p:nvPr/>
        </p:nvSpPr>
        <p:spPr>
          <a:xfrm>
            <a:off x="1871700" y="331006"/>
            <a:ext cx="5400600" cy="40663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36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342887" indent="0" algn="l" defTabSz="914400" rtl="0" eaLnBrk="1" latinLnBrk="0" hangingPunct="1">
              <a:spcBef>
                <a:spcPct val="20000"/>
              </a:spcBef>
              <a:buFontTx/>
              <a:buNone/>
              <a:defRPr sz="21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685773" indent="0" algn="l" defTabSz="914400" rtl="0" eaLnBrk="1" latinLnBrk="0" hangingPunct="1">
              <a:spcBef>
                <a:spcPct val="20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59" indent="0" algn="l" defTabSz="914400" rtl="0" eaLnBrk="1" latinLnBrk="0" hangingPunct="1">
              <a:spcBef>
                <a:spcPct val="2000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45" indent="0" algn="l" defTabSz="914400" rtl="0" eaLnBrk="1" latinLnBrk="0" hangingPunct="1">
              <a:spcBef>
                <a:spcPct val="2000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_tradnl" sz="2700" dirty="0">
                <a:solidFill>
                  <a:srgbClr val="1DB5DE"/>
                </a:solidFill>
              </a:rPr>
              <a:t>Recomendaciones</a:t>
            </a:r>
          </a:p>
        </p:txBody>
      </p:sp>
    </p:spTree>
    <p:extLst>
      <p:ext uri="{BB962C8B-B14F-4D97-AF65-F5344CB8AC3E}">
        <p14:creationId xmlns:p14="http://schemas.microsoft.com/office/powerpoint/2010/main" val="3741484650"/>
      </p:ext>
    </p:extLst>
  </p:cSld>
  <p:clrMapOvr>
    <a:masterClrMapping/>
  </p:clrMapOvr>
  <p:transition spd="slow">
    <p:push dir="u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07D090CB-FDC8-8E55-3844-B1E7406FF2F7}"/>
              </a:ext>
            </a:extLst>
          </p:cNvPr>
          <p:cNvPicPr>
            <a:picLocks noChangeAspect="1"/>
          </p:cNvPicPr>
          <p:nvPr/>
        </p:nvPicPr>
        <p:blipFill>
          <a:blip r:embed="rId380"/>
          <a:stretch>
            <a:fillRect/>
          </a:stretch>
        </p:blipFill>
        <p:spPr>
          <a:xfrm>
            <a:off x="836585" y="4506965"/>
            <a:ext cx="1485165" cy="556482"/>
          </a:xfrm>
          <a:prstGeom prst="rect">
            <a:avLst/>
          </a:prstGeom>
        </p:spPr>
      </p:pic>
      <p:sp>
        <p:nvSpPr>
          <p:cNvPr id="2" name="7 CuadroTexto">
            <a:extLst>
              <a:ext uri="{FF2B5EF4-FFF2-40B4-BE49-F238E27FC236}">
                <a16:creationId xmlns:a16="http://schemas.microsoft.com/office/drawing/2014/main" xmlns="" id="{997296BE-F503-02FF-5222-9103AF22B944}"/>
              </a:ext>
            </a:extLst>
          </p:cNvPr>
          <p:cNvSpPr txBox="1"/>
          <p:nvPr/>
        </p:nvSpPr>
        <p:spPr>
          <a:xfrm>
            <a:off x="755576" y="249494"/>
            <a:ext cx="7848872" cy="461665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defPPr>
              <a:defRPr lang="es-ES"/>
            </a:defPPr>
            <a:lvl1pPr>
              <a:spcBef>
                <a:spcPct val="0"/>
              </a:spcBef>
              <a:buNone/>
              <a:defRPr kumimoji="0" sz="3400" b="1">
                <a:latin typeface="+mj-lt"/>
                <a:ea typeface="+mj-ea"/>
                <a:cs typeface="+mj-cs"/>
              </a:defRPr>
            </a:lvl1pPr>
          </a:lstStyle>
          <a:p>
            <a:endParaRPr lang="es-ES" dirty="0">
              <a:solidFill>
                <a:srgbClr val="0070C0"/>
              </a:solidFill>
            </a:endParaRPr>
          </a:p>
        </p:txBody>
      </p:sp>
      <p:grpSp>
        <p:nvGrpSpPr>
          <p:cNvPr id="3" name="1 Grupo">
            <a:extLst>
              <a:ext uri="{FF2B5EF4-FFF2-40B4-BE49-F238E27FC236}">
                <a16:creationId xmlns:a16="http://schemas.microsoft.com/office/drawing/2014/main" xmlns="" id="{B213D402-622A-861D-2AA0-647A6A7974A3}"/>
              </a:ext>
            </a:extLst>
          </p:cNvPr>
          <p:cNvGrpSpPr/>
          <p:nvPr/>
        </p:nvGrpSpPr>
        <p:grpSpPr>
          <a:xfrm>
            <a:off x="1692768" y="797244"/>
            <a:ext cx="5758464" cy="2956567"/>
            <a:chOff x="1148461" y="700963"/>
            <a:chExt cx="6489196" cy="3118960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xmlns="" id="{D99A7EF9-F917-91C5-47DE-679090B5B7C0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2741576" y="3773441"/>
              <a:ext cx="28840" cy="41835"/>
            </a:xfrm>
            <a:custGeom>
              <a:avLst/>
              <a:gdLst>
                <a:gd name="T0" fmla="*/ 0 w 73"/>
                <a:gd name="T1" fmla="*/ 0 h 20"/>
                <a:gd name="T2" fmla="*/ 457 w 73"/>
                <a:gd name="T3" fmla="*/ 14288 h 20"/>
                <a:gd name="T4" fmla="*/ 1827 w 73"/>
                <a:gd name="T5" fmla="*/ 28575 h 20"/>
                <a:gd name="T6" fmla="*/ 3653 w 73"/>
                <a:gd name="T7" fmla="*/ 40005 h 20"/>
                <a:gd name="T8" fmla="*/ 5937 w 73"/>
                <a:gd name="T9" fmla="*/ 57150 h 20"/>
                <a:gd name="T10" fmla="*/ 7307 w 73"/>
                <a:gd name="T11" fmla="*/ 48578 h 20"/>
                <a:gd name="T12" fmla="*/ 8677 w 73"/>
                <a:gd name="T13" fmla="*/ 37148 h 20"/>
                <a:gd name="T14" fmla="*/ 10503 w 73"/>
                <a:gd name="T15" fmla="*/ 31433 h 20"/>
                <a:gd name="T16" fmla="*/ 12330 w 73"/>
                <a:gd name="T17" fmla="*/ 28575 h 20"/>
                <a:gd name="T18" fmla="*/ 16440 w 73"/>
                <a:gd name="T19" fmla="*/ 22860 h 20"/>
                <a:gd name="T20" fmla="*/ 21007 w 73"/>
                <a:gd name="T21" fmla="*/ 20003 h 20"/>
                <a:gd name="T22" fmla="*/ 24660 w 73"/>
                <a:gd name="T23" fmla="*/ 20003 h 20"/>
                <a:gd name="T24" fmla="*/ 28770 w 73"/>
                <a:gd name="T25" fmla="*/ 17145 h 20"/>
                <a:gd name="T26" fmla="*/ 30140 w 73"/>
                <a:gd name="T27" fmla="*/ 14288 h 20"/>
                <a:gd name="T28" fmla="*/ 31510 w 73"/>
                <a:gd name="T29" fmla="*/ 11430 h 20"/>
                <a:gd name="T30" fmla="*/ 32424 w 73"/>
                <a:gd name="T31" fmla="*/ 5715 h 20"/>
                <a:gd name="T32" fmla="*/ 33337 w 73"/>
                <a:gd name="T33" fmla="*/ 0 h 20"/>
                <a:gd name="T34" fmla="*/ 0 w 73"/>
                <a:gd name="T35" fmla="*/ 0 h 2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xmlns="" id="{053BD910-1989-6DF5-7475-EE1BBC68512F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1148461" y="919429"/>
              <a:ext cx="678447" cy="326538"/>
            </a:xfrm>
            <a:custGeom>
              <a:avLst/>
              <a:gdLst>
                <a:gd name="T0" fmla="*/ 605085 w 1808"/>
                <a:gd name="T1" fmla="*/ 423521 h 850"/>
                <a:gd name="T2" fmla="*/ 604651 w 1808"/>
                <a:gd name="T3" fmla="*/ 395181 h 850"/>
                <a:gd name="T4" fmla="*/ 595543 w 1808"/>
                <a:gd name="T5" fmla="*/ 340076 h 850"/>
                <a:gd name="T6" fmla="*/ 573855 w 1808"/>
                <a:gd name="T7" fmla="*/ 336403 h 850"/>
                <a:gd name="T8" fmla="*/ 548263 w 1808"/>
                <a:gd name="T9" fmla="*/ 335353 h 850"/>
                <a:gd name="T10" fmla="*/ 491876 w 1808"/>
                <a:gd name="T11" fmla="*/ 305439 h 850"/>
                <a:gd name="T12" fmla="*/ 422041 w 1808"/>
                <a:gd name="T13" fmla="*/ 281823 h 850"/>
                <a:gd name="T14" fmla="*/ 409029 w 1808"/>
                <a:gd name="T15" fmla="*/ 264504 h 850"/>
                <a:gd name="T16" fmla="*/ 390811 w 1808"/>
                <a:gd name="T17" fmla="*/ 270802 h 850"/>
                <a:gd name="T18" fmla="*/ 368256 w 1808"/>
                <a:gd name="T19" fmla="*/ 299141 h 850"/>
                <a:gd name="T20" fmla="*/ 292783 w 1808"/>
                <a:gd name="T21" fmla="*/ 324857 h 850"/>
                <a:gd name="T22" fmla="*/ 294084 w 1808"/>
                <a:gd name="T23" fmla="*/ 303340 h 850"/>
                <a:gd name="T24" fmla="*/ 312736 w 1808"/>
                <a:gd name="T25" fmla="*/ 287596 h 850"/>
                <a:gd name="T26" fmla="*/ 340930 w 1808"/>
                <a:gd name="T27" fmla="*/ 286021 h 850"/>
                <a:gd name="T28" fmla="*/ 314037 w 1808"/>
                <a:gd name="T29" fmla="*/ 277099 h 850"/>
                <a:gd name="T30" fmla="*/ 250709 w 1808"/>
                <a:gd name="T31" fmla="*/ 309113 h 850"/>
                <a:gd name="T32" fmla="*/ 237263 w 1808"/>
                <a:gd name="T33" fmla="*/ 328006 h 850"/>
                <a:gd name="T34" fmla="*/ 228154 w 1808"/>
                <a:gd name="T35" fmla="*/ 341126 h 850"/>
                <a:gd name="T36" fmla="*/ 196056 w 1808"/>
                <a:gd name="T37" fmla="*/ 343225 h 850"/>
                <a:gd name="T38" fmla="*/ 166127 w 1808"/>
                <a:gd name="T39" fmla="*/ 368416 h 850"/>
                <a:gd name="T40" fmla="*/ 109306 w 1808"/>
                <a:gd name="T41" fmla="*/ 393607 h 850"/>
                <a:gd name="T42" fmla="*/ 45544 w 1808"/>
                <a:gd name="T43" fmla="*/ 423521 h 850"/>
                <a:gd name="T44" fmla="*/ 1735 w 1808"/>
                <a:gd name="T45" fmla="*/ 426670 h 850"/>
                <a:gd name="T46" fmla="*/ 6073 w 1808"/>
                <a:gd name="T47" fmla="*/ 414075 h 850"/>
                <a:gd name="T48" fmla="*/ 55087 w 1808"/>
                <a:gd name="T49" fmla="*/ 399380 h 850"/>
                <a:gd name="T50" fmla="*/ 114944 w 1808"/>
                <a:gd name="T51" fmla="*/ 365267 h 850"/>
                <a:gd name="T52" fmla="*/ 130126 w 1808"/>
                <a:gd name="T53" fmla="*/ 328531 h 850"/>
                <a:gd name="T54" fmla="*/ 109739 w 1808"/>
                <a:gd name="T55" fmla="*/ 344800 h 850"/>
                <a:gd name="T56" fmla="*/ 65063 w 1808"/>
                <a:gd name="T57" fmla="*/ 337452 h 850"/>
                <a:gd name="T58" fmla="*/ 74605 w 1808"/>
                <a:gd name="T59" fmla="*/ 320134 h 850"/>
                <a:gd name="T60" fmla="*/ 104101 w 1808"/>
                <a:gd name="T61" fmla="*/ 287071 h 850"/>
                <a:gd name="T62" fmla="*/ 65930 w 1808"/>
                <a:gd name="T63" fmla="*/ 301765 h 850"/>
                <a:gd name="T64" fmla="*/ 62027 w 1808"/>
                <a:gd name="T65" fmla="*/ 281298 h 850"/>
                <a:gd name="T66" fmla="*/ 150078 w 1808"/>
                <a:gd name="T67" fmla="*/ 199428 h 850"/>
                <a:gd name="T68" fmla="*/ 192586 w 1808"/>
                <a:gd name="T69" fmla="*/ 200477 h 850"/>
                <a:gd name="T70" fmla="*/ 246805 w 1808"/>
                <a:gd name="T71" fmla="*/ 183158 h 850"/>
                <a:gd name="T72" fmla="*/ 256782 w 1808"/>
                <a:gd name="T73" fmla="*/ 160592 h 850"/>
                <a:gd name="T74" fmla="*/ 219479 w 1808"/>
                <a:gd name="T75" fmla="*/ 173712 h 850"/>
                <a:gd name="T76" fmla="*/ 189984 w 1808"/>
                <a:gd name="T77" fmla="*/ 166889 h 850"/>
                <a:gd name="T78" fmla="*/ 204731 w 1808"/>
                <a:gd name="T79" fmla="*/ 150620 h 850"/>
                <a:gd name="T80" fmla="*/ 308398 w 1808"/>
                <a:gd name="T81" fmla="*/ 124905 h 850"/>
                <a:gd name="T82" fmla="*/ 324881 w 1808"/>
                <a:gd name="T83" fmla="*/ 110210 h 850"/>
                <a:gd name="T84" fmla="*/ 296687 w 1808"/>
                <a:gd name="T85" fmla="*/ 92366 h 850"/>
                <a:gd name="T86" fmla="*/ 320543 w 1808"/>
                <a:gd name="T87" fmla="*/ 57204 h 850"/>
                <a:gd name="T88" fmla="*/ 428548 w 1808"/>
                <a:gd name="T89" fmla="*/ 14170 h 850"/>
                <a:gd name="T90" fmla="*/ 501852 w 1808"/>
                <a:gd name="T91" fmla="*/ 4723 h 850"/>
                <a:gd name="T92" fmla="*/ 553902 w 1808"/>
                <a:gd name="T93" fmla="*/ 1050 h 850"/>
                <a:gd name="T94" fmla="*/ 587301 w 1808"/>
                <a:gd name="T95" fmla="*/ 5248 h 850"/>
                <a:gd name="T96" fmla="*/ 657569 w 1808"/>
                <a:gd name="T97" fmla="*/ 17844 h 850"/>
                <a:gd name="T98" fmla="*/ 763839 w 1808"/>
                <a:gd name="T99" fmla="*/ 21517 h 850"/>
                <a:gd name="T100" fmla="*/ 558240 w 1808"/>
                <a:gd name="T101" fmla="*/ 283397 h 850"/>
                <a:gd name="T102" fmla="*/ 572987 w 1808"/>
                <a:gd name="T103" fmla="*/ 299666 h 850"/>
                <a:gd name="T104" fmla="*/ 575590 w 1808"/>
                <a:gd name="T105" fmla="*/ 315410 h 850"/>
                <a:gd name="T106" fmla="*/ 599446 w 1808"/>
                <a:gd name="T107" fmla="*/ 314361 h 850"/>
                <a:gd name="T108" fmla="*/ 619833 w 1808"/>
                <a:gd name="T109" fmla="*/ 302815 h 850"/>
                <a:gd name="T110" fmla="*/ 639785 w 1808"/>
                <a:gd name="T111" fmla="*/ 350048 h 850"/>
                <a:gd name="T112" fmla="*/ 634147 w 1808"/>
                <a:gd name="T113" fmla="*/ 370515 h 850"/>
                <a:gd name="T114" fmla="*/ 628508 w 1808"/>
                <a:gd name="T115" fmla="*/ 389409 h 850"/>
                <a:gd name="T116" fmla="*/ 640653 w 1808"/>
                <a:gd name="T117" fmla="*/ 410926 h 850"/>
                <a:gd name="T118" fmla="*/ 640653 w 1808"/>
                <a:gd name="T119" fmla="*/ 425620 h 850"/>
                <a:gd name="T120" fmla="*/ 618531 w 1808"/>
                <a:gd name="T121" fmla="*/ 445038 h 85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xmlns="" id="{A81235BB-8ACF-FD6F-8AC4-6DE51D14DD48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546740" y="1370307"/>
              <a:ext cx="1194836" cy="563598"/>
            </a:xfrm>
            <a:custGeom>
              <a:avLst/>
              <a:gdLst>
                <a:gd name="T0" fmla="*/ 1273680 w 3175"/>
                <a:gd name="T1" fmla="*/ 184639 h 1472"/>
                <a:gd name="T2" fmla="*/ 1259760 w 3175"/>
                <a:gd name="T3" fmla="*/ 230145 h 1472"/>
                <a:gd name="T4" fmla="*/ 1236705 w 3175"/>
                <a:gd name="T5" fmla="*/ 241652 h 1472"/>
                <a:gd name="T6" fmla="*/ 1160145 w 3175"/>
                <a:gd name="T7" fmla="*/ 296050 h 1472"/>
                <a:gd name="T8" fmla="*/ 1128825 w 3175"/>
                <a:gd name="T9" fmla="*/ 305988 h 1472"/>
                <a:gd name="T10" fmla="*/ 1117950 w 3175"/>
                <a:gd name="T11" fmla="*/ 354109 h 1472"/>
                <a:gd name="T12" fmla="*/ 1093590 w 3175"/>
                <a:gd name="T13" fmla="*/ 324818 h 1472"/>
                <a:gd name="T14" fmla="*/ 1087065 w 3175"/>
                <a:gd name="T15" fmla="*/ 360908 h 1472"/>
                <a:gd name="T16" fmla="*/ 1072275 w 3175"/>
                <a:gd name="T17" fmla="*/ 389153 h 1472"/>
                <a:gd name="T18" fmla="*/ 1074885 w 3175"/>
                <a:gd name="T19" fmla="*/ 430475 h 1472"/>
                <a:gd name="T20" fmla="*/ 1014420 w 3175"/>
                <a:gd name="T21" fmla="*/ 485396 h 1472"/>
                <a:gd name="T22" fmla="*/ 941775 w 3175"/>
                <a:gd name="T23" fmla="*/ 546593 h 1472"/>
                <a:gd name="T24" fmla="*/ 918720 w 3175"/>
                <a:gd name="T25" fmla="*/ 625052 h 1472"/>
                <a:gd name="T26" fmla="*/ 914805 w 3175"/>
                <a:gd name="T27" fmla="*/ 762092 h 1472"/>
                <a:gd name="T28" fmla="*/ 881310 w 3175"/>
                <a:gd name="T29" fmla="*/ 739601 h 1472"/>
                <a:gd name="T30" fmla="*/ 866955 w 3175"/>
                <a:gd name="T31" fmla="*/ 693572 h 1472"/>
                <a:gd name="T32" fmla="*/ 852165 w 3175"/>
                <a:gd name="T33" fmla="*/ 619298 h 1472"/>
                <a:gd name="T34" fmla="*/ 796920 w 3175"/>
                <a:gd name="T35" fmla="*/ 610929 h 1472"/>
                <a:gd name="T36" fmla="*/ 719055 w 3175"/>
                <a:gd name="T37" fmla="*/ 597853 h 1472"/>
                <a:gd name="T38" fmla="*/ 702960 w 3175"/>
                <a:gd name="T39" fmla="*/ 620344 h 1472"/>
                <a:gd name="T40" fmla="*/ 673380 w 3175"/>
                <a:gd name="T41" fmla="*/ 647543 h 1472"/>
                <a:gd name="T42" fmla="*/ 624660 w 3175"/>
                <a:gd name="T43" fmla="*/ 623482 h 1472"/>
                <a:gd name="T44" fmla="*/ 535485 w 3175"/>
                <a:gd name="T45" fmla="*/ 665327 h 1472"/>
                <a:gd name="T46" fmla="*/ 504600 w 3175"/>
                <a:gd name="T47" fmla="*/ 728094 h 1472"/>
                <a:gd name="T48" fmla="*/ 469800 w 3175"/>
                <a:gd name="T49" fmla="*/ 722863 h 1472"/>
                <a:gd name="T50" fmla="*/ 451095 w 3175"/>
                <a:gd name="T51" fmla="*/ 641789 h 1472"/>
                <a:gd name="T52" fmla="*/ 408900 w 3175"/>
                <a:gd name="T53" fmla="*/ 622436 h 1472"/>
                <a:gd name="T54" fmla="*/ 377145 w 3175"/>
                <a:gd name="T55" fmla="*/ 637605 h 1472"/>
                <a:gd name="T56" fmla="*/ 340170 w 3175"/>
                <a:gd name="T57" fmla="*/ 568562 h 1472"/>
                <a:gd name="T58" fmla="*/ 291450 w 3175"/>
                <a:gd name="T59" fmla="*/ 557054 h 1472"/>
                <a:gd name="T60" fmla="*/ 200970 w 3175"/>
                <a:gd name="T61" fmla="*/ 557054 h 1472"/>
                <a:gd name="T62" fmla="*/ 95700 w 3175"/>
                <a:gd name="T63" fmla="*/ 531425 h 1472"/>
                <a:gd name="T64" fmla="*/ 38280 w 3175"/>
                <a:gd name="T65" fmla="*/ 481211 h 1472"/>
                <a:gd name="T66" fmla="*/ 16965 w 3175"/>
                <a:gd name="T67" fmla="*/ 443551 h 1472"/>
                <a:gd name="T68" fmla="*/ 12615 w 3175"/>
                <a:gd name="T69" fmla="*/ 346263 h 1472"/>
                <a:gd name="T70" fmla="*/ 0 w 3175"/>
                <a:gd name="T71" fmla="*/ 315926 h 1472"/>
                <a:gd name="T72" fmla="*/ 61335 w 3175"/>
                <a:gd name="T73" fmla="*/ 175747 h 1472"/>
                <a:gd name="T74" fmla="*/ 107445 w 3175"/>
                <a:gd name="T75" fmla="*/ 92058 h 1472"/>
                <a:gd name="T76" fmla="*/ 154425 w 3175"/>
                <a:gd name="T77" fmla="*/ 53352 h 1472"/>
                <a:gd name="T78" fmla="*/ 163560 w 3175"/>
                <a:gd name="T79" fmla="*/ 62767 h 1472"/>
                <a:gd name="T80" fmla="*/ 794745 w 3175"/>
                <a:gd name="T81" fmla="*/ 0 h 1472"/>
                <a:gd name="T82" fmla="*/ 837810 w 3175"/>
                <a:gd name="T83" fmla="*/ 28768 h 1472"/>
                <a:gd name="T84" fmla="*/ 876525 w 3175"/>
                <a:gd name="T85" fmla="*/ 36091 h 1472"/>
                <a:gd name="T86" fmla="*/ 839115 w 3175"/>
                <a:gd name="T87" fmla="*/ 66951 h 1472"/>
                <a:gd name="T88" fmla="*/ 859995 w 3175"/>
                <a:gd name="T89" fmla="*/ 86827 h 1472"/>
                <a:gd name="T90" fmla="*/ 910890 w 3175"/>
                <a:gd name="T91" fmla="*/ 81074 h 1472"/>
                <a:gd name="T92" fmla="*/ 993540 w 3175"/>
                <a:gd name="T93" fmla="*/ 100950 h 1472"/>
                <a:gd name="T94" fmla="*/ 964395 w 3175"/>
                <a:gd name="T95" fmla="*/ 106703 h 1472"/>
                <a:gd name="T96" fmla="*/ 907845 w 3175"/>
                <a:gd name="T97" fmla="*/ 138087 h 1472"/>
                <a:gd name="T98" fmla="*/ 879135 w 3175"/>
                <a:gd name="T99" fmla="*/ 185685 h 1472"/>
                <a:gd name="T100" fmla="*/ 875220 w 3175"/>
                <a:gd name="T101" fmla="*/ 235898 h 1472"/>
                <a:gd name="T102" fmla="*/ 903060 w 3175"/>
                <a:gd name="T103" fmla="*/ 218114 h 1472"/>
                <a:gd name="T104" fmla="*/ 959175 w 3175"/>
                <a:gd name="T105" fmla="*/ 131810 h 1472"/>
                <a:gd name="T106" fmla="*/ 986145 w 3175"/>
                <a:gd name="T107" fmla="*/ 158486 h 1472"/>
                <a:gd name="T108" fmla="*/ 1000065 w 3175"/>
                <a:gd name="T109" fmla="*/ 206084 h 1472"/>
                <a:gd name="T110" fmla="*/ 959610 w 3175"/>
                <a:gd name="T111" fmla="*/ 237467 h 1472"/>
                <a:gd name="T112" fmla="*/ 1007895 w 3175"/>
                <a:gd name="T113" fmla="*/ 239036 h 1472"/>
                <a:gd name="T114" fmla="*/ 1117950 w 3175"/>
                <a:gd name="T115" fmla="*/ 195100 h 1472"/>
                <a:gd name="T116" fmla="*/ 1187550 w 3175"/>
                <a:gd name="T117" fmla="*/ 131810 h 1472"/>
                <a:gd name="T118" fmla="*/ 1311960 w 3175"/>
                <a:gd name="T119" fmla="*/ 106180 h 1472"/>
                <a:gd name="T120" fmla="*/ 1364160 w 3175"/>
                <a:gd name="T121" fmla="*/ 61721 h 1472"/>
                <a:gd name="T122" fmla="*/ 1369815 w 3175"/>
                <a:gd name="T123" fmla="*/ 96242 h 14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xmlns="" id="{E7EBCF82-341E-70EB-E64F-DC1E2D19D715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2267761" y="2505637"/>
              <a:ext cx="293902" cy="432286"/>
            </a:xfrm>
            <a:custGeom>
              <a:avLst/>
              <a:gdLst>
                <a:gd name="T0" fmla="*/ 252627 w 784"/>
                <a:gd name="T1" fmla="*/ 145020 h 1128"/>
                <a:gd name="T2" fmla="*/ 237894 w 784"/>
                <a:gd name="T3" fmla="*/ 154443 h 1128"/>
                <a:gd name="T4" fmla="*/ 209728 w 784"/>
                <a:gd name="T5" fmla="*/ 202609 h 1128"/>
                <a:gd name="T6" fmla="*/ 201495 w 784"/>
                <a:gd name="T7" fmla="*/ 239257 h 1128"/>
                <a:gd name="T8" fmla="*/ 208428 w 784"/>
                <a:gd name="T9" fmla="*/ 273286 h 1128"/>
                <a:gd name="T10" fmla="*/ 229661 w 784"/>
                <a:gd name="T11" fmla="*/ 309411 h 1128"/>
                <a:gd name="T12" fmla="*/ 250894 w 784"/>
                <a:gd name="T13" fmla="*/ 322499 h 1128"/>
                <a:gd name="T14" fmla="*/ 270827 w 784"/>
                <a:gd name="T15" fmla="*/ 314122 h 1128"/>
                <a:gd name="T16" fmla="*/ 283393 w 784"/>
                <a:gd name="T17" fmla="*/ 341870 h 1128"/>
                <a:gd name="T18" fmla="*/ 291193 w 784"/>
                <a:gd name="T19" fmla="*/ 357576 h 1128"/>
                <a:gd name="T20" fmla="*/ 309392 w 784"/>
                <a:gd name="T21" fmla="*/ 359670 h 1128"/>
                <a:gd name="T22" fmla="*/ 324559 w 784"/>
                <a:gd name="T23" fmla="*/ 372759 h 1128"/>
                <a:gd name="T24" fmla="*/ 333658 w 784"/>
                <a:gd name="T25" fmla="*/ 395794 h 1128"/>
                <a:gd name="T26" fmla="*/ 329759 w 784"/>
                <a:gd name="T27" fmla="*/ 413594 h 1128"/>
                <a:gd name="T28" fmla="*/ 329325 w 784"/>
                <a:gd name="T29" fmla="*/ 431918 h 1128"/>
                <a:gd name="T30" fmla="*/ 334525 w 784"/>
                <a:gd name="T31" fmla="*/ 461760 h 1128"/>
                <a:gd name="T32" fmla="*/ 328459 w 784"/>
                <a:gd name="T33" fmla="*/ 487937 h 1128"/>
                <a:gd name="T34" fmla="*/ 333658 w 784"/>
                <a:gd name="T35" fmla="*/ 520396 h 1128"/>
                <a:gd name="T36" fmla="*/ 330625 w 784"/>
                <a:gd name="T37" fmla="*/ 551808 h 1128"/>
                <a:gd name="T38" fmla="*/ 299426 w 784"/>
                <a:gd name="T39" fmla="*/ 587409 h 1128"/>
                <a:gd name="T40" fmla="*/ 280793 w 784"/>
                <a:gd name="T41" fmla="*/ 577462 h 1128"/>
                <a:gd name="T42" fmla="*/ 260860 w 784"/>
                <a:gd name="T43" fmla="*/ 552855 h 1128"/>
                <a:gd name="T44" fmla="*/ 200628 w 784"/>
                <a:gd name="T45" fmla="*/ 522490 h 1128"/>
                <a:gd name="T46" fmla="*/ 184162 w 784"/>
                <a:gd name="T47" fmla="*/ 506261 h 1128"/>
                <a:gd name="T48" fmla="*/ 143430 w 784"/>
                <a:gd name="T49" fmla="*/ 468042 h 1128"/>
                <a:gd name="T50" fmla="*/ 137797 w 784"/>
                <a:gd name="T51" fmla="*/ 453907 h 1128"/>
                <a:gd name="T52" fmla="*/ 142130 w 784"/>
                <a:gd name="T53" fmla="*/ 426683 h 1128"/>
                <a:gd name="T54" fmla="*/ 125664 w 784"/>
                <a:gd name="T55" fmla="*/ 407312 h 1128"/>
                <a:gd name="T56" fmla="*/ 112231 w 784"/>
                <a:gd name="T57" fmla="*/ 390035 h 1128"/>
                <a:gd name="T58" fmla="*/ 105297 w 784"/>
                <a:gd name="T59" fmla="*/ 360717 h 1128"/>
                <a:gd name="T60" fmla="*/ 66298 w 784"/>
                <a:gd name="T61" fmla="*/ 277475 h 1128"/>
                <a:gd name="T62" fmla="*/ 51999 w 784"/>
                <a:gd name="T63" fmla="*/ 254963 h 1128"/>
                <a:gd name="T64" fmla="*/ 38999 w 784"/>
                <a:gd name="T65" fmla="*/ 226168 h 1128"/>
                <a:gd name="T66" fmla="*/ 9533 w 784"/>
                <a:gd name="T67" fmla="*/ 207844 h 1128"/>
                <a:gd name="T68" fmla="*/ 0 w 784"/>
                <a:gd name="T69" fmla="*/ 190044 h 1128"/>
                <a:gd name="T70" fmla="*/ 5633 w 784"/>
                <a:gd name="T71" fmla="*/ 144496 h 1128"/>
                <a:gd name="T72" fmla="*/ 12133 w 784"/>
                <a:gd name="T73" fmla="*/ 128790 h 1128"/>
                <a:gd name="T74" fmla="*/ 31199 w 784"/>
                <a:gd name="T75" fmla="*/ 116225 h 1128"/>
                <a:gd name="T76" fmla="*/ 41166 w 784"/>
                <a:gd name="T77" fmla="*/ 142402 h 1128"/>
                <a:gd name="T78" fmla="*/ 68465 w 784"/>
                <a:gd name="T79" fmla="*/ 160726 h 1128"/>
                <a:gd name="T80" fmla="*/ 79731 w 784"/>
                <a:gd name="T81" fmla="*/ 141879 h 1128"/>
                <a:gd name="T82" fmla="*/ 87098 w 784"/>
                <a:gd name="T83" fmla="*/ 117796 h 1128"/>
                <a:gd name="T84" fmla="*/ 116997 w 784"/>
                <a:gd name="T85" fmla="*/ 89001 h 1128"/>
                <a:gd name="T86" fmla="*/ 149063 w 784"/>
                <a:gd name="T87" fmla="*/ 62824 h 1128"/>
                <a:gd name="T88" fmla="*/ 154696 w 784"/>
                <a:gd name="T89" fmla="*/ 36648 h 1128"/>
                <a:gd name="T90" fmla="*/ 150363 w 784"/>
                <a:gd name="T91" fmla="*/ 2618 h 1128"/>
                <a:gd name="T92" fmla="*/ 182862 w 784"/>
                <a:gd name="T93" fmla="*/ 27747 h 1128"/>
                <a:gd name="T94" fmla="*/ 202362 w 784"/>
                <a:gd name="T95" fmla="*/ 56018 h 1128"/>
                <a:gd name="T96" fmla="*/ 219261 w 784"/>
                <a:gd name="T97" fmla="*/ 80625 h 1128"/>
                <a:gd name="T98" fmla="*/ 243094 w 784"/>
                <a:gd name="T99" fmla="*/ 82195 h 1128"/>
                <a:gd name="T100" fmla="*/ 267360 w 784"/>
                <a:gd name="T101" fmla="*/ 78007 h 1128"/>
                <a:gd name="T102" fmla="*/ 277327 w 784"/>
                <a:gd name="T103" fmla="*/ 81672 h 1128"/>
                <a:gd name="T104" fmla="*/ 283393 w 784"/>
                <a:gd name="T105" fmla="*/ 101043 h 1128"/>
                <a:gd name="T106" fmla="*/ 271693 w 784"/>
                <a:gd name="T107" fmla="*/ 109943 h 1128"/>
                <a:gd name="T108" fmla="*/ 271693 w 784"/>
                <a:gd name="T109" fmla="*/ 125649 h 112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xmlns="" id="{C1D2A805-CCFC-D0EE-2891-05284A45488E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2527329" y="2918167"/>
              <a:ext cx="226606" cy="827384"/>
            </a:xfrm>
            <a:custGeom>
              <a:avLst/>
              <a:gdLst>
                <a:gd name="T0" fmla="*/ 183093 w 598"/>
                <a:gd name="T1" fmla="*/ 1058543 h 2158"/>
                <a:gd name="T2" fmla="*/ 149803 w 598"/>
                <a:gd name="T3" fmla="*/ 1023974 h 2158"/>
                <a:gd name="T4" fmla="*/ 148489 w 598"/>
                <a:gd name="T5" fmla="*/ 991500 h 2158"/>
                <a:gd name="T6" fmla="*/ 151118 w 598"/>
                <a:gd name="T7" fmla="*/ 965312 h 2158"/>
                <a:gd name="T8" fmla="*/ 158564 w 598"/>
                <a:gd name="T9" fmla="*/ 938076 h 2158"/>
                <a:gd name="T10" fmla="*/ 155060 w 598"/>
                <a:gd name="T11" fmla="*/ 911363 h 2158"/>
                <a:gd name="T12" fmla="*/ 145423 w 598"/>
                <a:gd name="T13" fmla="*/ 881508 h 2158"/>
                <a:gd name="T14" fmla="*/ 132721 w 598"/>
                <a:gd name="T15" fmla="*/ 828084 h 2158"/>
                <a:gd name="T16" fmla="*/ 98993 w 598"/>
                <a:gd name="T17" fmla="*/ 764707 h 2158"/>
                <a:gd name="T18" fmla="*/ 90232 w 598"/>
                <a:gd name="T19" fmla="*/ 723329 h 2158"/>
                <a:gd name="T20" fmla="*/ 95051 w 598"/>
                <a:gd name="T21" fmla="*/ 680380 h 2158"/>
                <a:gd name="T22" fmla="*/ 91109 w 598"/>
                <a:gd name="T23" fmla="*/ 646858 h 2158"/>
                <a:gd name="T24" fmla="*/ 81034 w 598"/>
                <a:gd name="T25" fmla="*/ 610194 h 2158"/>
                <a:gd name="T26" fmla="*/ 92423 w 598"/>
                <a:gd name="T27" fmla="*/ 588196 h 2158"/>
                <a:gd name="T28" fmla="*/ 85414 w 598"/>
                <a:gd name="T29" fmla="*/ 566721 h 2158"/>
                <a:gd name="T30" fmla="*/ 92423 w 598"/>
                <a:gd name="T31" fmla="*/ 536866 h 2158"/>
                <a:gd name="T32" fmla="*/ 91985 w 598"/>
                <a:gd name="T33" fmla="*/ 520106 h 2158"/>
                <a:gd name="T34" fmla="*/ 81910 w 598"/>
                <a:gd name="T35" fmla="*/ 485537 h 2158"/>
                <a:gd name="T36" fmla="*/ 59571 w 598"/>
                <a:gd name="T37" fmla="*/ 446254 h 2158"/>
                <a:gd name="T38" fmla="*/ 58695 w 598"/>
                <a:gd name="T39" fmla="*/ 359308 h 2158"/>
                <a:gd name="T40" fmla="*/ 80158 w 598"/>
                <a:gd name="T41" fmla="*/ 305883 h 2158"/>
                <a:gd name="T42" fmla="*/ 82786 w 598"/>
                <a:gd name="T43" fmla="*/ 273409 h 2158"/>
                <a:gd name="T44" fmla="*/ 70083 w 598"/>
                <a:gd name="T45" fmla="*/ 240411 h 2158"/>
                <a:gd name="T46" fmla="*/ 79720 w 598"/>
                <a:gd name="T47" fmla="*/ 212651 h 2158"/>
                <a:gd name="T48" fmla="*/ 100307 w 598"/>
                <a:gd name="T49" fmla="*/ 181225 h 2158"/>
                <a:gd name="T50" fmla="*/ 87604 w 598"/>
                <a:gd name="T51" fmla="*/ 161322 h 2158"/>
                <a:gd name="T52" fmla="*/ 64827 w 598"/>
                <a:gd name="T53" fmla="*/ 116277 h 2158"/>
                <a:gd name="T54" fmla="*/ 56505 w 598"/>
                <a:gd name="T55" fmla="*/ 65472 h 2158"/>
                <a:gd name="T56" fmla="*/ 39860 w 598"/>
                <a:gd name="T57" fmla="*/ 19380 h 2158"/>
                <a:gd name="T58" fmla="*/ 0 w 598"/>
                <a:gd name="T59" fmla="*/ 23046 h 2158"/>
                <a:gd name="T60" fmla="*/ 13579 w 598"/>
                <a:gd name="T61" fmla="*/ 104754 h 2158"/>
                <a:gd name="T62" fmla="*/ 18397 w 598"/>
                <a:gd name="T63" fmla="*/ 159227 h 2158"/>
                <a:gd name="T64" fmla="*/ 11827 w 598"/>
                <a:gd name="T65" fmla="*/ 195891 h 2158"/>
                <a:gd name="T66" fmla="*/ 22777 w 598"/>
                <a:gd name="T67" fmla="*/ 274457 h 2158"/>
                <a:gd name="T68" fmla="*/ 20149 w 598"/>
                <a:gd name="T69" fmla="*/ 339928 h 2158"/>
                <a:gd name="T70" fmla="*/ 15769 w 598"/>
                <a:gd name="T71" fmla="*/ 376068 h 2158"/>
                <a:gd name="T72" fmla="*/ 22777 w 598"/>
                <a:gd name="T73" fmla="*/ 401733 h 2158"/>
                <a:gd name="T74" fmla="*/ 28033 w 598"/>
                <a:gd name="T75" fmla="*/ 456205 h 2158"/>
                <a:gd name="T76" fmla="*/ 35480 w 598"/>
                <a:gd name="T77" fmla="*/ 478204 h 2158"/>
                <a:gd name="T78" fmla="*/ 31976 w 598"/>
                <a:gd name="T79" fmla="*/ 547342 h 2158"/>
                <a:gd name="T80" fmla="*/ 27595 w 598"/>
                <a:gd name="T81" fmla="*/ 603385 h 2158"/>
                <a:gd name="T82" fmla="*/ 17521 w 598"/>
                <a:gd name="T83" fmla="*/ 622241 h 2158"/>
                <a:gd name="T84" fmla="*/ 26281 w 598"/>
                <a:gd name="T85" fmla="*/ 658905 h 2158"/>
                <a:gd name="T86" fmla="*/ 46430 w 598"/>
                <a:gd name="T87" fmla="*/ 703426 h 2158"/>
                <a:gd name="T88" fmla="*/ 40736 w 598"/>
                <a:gd name="T89" fmla="*/ 731186 h 2158"/>
                <a:gd name="T90" fmla="*/ 46430 w 598"/>
                <a:gd name="T91" fmla="*/ 758946 h 2158"/>
                <a:gd name="T92" fmla="*/ 71836 w 598"/>
                <a:gd name="T93" fmla="*/ 768374 h 2158"/>
                <a:gd name="T94" fmla="*/ 91547 w 598"/>
                <a:gd name="T95" fmla="*/ 849034 h 2158"/>
                <a:gd name="T96" fmla="*/ 99431 w 598"/>
                <a:gd name="T97" fmla="*/ 895126 h 2158"/>
                <a:gd name="T98" fmla="*/ 66141 w 598"/>
                <a:gd name="T99" fmla="*/ 916077 h 2158"/>
                <a:gd name="T100" fmla="*/ 90671 w 598"/>
                <a:gd name="T101" fmla="*/ 930219 h 2158"/>
                <a:gd name="T102" fmla="*/ 109505 w 598"/>
                <a:gd name="T103" fmla="*/ 953265 h 2158"/>
                <a:gd name="T104" fmla="*/ 120456 w 598"/>
                <a:gd name="T105" fmla="*/ 979977 h 2158"/>
                <a:gd name="T106" fmla="*/ 134911 w 598"/>
                <a:gd name="T107" fmla="*/ 1027117 h 2158"/>
                <a:gd name="T108" fmla="*/ 157250 w 598"/>
                <a:gd name="T109" fmla="*/ 1054353 h 2158"/>
                <a:gd name="T110" fmla="*/ 172143 w 598"/>
                <a:gd name="T111" fmla="*/ 1072685 h 2158"/>
                <a:gd name="T112" fmla="*/ 185721 w 598"/>
                <a:gd name="T113" fmla="*/ 1086303 h 2158"/>
                <a:gd name="T114" fmla="*/ 203680 w 598"/>
                <a:gd name="T115" fmla="*/ 1105159 h 2158"/>
                <a:gd name="T116" fmla="*/ 227333 w 598"/>
                <a:gd name="T117" fmla="*/ 1120872 h 2158"/>
                <a:gd name="T118" fmla="*/ 235656 w 598"/>
                <a:gd name="T119" fmla="*/ 1126634 h 2158"/>
                <a:gd name="T120" fmla="*/ 256681 w 598"/>
                <a:gd name="T121" fmla="*/ 1098874 h 2158"/>
                <a:gd name="T122" fmla="*/ 258871 w 598"/>
                <a:gd name="T123" fmla="*/ 1084732 h 215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xmlns="" id="{5B534467-2606-99B9-A5EA-74D719E81E36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2444927" y="2392918"/>
              <a:ext cx="836385" cy="880839"/>
            </a:xfrm>
            <a:custGeom>
              <a:avLst/>
              <a:gdLst>
                <a:gd name="T0" fmla="*/ 191099 w 2226"/>
                <a:gd name="T1" fmla="*/ 470410 h 2292"/>
                <a:gd name="T2" fmla="*/ 219329 w 2226"/>
                <a:gd name="T3" fmla="*/ 517136 h 2292"/>
                <a:gd name="T4" fmla="*/ 248429 w 2226"/>
                <a:gd name="T5" fmla="*/ 553361 h 2292"/>
                <a:gd name="T6" fmla="*/ 310970 w 2226"/>
                <a:gd name="T7" fmla="*/ 576462 h 2292"/>
                <a:gd name="T8" fmla="*/ 346584 w 2226"/>
                <a:gd name="T9" fmla="*/ 632113 h 2292"/>
                <a:gd name="T10" fmla="*/ 367431 w 2226"/>
                <a:gd name="T11" fmla="*/ 678314 h 2292"/>
                <a:gd name="T12" fmla="*/ 407823 w 2226"/>
                <a:gd name="T13" fmla="*/ 711390 h 2292"/>
                <a:gd name="T14" fmla="*/ 415640 w 2226"/>
                <a:gd name="T15" fmla="*/ 769666 h 2292"/>
                <a:gd name="T16" fmla="*/ 423892 w 2226"/>
                <a:gd name="T17" fmla="*/ 809042 h 2292"/>
                <a:gd name="T18" fmla="*/ 430841 w 2226"/>
                <a:gd name="T19" fmla="*/ 856818 h 2292"/>
                <a:gd name="T20" fmla="*/ 491211 w 2226"/>
                <a:gd name="T21" fmla="*/ 891469 h 2292"/>
                <a:gd name="T22" fmla="*/ 518139 w 2226"/>
                <a:gd name="T23" fmla="*/ 947645 h 2292"/>
                <a:gd name="T24" fmla="*/ 539855 w 2226"/>
                <a:gd name="T25" fmla="*/ 978620 h 2292"/>
                <a:gd name="T26" fmla="*/ 513796 w 2226"/>
                <a:gd name="T27" fmla="*/ 1051597 h 2292"/>
                <a:gd name="T28" fmla="*/ 470798 w 2226"/>
                <a:gd name="T29" fmla="*/ 1117223 h 2292"/>
                <a:gd name="T30" fmla="*/ 512493 w 2226"/>
                <a:gd name="T31" fmla="*/ 1134549 h 2292"/>
                <a:gd name="T32" fmla="*/ 562873 w 2226"/>
                <a:gd name="T33" fmla="*/ 1172874 h 2292"/>
                <a:gd name="T34" fmla="*/ 616294 w 2226"/>
                <a:gd name="T35" fmla="*/ 1153974 h 2292"/>
                <a:gd name="T36" fmla="*/ 659291 w 2226"/>
                <a:gd name="T37" fmla="*/ 1068922 h 2292"/>
                <a:gd name="T38" fmla="*/ 656686 w 2226"/>
                <a:gd name="T39" fmla="*/ 1006971 h 2292"/>
                <a:gd name="T40" fmla="*/ 677967 w 2226"/>
                <a:gd name="T41" fmla="*/ 941345 h 2292"/>
                <a:gd name="T42" fmla="*/ 740943 w 2226"/>
                <a:gd name="T43" fmla="*/ 906694 h 2292"/>
                <a:gd name="T44" fmla="*/ 780900 w 2226"/>
                <a:gd name="T45" fmla="*/ 882543 h 2292"/>
                <a:gd name="T46" fmla="*/ 823897 w 2226"/>
                <a:gd name="T47" fmla="*/ 861543 h 2292"/>
                <a:gd name="T48" fmla="*/ 860814 w 2226"/>
                <a:gd name="T49" fmla="*/ 735015 h 2292"/>
                <a:gd name="T50" fmla="*/ 874712 w 2226"/>
                <a:gd name="T51" fmla="*/ 676214 h 2292"/>
                <a:gd name="T52" fmla="*/ 869500 w 2226"/>
                <a:gd name="T53" fmla="*/ 572262 h 2292"/>
                <a:gd name="T54" fmla="*/ 900337 w 2226"/>
                <a:gd name="T55" fmla="*/ 529736 h 2292"/>
                <a:gd name="T56" fmla="*/ 951152 w 2226"/>
                <a:gd name="T57" fmla="*/ 460435 h 2292"/>
                <a:gd name="T58" fmla="*/ 965050 w 2226"/>
                <a:gd name="T59" fmla="*/ 384308 h 2292"/>
                <a:gd name="T60" fmla="*/ 936819 w 2226"/>
                <a:gd name="T61" fmla="*/ 314482 h 2292"/>
                <a:gd name="T62" fmla="*/ 894256 w 2226"/>
                <a:gd name="T63" fmla="*/ 295581 h 2292"/>
                <a:gd name="T64" fmla="*/ 834321 w 2226"/>
                <a:gd name="T65" fmla="*/ 242555 h 2292"/>
                <a:gd name="T66" fmla="*/ 756578 w 2226"/>
                <a:gd name="T67" fmla="*/ 236255 h 2292"/>
                <a:gd name="T68" fmla="*/ 725307 w 2226"/>
                <a:gd name="T69" fmla="*/ 234680 h 2292"/>
                <a:gd name="T70" fmla="*/ 710541 w 2226"/>
                <a:gd name="T71" fmla="*/ 206854 h 2292"/>
                <a:gd name="T72" fmla="*/ 656686 w 2226"/>
                <a:gd name="T73" fmla="*/ 182704 h 2292"/>
                <a:gd name="T74" fmla="*/ 612820 w 2226"/>
                <a:gd name="T75" fmla="*/ 214729 h 2292"/>
                <a:gd name="T76" fmla="*/ 581115 w 2226"/>
                <a:gd name="T77" fmla="*/ 212629 h 2292"/>
                <a:gd name="T78" fmla="*/ 541592 w 2226"/>
                <a:gd name="T79" fmla="*/ 201604 h 2292"/>
                <a:gd name="T80" fmla="*/ 571994 w 2226"/>
                <a:gd name="T81" fmla="*/ 140703 h 2292"/>
                <a:gd name="T82" fmla="*/ 581115 w 2226"/>
                <a:gd name="T83" fmla="*/ 96602 h 2292"/>
                <a:gd name="T84" fmla="*/ 560702 w 2226"/>
                <a:gd name="T85" fmla="*/ 35701 h 2292"/>
                <a:gd name="T86" fmla="*/ 488171 w 2226"/>
                <a:gd name="T87" fmla="*/ 70876 h 2292"/>
                <a:gd name="T88" fmla="*/ 435619 w 2226"/>
                <a:gd name="T89" fmla="*/ 89252 h 2292"/>
                <a:gd name="T90" fmla="*/ 416943 w 2226"/>
                <a:gd name="T91" fmla="*/ 98177 h 2292"/>
                <a:gd name="T92" fmla="*/ 352664 w 2226"/>
                <a:gd name="T93" fmla="*/ 92402 h 2292"/>
                <a:gd name="T94" fmla="*/ 352230 w 2226"/>
                <a:gd name="T95" fmla="*/ 35176 h 2292"/>
                <a:gd name="T96" fmla="*/ 323565 w 2226"/>
                <a:gd name="T97" fmla="*/ 0 h 2292"/>
                <a:gd name="T98" fmla="*/ 304021 w 2226"/>
                <a:gd name="T99" fmla="*/ 16275 h 2292"/>
                <a:gd name="T100" fmla="*/ 255812 w 2226"/>
                <a:gd name="T101" fmla="*/ 36751 h 2292"/>
                <a:gd name="T102" fmla="*/ 243217 w 2226"/>
                <a:gd name="T103" fmla="*/ 103952 h 2292"/>
                <a:gd name="T104" fmla="*/ 196745 w 2226"/>
                <a:gd name="T105" fmla="*/ 135453 h 2292"/>
                <a:gd name="T106" fmla="*/ 124214 w 2226"/>
                <a:gd name="T107" fmla="*/ 103427 h 2292"/>
                <a:gd name="T108" fmla="*/ 109882 w 2226"/>
                <a:gd name="T109" fmla="*/ 126003 h 2292"/>
                <a:gd name="T110" fmla="*/ 85995 w 2226"/>
                <a:gd name="T111" fmla="*/ 163278 h 2292"/>
                <a:gd name="T112" fmla="*/ 106842 w 2226"/>
                <a:gd name="T113" fmla="*/ 203704 h 2292"/>
                <a:gd name="T114" fmla="*/ 84257 w 2226"/>
                <a:gd name="T115" fmla="*/ 294006 h 2292"/>
                <a:gd name="T116" fmla="*/ 43432 w 2226"/>
                <a:gd name="T117" fmla="*/ 297681 h 2292"/>
                <a:gd name="T118" fmla="*/ 6949 w 2226"/>
                <a:gd name="T119" fmla="*/ 360682 h 2292"/>
                <a:gd name="T120" fmla="*/ 9555 w 2226"/>
                <a:gd name="T121" fmla="*/ 432609 h 2292"/>
                <a:gd name="T122" fmla="*/ 52118 w 2226"/>
                <a:gd name="T123" fmla="*/ 475135 h 2292"/>
                <a:gd name="T124" fmla="*/ 82954 w 2226"/>
                <a:gd name="T125" fmla="*/ 498235 h 22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xmlns="" id="{A69C096A-9C63-EAD4-8270-8BC04857351B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4272888" y="1621312"/>
              <a:ext cx="60428" cy="36024"/>
            </a:xfrm>
            <a:custGeom>
              <a:avLst/>
              <a:gdLst>
                <a:gd name="T0" fmla="*/ 40782 w 161"/>
                <a:gd name="T1" fmla="*/ 0 h 93"/>
                <a:gd name="T2" fmla="*/ 46422 w 161"/>
                <a:gd name="T3" fmla="*/ 9525 h 93"/>
                <a:gd name="T4" fmla="*/ 48591 w 161"/>
                <a:gd name="T5" fmla="*/ 6350 h 93"/>
                <a:gd name="T6" fmla="*/ 50761 w 161"/>
                <a:gd name="T7" fmla="*/ 4233 h 93"/>
                <a:gd name="T8" fmla="*/ 52930 w 161"/>
                <a:gd name="T9" fmla="*/ 2646 h 93"/>
                <a:gd name="T10" fmla="*/ 55099 w 161"/>
                <a:gd name="T11" fmla="*/ 1588 h 93"/>
                <a:gd name="T12" fmla="*/ 59438 w 161"/>
                <a:gd name="T13" fmla="*/ 529 h 93"/>
                <a:gd name="T14" fmla="*/ 64210 w 161"/>
                <a:gd name="T15" fmla="*/ 0 h 93"/>
                <a:gd name="T16" fmla="*/ 65511 w 161"/>
                <a:gd name="T17" fmla="*/ 0 h 93"/>
                <a:gd name="T18" fmla="*/ 69850 w 161"/>
                <a:gd name="T19" fmla="*/ 0 h 93"/>
                <a:gd name="T20" fmla="*/ 69850 w 161"/>
                <a:gd name="T21" fmla="*/ 48684 h 93"/>
                <a:gd name="T22" fmla="*/ 67247 w 161"/>
                <a:gd name="T23" fmla="*/ 49213 h 93"/>
                <a:gd name="T24" fmla="*/ 65078 w 161"/>
                <a:gd name="T25" fmla="*/ 49213 h 93"/>
                <a:gd name="T26" fmla="*/ 62908 w 161"/>
                <a:gd name="T27" fmla="*/ 48684 h 93"/>
                <a:gd name="T28" fmla="*/ 60739 w 161"/>
                <a:gd name="T29" fmla="*/ 48155 h 93"/>
                <a:gd name="T30" fmla="*/ 55967 w 161"/>
                <a:gd name="T31" fmla="*/ 46567 h 93"/>
                <a:gd name="T32" fmla="*/ 52062 w 161"/>
                <a:gd name="T33" fmla="*/ 43392 h 93"/>
                <a:gd name="T34" fmla="*/ 48157 w 161"/>
                <a:gd name="T35" fmla="*/ 39688 h 93"/>
                <a:gd name="T36" fmla="*/ 45120 w 161"/>
                <a:gd name="T37" fmla="*/ 35455 h 93"/>
                <a:gd name="T38" fmla="*/ 42084 w 161"/>
                <a:gd name="T39" fmla="*/ 31221 h 93"/>
                <a:gd name="T40" fmla="*/ 40782 w 161"/>
                <a:gd name="T41" fmla="*/ 25929 h 93"/>
                <a:gd name="T42" fmla="*/ 39914 w 161"/>
                <a:gd name="T43" fmla="*/ 26459 h 93"/>
                <a:gd name="T44" fmla="*/ 38613 w 161"/>
                <a:gd name="T45" fmla="*/ 26988 h 93"/>
                <a:gd name="T46" fmla="*/ 37311 w 161"/>
                <a:gd name="T47" fmla="*/ 26988 h 93"/>
                <a:gd name="T48" fmla="*/ 36443 w 161"/>
                <a:gd name="T49" fmla="*/ 26988 h 93"/>
                <a:gd name="T50" fmla="*/ 33840 w 161"/>
                <a:gd name="T51" fmla="*/ 26459 h 93"/>
                <a:gd name="T52" fmla="*/ 32105 w 161"/>
                <a:gd name="T53" fmla="*/ 25929 h 93"/>
                <a:gd name="T54" fmla="*/ 28200 w 161"/>
                <a:gd name="T55" fmla="*/ 25400 h 93"/>
                <a:gd name="T56" fmla="*/ 23862 w 161"/>
                <a:gd name="T57" fmla="*/ 23813 h 93"/>
                <a:gd name="T58" fmla="*/ 19089 w 161"/>
                <a:gd name="T59" fmla="*/ 21167 h 93"/>
                <a:gd name="T60" fmla="*/ 13883 w 161"/>
                <a:gd name="T61" fmla="*/ 17992 h 93"/>
                <a:gd name="T62" fmla="*/ 9111 w 161"/>
                <a:gd name="T63" fmla="*/ 13758 h 93"/>
                <a:gd name="T64" fmla="*/ 5206 w 161"/>
                <a:gd name="T65" fmla="*/ 9525 h 93"/>
                <a:gd name="T66" fmla="*/ 3471 w 161"/>
                <a:gd name="T67" fmla="*/ 7408 h 93"/>
                <a:gd name="T68" fmla="*/ 2169 w 161"/>
                <a:gd name="T69" fmla="*/ 4763 h 93"/>
                <a:gd name="T70" fmla="*/ 1302 w 161"/>
                <a:gd name="T71" fmla="*/ 2646 h 93"/>
                <a:gd name="T72" fmla="*/ 0 w 161"/>
                <a:gd name="T73" fmla="*/ 0 h 93"/>
                <a:gd name="T74" fmla="*/ 40782 w 161"/>
                <a:gd name="T75" fmla="*/ 0 h 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xmlns="" id="{9FD77824-780E-0183-3995-9F9BF9CD62E3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3838901" y="1529510"/>
              <a:ext cx="71415" cy="117368"/>
            </a:xfrm>
            <a:custGeom>
              <a:avLst/>
              <a:gdLst>
                <a:gd name="T0" fmla="*/ 16338 w 192"/>
                <a:gd name="T1" fmla="*/ 1567 h 307"/>
                <a:gd name="T2" fmla="*/ 15908 w 192"/>
                <a:gd name="T3" fmla="*/ 0 h 307"/>
                <a:gd name="T4" fmla="*/ 24507 w 192"/>
                <a:gd name="T5" fmla="*/ 1567 h 307"/>
                <a:gd name="T6" fmla="*/ 47294 w 192"/>
                <a:gd name="T7" fmla="*/ 7312 h 307"/>
                <a:gd name="T8" fmla="*/ 66642 w 192"/>
                <a:gd name="T9" fmla="*/ 13057 h 307"/>
                <a:gd name="T10" fmla="*/ 77821 w 192"/>
                <a:gd name="T11" fmla="*/ 14624 h 307"/>
                <a:gd name="T12" fmla="*/ 82550 w 192"/>
                <a:gd name="T13" fmla="*/ 18279 h 307"/>
                <a:gd name="T14" fmla="*/ 80830 w 192"/>
                <a:gd name="T15" fmla="*/ 24547 h 307"/>
                <a:gd name="T16" fmla="*/ 75241 w 192"/>
                <a:gd name="T17" fmla="*/ 42826 h 307"/>
                <a:gd name="T18" fmla="*/ 67932 w 192"/>
                <a:gd name="T19" fmla="*/ 66328 h 307"/>
                <a:gd name="T20" fmla="*/ 63202 w 192"/>
                <a:gd name="T21" fmla="*/ 86175 h 307"/>
                <a:gd name="T22" fmla="*/ 62772 w 192"/>
                <a:gd name="T23" fmla="*/ 108110 h 307"/>
                <a:gd name="T24" fmla="*/ 61913 w 192"/>
                <a:gd name="T25" fmla="*/ 130045 h 307"/>
                <a:gd name="T26" fmla="*/ 57613 w 192"/>
                <a:gd name="T27" fmla="*/ 144669 h 307"/>
                <a:gd name="T28" fmla="*/ 45574 w 192"/>
                <a:gd name="T29" fmla="*/ 154592 h 307"/>
                <a:gd name="T30" fmla="*/ 35686 w 192"/>
                <a:gd name="T31" fmla="*/ 158248 h 307"/>
                <a:gd name="T32" fmla="*/ 30956 w 192"/>
                <a:gd name="T33" fmla="*/ 160337 h 307"/>
                <a:gd name="T34" fmla="*/ 22357 w 192"/>
                <a:gd name="T35" fmla="*/ 159292 h 307"/>
                <a:gd name="T36" fmla="*/ 13758 w 192"/>
                <a:gd name="T37" fmla="*/ 151981 h 307"/>
                <a:gd name="T38" fmla="*/ 12898 w 192"/>
                <a:gd name="T39" fmla="*/ 144669 h 307"/>
                <a:gd name="T40" fmla="*/ 9459 w 192"/>
                <a:gd name="T41" fmla="*/ 134223 h 307"/>
                <a:gd name="T42" fmla="*/ 4299 w 192"/>
                <a:gd name="T43" fmla="*/ 120644 h 307"/>
                <a:gd name="T44" fmla="*/ 860 w 192"/>
                <a:gd name="T45" fmla="*/ 110199 h 307"/>
                <a:gd name="T46" fmla="*/ 0 w 192"/>
                <a:gd name="T47" fmla="*/ 102887 h 307"/>
                <a:gd name="T48" fmla="*/ 0 w 192"/>
                <a:gd name="T49" fmla="*/ 94009 h 307"/>
                <a:gd name="T50" fmla="*/ 860 w 192"/>
                <a:gd name="T51" fmla="*/ 86175 h 307"/>
                <a:gd name="T52" fmla="*/ 4729 w 192"/>
                <a:gd name="T53" fmla="*/ 75729 h 307"/>
                <a:gd name="T54" fmla="*/ 14188 w 192"/>
                <a:gd name="T55" fmla="*/ 56927 h 307"/>
                <a:gd name="T56" fmla="*/ 20638 w 192"/>
                <a:gd name="T57" fmla="*/ 42304 h 307"/>
                <a:gd name="T58" fmla="*/ 22357 w 192"/>
                <a:gd name="T59" fmla="*/ 32381 h 307"/>
                <a:gd name="T60" fmla="*/ 22787 w 192"/>
                <a:gd name="T61" fmla="*/ 21413 h 307"/>
                <a:gd name="T62" fmla="*/ 23647 w 192"/>
                <a:gd name="T63" fmla="*/ 15668 h 307"/>
                <a:gd name="T64" fmla="*/ 24507 w 192"/>
                <a:gd name="T65" fmla="*/ 13579 h 307"/>
                <a:gd name="T66" fmla="*/ 25797 w 192"/>
                <a:gd name="T67" fmla="*/ 11490 h 307"/>
                <a:gd name="T68" fmla="*/ 18918 w 192"/>
                <a:gd name="T69" fmla="*/ 3656 h 30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xmlns="" id="{13C0918C-AD17-20C2-4B23-6A661C821787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3908944" y="1153003"/>
              <a:ext cx="148324" cy="197549"/>
            </a:xfrm>
            <a:custGeom>
              <a:avLst/>
              <a:gdLst>
                <a:gd name="T0" fmla="*/ 11200 w 398"/>
                <a:gd name="T1" fmla="*/ 1042 h 518"/>
                <a:gd name="T2" fmla="*/ 40924 w 398"/>
                <a:gd name="T3" fmla="*/ 6773 h 518"/>
                <a:gd name="T4" fmla="*/ 49970 w 398"/>
                <a:gd name="T5" fmla="*/ 11983 h 518"/>
                <a:gd name="T6" fmla="*/ 34462 w 398"/>
                <a:gd name="T7" fmla="*/ 24487 h 518"/>
                <a:gd name="T8" fmla="*/ 27570 w 398"/>
                <a:gd name="T9" fmla="*/ 32302 h 518"/>
                <a:gd name="T10" fmla="*/ 33170 w 398"/>
                <a:gd name="T11" fmla="*/ 35949 h 518"/>
                <a:gd name="T12" fmla="*/ 71940 w 398"/>
                <a:gd name="T13" fmla="*/ 41159 h 518"/>
                <a:gd name="T14" fmla="*/ 90464 w 398"/>
                <a:gd name="T15" fmla="*/ 56788 h 518"/>
                <a:gd name="T16" fmla="*/ 66340 w 398"/>
                <a:gd name="T17" fmla="*/ 66166 h 518"/>
                <a:gd name="T18" fmla="*/ 63324 w 398"/>
                <a:gd name="T19" fmla="*/ 71897 h 518"/>
                <a:gd name="T20" fmla="*/ 82279 w 398"/>
                <a:gd name="T21" fmla="*/ 74502 h 518"/>
                <a:gd name="T22" fmla="*/ 90894 w 398"/>
                <a:gd name="T23" fmla="*/ 81275 h 518"/>
                <a:gd name="T24" fmla="*/ 104679 w 398"/>
                <a:gd name="T25" fmla="*/ 99510 h 518"/>
                <a:gd name="T26" fmla="*/ 111141 w 398"/>
                <a:gd name="T27" fmla="*/ 110451 h 518"/>
                <a:gd name="T28" fmla="*/ 112003 w 398"/>
                <a:gd name="T29" fmla="*/ 123476 h 518"/>
                <a:gd name="T30" fmla="*/ 117172 w 398"/>
                <a:gd name="T31" fmla="*/ 132333 h 518"/>
                <a:gd name="T32" fmla="*/ 123203 w 398"/>
                <a:gd name="T33" fmla="*/ 145357 h 518"/>
                <a:gd name="T34" fmla="*/ 131818 w 398"/>
                <a:gd name="T35" fmla="*/ 154735 h 518"/>
                <a:gd name="T36" fmla="*/ 140865 w 398"/>
                <a:gd name="T37" fmla="*/ 166718 h 518"/>
                <a:gd name="T38" fmla="*/ 149049 w 398"/>
                <a:gd name="T39" fmla="*/ 175575 h 518"/>
                <a:gd name="T40" fmla="*/ 159388 w 398"/>
                <a:gd name="T41" fmla="*/ 177659 h 518"/>
                <a:gd name="T42" fmla="*/ 170588 w 398"/>
                <a:gd name="T43" fmla="*/ 190163 h 518"/>
                <a:gd name="T44" fmla="*/ 170158 w 398"/>
                <a:gd name="T45" fmla="*/ 205793 h 518"/>
                <a:gd name="T46" fmla="*/ 164558 w 398"/>
                <a:gd name="T47" fmla="*/ 210482 h 518"/>
                <a:gd name="T48" fmla="*/ 158096 w 398"/>
                <a:gd name="T49" fmla="*/ 216213 h 518"/>
                <a:gd name="T50" fmla="*/ 158527 w 398"/>
                <a:gd name="T51" fmla="*/ 221944 h 518"/>
                <a:gd name="T52" fmla="*/ 161973 w 398"/>
                <a:gd name="T53" fmla="*/ 230800 h 518"/>
                <a:gd name="T54" fmla="*/ 154650 w 398"/>
                <a:gd name="T55" fmla="*/ 241220 h 518"/>
                <a:gd name="T56" fmla="*/ 62894 w 398"/>
                <a:gd name="T57" fmla="*/ 260497 h 518"/>
                <a:gd name="T58" fmla="*/ 29293 w 398"/>
                <a:gd name="T59" fmla="*/ 264665 h 518"/>
                <a:gd name="T60" fmla="*/ 22831 w 398"/>
                <a:gd name="T61" fmla="*/ 269875 h 518"/>
                <a:gd name="T62" fmla="*/ 24985 w 398"/>
                <a:gd name="T63" fmla="*/ 256850 h 518"/>
                <a:gd name="T64" fmla="*/ 30585 w 398"/>
                <a:gd name="T65" fmla="*/ 247993 h 518"/>
                <a:gd name="T66" fmla="*/ 49109 w 398"/>
                <a:gd name="T67" fmla="*/ 238615 h 518"/>
                <a:gd name="T68" fmla="*/ 74094 w 398"/>
                <a:gd name="T69" fmla="*/ 228716 h 518"/>
                <a:gd name="T70" fmla="*/ 77109 w 398"/>
                <a:gd name="T71" fmla="*/ 221944 h 518"/>
                <a:gd name="T72" fmla="*/ 73663 w 398"/>
                <a:gd name="T73" fmla="*/ 226111 h 518"/>
                <a:gd name="T74" fmla="*/ 47816 w 398"/>
                <a:gd name="T75" fmla="*/ 225069 h 518"/>
                <a:gd name="T76" fmla="*/ 32739 w 398"/>
                <a:gd name="T77" fmla="*/ 218818 h 518"/>
                <a:gd name="T78" fmla="*/ 33170 w 398"/>
                <a:gd name="T79" fmla="*/ 209440 h 518"/>
                <a:gd name="T80" fmla="*/ 40924 w 398"/>
                <a:gd name="T81" fmla="*/ 203709 h 518"/>
                <a:gd name="T82" fmla="*/ 37478 w 398"/>
                <a:gd name="T83" fmla="*/ 183390 h 518"/>
                <a:gd name="T84" fmla="*/ 45232 w 398"/>
                <a:gd name="T85" fmla="*/ 171407 h 518"/>
                <a:gd name="T86" fmla="*/ 66340 w 398"/>
                <a:gd name="T87" fmla="*/ 160987 h 518"/>
                <a:gd name="T88" fmla="*/ 74094 w 398"/>
                <a:gd name="T89" fmla="*/ 151609 h 518"/>
                <a:gd name="T90" fmla="*/ 63755 w 398"/>
                <a:gd name="T91" fmla="*/ 141189 h 518"/>
                <a:gd name="T92" fmla="*/ 59878 w 398"/>
                <a:gd name="T93" fmla="*/ 128686 h 518"/>
                <a:gd name="T94" fmla="*/ 40493 w 398"/>
                <a:gd name="T95" fmla="*/ 124518 h 518"/>
                <a:gd name="T96" fmla="*/ 34462 w 398"/>
                <a:gd name="T97" fmla="*/ 112535 h 518"/>
                <a:gd name="T98" fmla="*/ 38770 w 398"/>
                <a:gd name="T99" fmla="*/ 100031 h 518"/>
                <a:gd name="T100" fmla="*/ 43078 w 398"/>
                <a:gd name="T101" fmla="*/ 87527 h 518"/>
                <a:gd name="T102" fmla="*/ 31447 w 398"/>
                <a:gd name="T103" fmla="*/ 96905 h 518"/>
                <a:gd name="T104" fmla="*/ 9477 w 398"/>
                <a:gd name="T105" fmla="*/ 84401 h 518"/>
                <a:gd name="T106" fmla="*/ 8616 w 398"/>
                <a:gd name="T107" fmla="*/ 73981 h 518"/>
                <a:gd name="T108" fmla="*/ 6031 w 398"/>
                <a:gd name="T109" fmla="*/ 68250 h 518"/>
                <a:gd name="T110" fmla="*/ 8616 w 398"/>
                <a:gd name="T111" fmla="*/ 32823 h 518"/>
                <a:gd name="T112" fmla="*/ 8185 w 398"/>
                <a:gd name="T113" fmla="*/ 25529 h 518"/>
                <a:gd name="T114" fmla="*/ 1723 w 398"/>
                <a:gd name="T115" fmla="*/ 20840 h 518"/>
                <a:gd name="T116" fmla="*/ 8616 w 398"/>
                <a:gd name="T117" fmla="*/ 9899 h 518"/>
                <a:gd name="T118" fmla="*/ 1292 w 398"/>
                <a:gd name="T119" fmla="*/ 4689 h 5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xmlns="" id="{D2AAF978-27A7-501B-D325-812B56315C58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4219326" y="1374955"/>
              <a:ext cx="146951" cy="55779"/>
            </a:xfrm>
            <a:custGeom>
              <a:avLst/>
              <a:gdLst>
                <a:gd name="T0" fmla="*/ 84486 w 382"/>
                <a:gd name="T1" fmla="*/ 10812 h 148"/>
                <a:gd name="T2" fmla="*/ 78706 w 382"/>
                <a:gd name="T3" fmla="*/ 15961 h 148"/>
                <a:gd name="T4" fmla="*/ 77372 w 382"/>
                <a:gd name="T5" fmla="*/ 23169 h 148"/>
                <a:gd name="T6" fmla="*/ 74704 w 382"/>
                <a:gd name="T7" fmla="*/ 27288 h 148"/>
                <a:gd name="T8" fmla="*/ 73814 w 382"/>
                <a:gd name="T9" fmla="*/ 31407 h 148"/>
                <a:gd name="T10" fmla="*/ 78706 w 382"/>
                <a:gd name="T11" fmla="*/ 38100 h 148"/>
                <a:gd name="T12" fmla="*/ 68923 w 382"/>
                <a:gd name="T13" fmla="*/ 44278 h 148"/>
                <a:gd name="T14" fmla="*/ 48024 w 382"/>
                <a:gd name="T15" fmla="*/ 49427 h 148"/>
                <a:gd name="T16" fmla="*/ 34239 w 382"/>
                <a:gd name="T17" fmla="*/ 49942 h 148"/>
                <a:gd name="T18" fmla="*/ 23123 w 382"/>
                <a:gd name="T19" fmla="*/ 48912 h 148"/>
                <a:gd name="T20" fmla="*/ 1779 w 382"/>
                <a:gd name="T21" fmla="*/ 57150 h 148"/>
                <a:gd name="T22" fmla="*/ 0 w 382"/>
                <a:gd name="T23" fmla="*/ 66418 h 148"/>
                <a:gd name="T24" fmla="*/ 1779 w 382"/>
                <a:gd name="T25" fmla="*/ 67447 h 148"/>
                <a:gd name="T26" fmla="*/ 5336 w 382"/>
                <a:gd name="T27" fmla="*/ 67447 h 148"/>
                <a:gd name="T28" fmla="*/ 22678 w 382"/>
                <a:gd name="T29" fmla="*/ 66418 h 148"/>
                <a:gd name="T30" fmla="*/ 50692 w 382"/>
                <a:gd name="T31" fmla="*/ 65388 h 148"/>
                <a:gd name="T32" fmla="*/ 54694 w 382"/>
                <a:gd name="T33" fmla="*/ 68992 h 148"/>
                <a:gd name="T34" fmla="*/ 60919 w 382"/>
                <a:gd name="T35" fmla="*/ 72596 h 148"/>
                <a:gd name="T36" fmla="*/ 70702 w 382"/>
                <a:gd name="T37" fmla="*/ 75685 h 148"/>
                <a:gd name="T38" fmla="*/ 82263 w 382"/>
                <a:gd name="T39" fmla="*/ 76200 h 148"/>
                <a:gd name="T40" fmla="*/ 93380 w 382"/>
                <a:gd name="T41" fmla="*/ 76200 h 148"/>
                <a:gd name="T42" fmla="*/ 103607 w 382"/>
                <a:gd name="T43" fmla="*/ 76200 h 148"/>
                <a:gd name="T44" fmla="*/ 113390 w 382"/>
                <a:gd name="T45" fmla="*/ 76200 h 148"/>
                <a:gd name="T46" fmla="*/ 122283 w 382"/>
                <a:gd name="T47" fmla="*/ 73626 h 148"/>
                <a:gd name="T48" fmla="*/ 133844 w 382"/>
                <a:gd name="T49" fmla="*/ 68992 h 148"/>
                <a:gd name="T50" fmla="*/ 148518 w 382"/>
                <a:gd name="T51" fmla="*/ 62299 h 148"/>
                <a:gd name="T52" fmla="*/ 156967 w 382"/>
                <a:gd name="T53" fmla="*/ 53031 h 148"/>
                <a:gd name="T54" fmla="*/ 165415 w 382"/>
                <a:gd name="T55" fmla="*/ 37070 h 148"/>
                <a:gd name="T56" fmla="*/ 167194 w 382"/>
                <a:gd name="T57" fmla="*/ 26773 h 148"/>
                <a:gd name="T58" fmla="*/ 161413 w 382"/>
                <a:gd name="T59" fmla="*/ 22654 h 148"/>
                <a:gd name="T60" fmla="*/ 158745 w 382"/>
                <a:gd name="T61" fmla="*/ 16476 h 148"/>
                <a:gd name="T62" fmla="*/ 154299 w 382"/>
                <a:gd name="T63" fmla="*/ 11327 h 148"/>
                <a:gd name="T64" fmla="*/ 148518 w 382"/>
                <a:gd name="T65" fmla="*/ 8753 h 148"/>
                <a:gd name="T66" fmla="*/ 141848 w 382"/>
                <a:gd name="T67" fmla="*/ 4119 h 148"/>
                <a:gd name="T68" fmla="*/ 90267 w 382"/>
                <a:gd name="T69" fmla="*/ 9268 h 14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xmlns="" id="{98AF1D39-7F29-A87D-4EE5-9024D6880623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5510299" y="1264560"/>
              <a:ext cx="1108313" cy="759985"/>
            </a:xfrm>
            <a:custGeom>
              <a:avLst/>
              <a:gdLst>
                <a:gd name="T0" fmla="*/ 162757 w 2936"/>
                <a:gd name="T1" fmla="*/ 560736 h 1983"/>
                <a:gd name="T2" fmla="*/ 167993 w 2936"/>
                <a:gd name="T3" fmla="*/ 618851 h 1983"/>
                <a:gd name="T4" fmla="*/ 208573 w 2936"/>
                <a:gd name="T5" fmla="*/ 710998 h 1983"/>
                <a:gd name="T6" fmla="*/ 335114 w 2936"/>
                <a:gd name="T7" fmla="*/ 781156 h 1983"/>
                <a:gd name="T8" fmla="*/ 452055 w 2936"/>
                <a:gd name="T9" fmla="*/ 812569 h 1983"/>
                <a:gd name="T10" fmla="*/ 490453 w 2936"/>
                <a:gd name="T11" fmla="*/ 800527 h 1983"/>
                <a:gd name="T12" fmla="*/ 611321 w 2936"/>
                <a:gd name="T13" fmla="*/ 758119 h 1983"/>
                <a:gd name="T14" fmla="*/ 675027 w 2936"/>
                <a:gd name="T15" fmla="*/ 807334 h 1983"/>
                <a:gd name="T16" fmla="*/ 688118 w 2936"/>
                <a:gd name="T17" fmla="*/ 888486 h 1983"/>
                <a:gd name="T18" fmla="*/ 701208 w 2936"/>
                <a:gd name="T19" fmla="*/ 928277 h 1983"/>
                <a:gd name="T20" fmla="*/ 744406 w 2936"/>
                <a:gd name="T21" fmla="*/ 1001052 h 1983"/>
                <a:gd name="T22" fmla="*/ 803749 w 2936"/>
                <a:gd name="T23" fmla="*/ 973303 h 1983"/>
                <a:gd name="T24" fmla="*/ 904109 w 2936"/>
                <a:gd name="T25" fmla="*/ 970685 h 1983"/>
                <a:gd name="T26" fmla="*/ 988324 w 2936"/>
                <a:gd name="T27" fmla="*/ 1038225 h 1983"/>
                <a:gd name="T28" fmla="*/ 1028468 w 2936"/>
                <a:gd name="T29" fmla="*/ 1000005 h 1983"/>
                <a:gd name="T30" fmla="*/ 1072102 w 2936"/>
                <a:gd name="T31" fmla="*/ 976968 h 1983"/>
                <a:gd name="T32" fmla="*/ 1110937 w 2936"/>
                <a:gd name="T33" fmla="*/ 956026 h 1983"/>
                <a:gd name="T34" fmla="*/ 1170716 w 2936"/>
                <a:gd name="T35" fmla="*/ 906811 h 1983"/>
                <a:gd name="T36" fmla="*/ 1186425 w 2936"/>
                <a:gd name="T37" fmla="*/ 846077 h 1983"/>
                <a:gd name="T38" fmla="*/ 1219151 w 2936"/>
                <a:gd name="T39" fmla="*/ 743459 h 1983"/>
                <a:gd name="T40" fmla="*/ 1180316 w 2936"/>
                <a:gd name="T41" fmla="*/ 719899 h 1983"/>
                <a:gd name="T42" fmla="*/ 1151954 w 2936"/>
                <a:gd name="T43" fmla="*/ 666495 h 1983"/>
                <a:gd name="T44" fmla="*/ 1164608 w 2936"/>
                <a:gd name="T45" fmla="*/ 642412 h 1983"/>
                <a:gd name="T46" fmla="*/ 1104828 w 2936"/>
                <a:gd name="T47" fmla="*/ 555500 h 1983"/>
                <a:gd name="T48" fmla="*/ 1127082 w 2936"/>
                <a:gd name="T49" fmla="*/ 519898 h 1983"/>
                <a:gd name="T50" fmla="*/ 1070357 w 2936"/>
                <a:gd name="T51" fmla="*/ 503667 h 1983"/>
                <a:gd name="T52" fmla="*/ 1017995 w 2936"/>
                <a:gd name="T53" fmla="*/ 464400 h 1983"/>
                <a:gd name="T54" fmla="*/ 1033267 w 2936"/>
                <a:gd name="T55" fmla="*/ 437698 h 1983"/>
                <a:gd name="T56" fmla="*/ 1065993 w 2936"/>
                <a:gd name="T57" fmla="*/ 395813 h 1983"/>
                <a:gd name="T58" fmla="*/ 1089120 w 2936"/>
                <a:gd name="T59" fmla="*/ 408379 h 1983"/>
                <a:gd name="T60" fmla="*/ 1104828 w 2936"/>
                <a:gd name="T61" fmla="*/ 446599 h 1983"/>
                <a:gd name="T62" fmla="*/ 1173335 w 2936"/>
                <a:gd name="T63" fmla="*/ 399478 h 1983"/>
                <a:gd name="T64" fmla="*/ 1233987 w 2936"/>
                <a:gd name="T65" fmla="*/ 352358 h 1983"/>
                <a:gd name="T66" fmla="*/ 1259295 w 2936"/>
                <a:gd name="T67" fmla="*/ 295289 h 1983"/>
                <a:gd name="T68" fmla="*/ 1277621 w 2936"/>
                <a:gd name="T69" fmla="*/ 258640 h 1983"/>
                <a:gd name="T70" fmla="*/ 1262349 w 2936"/>
                <a:gd name="T71" fmla="*/ 160734 h 1983"/>
                <a:gd name="T72" fmla="*/ 1187734 w 2936"/>
                <a:gd name="T73" fmla="*/ 178535 h 1983"/>
                <a:gd name="T74" fmla="*/ 1073848 w 2936"/>
                <a:gd name="T75" fmla="*/ 107330 h 1983"/>
                <a:gd name="T76" fmla="*/ 1003596 w 2936"/>
                <a:gd name="T77" fmla="*/ 46597 h 1983"/>
                <a:gd name="T78" fmla="*/ 863965 w 2936"/>
                <a:gd name="T79" fmla="*/ 27749 h 1983"/>
                <a:gd name="T80" fmla="*/ 875747 w 2936"/>
                <a:gd name="T81" fmla="*/ 81152 h 1983"/>
                <a:gd name="T82" fmla="*/ 851747 w 2936"/>
                <a:gd name="T83" fmla="*/ 118849 h 1983"/>
                <a:gd name="T84" fmla="*/ 883601 w 2936"/>
                <a:gd name="T85" fmla="*/ 183247 h 1983"/>
                <a:gd name="T86" fmla="*/ 936399 w 2936"/>
                <a:gd name="T87" fmla="*/ 193718 h 1983"/>
                <a:gd name="T88" fmla="*/ 890582 w 2936"/>
                <a:gd name="T89" fmla="*/ 238221 h 1983"/>
                <a:gd name="T90" fmla="*/ 825130 w 2936"/>
                <a:gd name="T91" fmla="*/ 298431 h 1983"/>
                <a:gd name="T92" fmla="*/ 711244 w 2936"/>
                <a:gd name="T93" fmla="*/ 373300 h 1983"/>
                <a:gd name="T94" fmla="*/ 535833 w 2936"/>
                <a:gd name="T95" fmla="*/ 345028 h 1983"/>
                <a:gd name="T96" fmla="*/ 452055 w 2936"/>
                <a:gd name="T97" fmla="*/ 293195 h 1983"/>
                <a:gd name="T98" fmla="*/ 328132 w 2936"/>
                <a:gd name="T99" fmla="*/ 259164 h 1983"/>
                <a:gd name="T100" fmla="*/ 299333 w 2936"/>
                <a:gd name="T101" fmla="*/ 198430 h 1983"/>
                <a:gd name="T102" fmla="*/ 223409 w 2936"/>
                <a:gd name="T103" fmla="*/ 156545 h 1983"/>
                <a:gd name="T104" fmla="*/ 187629 w 2936"/>
                <a:gd name="T105" fmla="*/ 162828 h 1983"/>
                <a:gd name="T106" fmla="*/ 184574 w 2936"/>
                <a:gd name="T107" fmla="*/ 203142 h 1983"/>
                <a:gd name="T108" fmla="*/ 133086 w 2936"/>
                <a:gd name="T109" fmla="*/ 200001 h 1983"/>
                <a:gd name="T110" fmla="*/ 99051 w 2936"/>
                <a:gd name="T111" fmla="*/ 265446 h 1983"/>
                <a:gd name="T112" fmla="*/ 113450 w 2936"/>
                <a:gd name="T113" fmla="*/ 311520 h 1983"/>
                <a:gd name="T114" fmla="*/ 109959 w 2936"/>
                <a:gd name="T115" fmla="*/ 374871 h 1983"/>
                <a:gd name="T116" fmla="*/ 51489 w 2936"/>
                <a:gd name="T117" fmla="*/ 408903 h 1983"/>
                <a:gd name="T118" fmla="*/ 17454 w 2936"/>
                <a:gd name="T119" fmla="*/ 468065 h 198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xmlns="" id="{FF0616D4-C017-A285-661A-D23DB6147003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4378638" y="928726"/>
              <a:ext cx="190899" cy="199874"/>
            </a:xfrm>
            <a:custGeom>
              <a:avLst/>
              <a:gdLst>
                <a:gd name="T0" fmla="*/ 151048 w 504"/>
                <a:gd name="T1" fmla="*/ 256896 h 524"/>
                <a:gd name="T2" fmla="*/ 112082 w 504"/>
                <a:gd name="T3" fmla="*/ 263149 h 524"/>
                <a:gd name="T4" fmla="*/ 102888 w 504"/>
                <a:gd name="T5" fmla="*/ 269402 h 524"/>
                <a:gd name="T6" fmla="*/ 91943 w 504"/>
                <a:gd name="T7" fmla="*/ 272008 h 524"/>
                <a:gd name="T8" fmla="*/ 67862 w 504"/>
                <a:gd name="T9" fmla="*/ 273050 h 524"/>
                <a:gd name="T10" fmla="*/ 46409 w 504"/>
                <a:gd name="T11" fmla="*/ 272008 h 524"/>
                <a:gd name="T12" fmla="*/ 41155 w 504"/>
                <a:gd name="T13" fmla="*/ 268881 h 524"/>
                <a:gd name="T14" fmla="*/ 31085 w 504"/>
                <a:gd name="T15" fmla="*/ 265234 h 524"/>
                <a:gd name="T16" fmla="*/ 15762 w 504"/>
                <a:gd name="T17" fmla="*/ 258460 h 524"/>
                <a:gd name="T18" fmla="*/ 9632 w 504"/>
                <a:gd name="T19" fmla="*/ 253249 h 524"/>
                <a:gd name="T20" fmla="*/ 8756 w 504"/>
                <a:gd name="T21" fmla="*/ 248559 h 524"/>
                <a:gd name="T22" fmla="*/ 11821 w 504"/>
                <a:gd name="T23" fmla="*/ 241264 h 524"/>
                <a:gd name="T24" fmla="*/ 14010 w 504"/>
                <a:gd name="T25" fmla="*/ 231884 h 524"/>
                <a:gd name="T26" fmla="*/ 12259 w 504"/>
                <a:gd name="T27" fmla="*/ 225110 h 524"/>
                <a:gd name="T28" fmla="*/ 4378 w 504"/>
                <a:gd name="T29" fmla="*/ 217294 h 524"/>
                <a:gd name="T30" fmla="*/ 438 w 504"/>
                <a:gd name="T31" fmla="*/ 212083 h 524"/>
                <a:gd name="T32" fmla="*/ 438 w 504"/>
                <a:gd name="T33" fmla="*/ 203745 h 524"/>
                <a:gd name="T34" fmla="*/ 7443 w 504"/>
                <a:gd name="T35" fmla="*/ 187592 h 524"/>
                <a:gd name="T36" fmla="*/ 21015 w 504"/>
                <a:gd name="T37" fmla="*/ 170917 h 524"/>
                <a:gd name="T38" fmla="*/ 37653 w 504"/>
                <a:gd name="T39" fmla="*/ 155805 h 524"/>
                <a:gd name="T40" fmla="*/ 54290 w 504"/>
                <a:gd name="T41" fmla="*/ 145383 h 524"/>
                <a:gd name="T42" fmla="*/ 70051 w 504"/>
                <a:gd name="T43" fmla="*/ 141736 h 524"/>
                <a:gd name="T44" fmla="*/ 67862 w 504"/>
                <a:gd name="T45" fmla="*/ 137567 h 524"/>
                <a:gd name="T46" fmla="*/ 62171 w 504"/>
                <a:gd name="T47" fmla="*/ 134962 h 524"/>
                <a:gd name="T48" fmla="*/ 58230 w 504"/>
                <a:gd name="T49" fmla="*/ 130793 h 524"/>
                <a:gd name="T50" fmla="*/ 55603 w 504"/>
                <a:gd name="T51" fmla="*/ 119329 h 524"/>
                <a:gd name="T52" fmla="*/ 54290 w 504"/>
                <a:gd name="T53" fmla="*/ 101612 h 524"/>
                <a:gd name="T54" fmla="*/ 50349 w 504"/>
                <a:gd name="T55" fmla="*/ 83895 h 524"/>
                <a:gd name="T56" fmla="*/ 43782 w 504"/>
                <a:gd name="T57" fmla="*/ 69826 h 524"/>
                <a:gd name="T58" fmla="*/ 29772 w 504"/>
                <a:gd name="T59" fmla="*/ 46898 h 524"/>
                <a:gd name="T60" fmla="*/ 37653 w 504"/>
                <a:gd name="T61" fmla="*/ 31265 h 524"/>
                <a:gd name="T62" fmla="*/ 46409 w 504"/>
                <a:gd name="T63" fmla="*/ 29181 h 524"/>
                <a:gd name="T64" fmla="*/ 56917 w 504"/>
                <a:gd name="T65" fmla="*/ 30223 h 524"/>
                <a:gd name="T66" fmla="*/ 60857 w 504"/>
                <a:gd name="T67" fmla="*/ 31786 h 524"/>
                <a:gd name="T68" fmla="*/ 70051 w 504"/>
                <a:gd name="T69" fmla="*/ 29181 h 524"/>
                <a:gd name="T70" fmla="*/ 71803 w 504"/>
                <a:gd name="T71" fmla="*/ 17196 h 524"/>
                <a:gd name="T72" fmla="*/ 74867 w 504"/>
                <a:gd name="T73" fmla="*/ 6774 h 524"/>
                <a:gd name="T74" fmla="*/ 81873 w 504"/>
                <a:gd name="T75" fmla="*/ 0 h 524"/>
                <a:gd name="T76" fmla="*/ 98510 w 504"/>
                <a:gd name="T77" fmla="*/ 0 h 524"/>
                <a:gd name="T78" fmla="*/ 111207 w 504"/>
                <a:gd name="T79" fmla="*/ 4169 h 524"/>
                <a:gd name="T80" fmla="*/ 122590 w 504"/>
                <a:gd name="T81" fmla="*/ 10943 h 524"/>
                <a:gd name="T82" fmla="*/ 122152 w 504"/>
                <a:gd name="T83" fmla="*/ 32307 h 524"/>
                <a:gd name="T84" fmla="*/ 127844 w 504"/>
                <a:gd name="T85" fmla="*/ 40124 h 524"/>
                <a:gd name="T86" fmla="*/ 139665 w 504"/>
                <a:gd name="T87" fmla="*/ 48982 h 524"/>
                <a:gd name="T88" fmla="*/ 155864 w 504"/>
                <a:gd name="T89" fmla="*/ 62009 h 524"/>
                <a:gd name="T90" fmla="*/ 151486 w 504"/>
                <a:gd name="T91" fmla="*/ 70347 h 524"/>
                <a:gd name="T92" fmla="*/ 148859 w 504"/>
                <a:gd name="T93" fmla="*/ 79726 h 524"/>
                <a:gd name="T94" fmla="*/ 150611 w 504"/>
                <a:gd name="T95" fmla="*/ 91711 h 524"/>
                <a:gd name="T96" fmla="*/ 158929 w 504"/>
                <a:gd name="T97" fmla="*/ 104218 h 524"/>
                <a:gd name="T98" fmla="*/ 165497 w 504"/>
                <a:gd name="T99" fmla="*/ 109428 h 524"/>
                <a:gd name="T100" fmla="*/ 168999 w 504"/>
                <a:gd name="T101" fmla="*/ 133398 h 524"/>
                <a:gd name="T102" fmla="*/ 176880 w 504"/>
                <a:gd name="T103" fmla="*/ 150594 h 524"/>
                <a:gd name="T104" fmla="*/ 189139 w 504"/>
                <a:gd name="T105" fmla="*/ 164143 h 524"/>
                <a:gd name="T106" fmla="*/ 202711 w 504"/>
                <a:gd name="T107" fmla="*/ 174564 h 524"/>
                <a:gd name="T108" fmla="*/ 204025 w 504"/>
                <a:gd name="T109" fmla="*/ 203224 h 524"/>
                <a:gd name="T110" fmla="*/ 173815 w 504"/>
                <a:gd name="T111" fmla="*/ 238137 h 5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xmlns="" id="{C227E861-F3A2-553A-F1A1-52888EE25104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4150658" y="1234347"/>
              <a:ext cx="157938" cy="174309"/>
            </a:xfrm>
            <a:custGeom>
              <a:avLst/>
              <a:gdLst>
                <a:gd name="T0" fmla="*/ 177560 w 438"/>
                <a:gd name="T1" fmla="*/ 100319 h 451"/>
                <a:gd name="T2" fmla="*/ 170058 w 438"/>
                <a:gd name="T3" fmla="*/ 67583 h 451"/>
                <a:gd name="T4" fmla="*/ 161305 w 438"/>
                <a:gd name="T5" fmla="*/ 44879 h 451"/>
                <a:gd name="T6" fmla="*/ 152969 w 438"/>
                <a:gd name="T7" fmla="*/ 32736 h 451"/>
                <a:gd name="T8" fmla="*/ 148384 w 438"/>
                <a:gd name="T9" fmla="*/ 30624 h 451"/>
                <a:gd name="T10" fmla="*/ 139631 w 438"/>
                <a:gd name="T11" fmla="*/ 23760 h 451"/>
                <a:gd name="T12" fmla="*/ 130878 w 438"/>
                <a:gd name="T13" fmla="*/ 20064 h 451"/>
                <a:gd name="T14" fmla="*/ 122125 w 438"/>
                <a:gd name="T15" fmla="*/ 20064 h 451"/>
                <a:gd name="T16" fmla="*/ 115039 w 438"/>
                <a:gd name="T17" fmla="*/ 22176 h 451"/>
                <a:gd name="T18" fmla="*/ 104619 w 438"/>
                <a:gd name="T19" fmla="*/ 30624 h 451"/>
                <a:gd name="T20" fmla="*/ 97950 w 438"/>
                <a:gd name="T21" fmla="*/ 35376 h 451"/>
                <a:gd name="T22" fmla="*/ 90447 w 438"/>
                <a:gd name="T23" fmla="*/ 34848 h 451"/>
                <a:gd name="T24" fmla="*/ 72525 w 438"/>
                <a:gd name="T25" fmla="*/ 19536 h 451"/>
                <a:gd name="T26" fmla="*/ 47099 w 438"/>
                <a:gd name="T27" fmla="*/ 0 h 451"/>
                <a:gd name="T28" fmla="*/ 39597 w 438"/>
                <a:gd name="T29" fmla="*/ 12144 h 451"/>
                <a:gd name="T30" fmla="*/ 38763 w 438"/>
                <a:gd name="T31" fmla="*/ 22704 h 451"/>
                <a:gd name="T32" fmla="*/ 40847 w 438"/>
                <a:gd name="T33" fmla="*/ 27456 h 451"/>
                <a:gd name="T34" fmla="*/ 49600 w 438"/>
                <a:gd name="T35" fmla="*/ 36432 h 451"/>
                <a:gd name="T36" fmla="*/ 41264 w 438"/>
                <a:gd name="T37" fmla="*/ 38544 h 451"/>
                <a:gd name="T38" fmla="*/ 27509 w 438"/>
                <a:gd name="T39" fmla="*/ 49103 h 451"/>
                <a:gd name="T40" fmla="*/ 24175 w 438"/>
                <a:gd name="T41" fmla="*/ 62831 h 451"/>
                <a:gd name="T42" fmla="*/ 18756 w 438"/>
                <a:gd name="T43" fmla="*/ 72863 h 451"/>
                <a:gd name="T44" fmla="*/ 14588 w 438"/>
                <a:gd name="T45" fmla="*/ 82367 h 451"/>
                <a:gd name="T46" fmla="*/ 13755 w 438"/>
                <a:gd name="T47" fmla="*/ 94511 h 451"/>
                <a:gd name="T48" fmla="*/ 2918 w 438"/>
                <a:gd name="T49" fmla="*/ 125662 h 451"/>
                <a:gd name="T50" fmla="*/ 6252 w 438"/>
                <a:gd name="T51" fmla="*/ 129886 h 451"/>
                <a:gd name="T52" fmla="*/ 10837 w 438"/>
                <a:gd name="T53" fmla="*/ 130414 h 451"/>
                <a:gd name="T54" fmla="*/ 13755 w 438"/>
                <a:gd name="T55" fmla="*/ 182686 h 451"/>
                <a:gd name="T56" fmla="*/ 38763 w 438"/>
                <a:gd name="T57" fmla="*/ 186382 h 451"/>
                <a:gd name="T58" fmla="*/ 43348 w 438"/>
                <a:gd name="T59" fmla="*/ 198525 h 451"/>
                <a:gd name="T60" fmla="*/ 37096 w 438"/>
                <a:gd name="T61" fmla="*/ 224397 h 451"/>
                <a:gd name="T62" fmla="*/ 45432 w 438"/>
                <a:gd name="T63" fmla="*/ 236013 h 451"/>
                <a:gd name="T64" fmla="*/ 63355 w 438"/>
                <a:gd name="T65" fmla="*/ 236013 h 451"/>
                <a:gd name="T66" fmla="*/ 85446 w 438"/>
                <a:gd name="T67" fmla="*/ 234429 h 451"/>
                <a:gd name="T68" fmla="*/ 115039 w 438"/>
                <a:gd name="T69" fmla="*/ 235485 h 451"/>
                <a:gd name="T70" fmla="*/ 142965 w 438"/>
                <a:gd name="T71" fmla="*/ 233373 h 451"/>
                <a:gd name="T72" fmla="*/ 155053 w 438"/>
                <a:gd name="T73" fmla="*/ 228093 h 451"/>
                <a:gd name="T74" fmla="*/ 149634 w 438"/>
                <a:gd name="T75" fmla="*/ 218061 h 451"/>
                <a:gd name="T76" fmla="*/ 153802 w 438"/>
                <a:gd name="T77" fmla="*/ 212781 h 451"/>
                <a:gd name="T78" fmla="*/ 155053 w 438"/>
                <a:gd name="T79" fmla="*/ 201693 h 451"/>
                <a:gd name="T80" fmla="*/ 158387 w 438"/>
                <a:gd name="T81" fmla="*/ 193774 h 451"/>
                <a:gd name="T82" fmla="*/ 142965 w 438"/>
                <a:gd name="T83" fmla="*/ 181630 h 451"/>
                <a:gd name="T84" fmla="*/ 135463 w 438"/>
                <a:gd name="T85" fmla="*/ 170542 h 451"/>
                <a:gd name="T86" fmla="*/ 129627 w 438"/>
                <a:gd name="T87" fmla="*/ 155230 h 451"/>
                <a:gd name="T88" fmla="*/ 122542 w 438"/>
                <a:gd name="T89" fmla="*/ 146254 h 451"/>
                <a:gd name="T90" fmla="*/ 130878 w 438"/>
                <a:gd name="T91" fmla="*/ 145198 h 451"/>
                <a:gd name="T92" fmla="*/ 144216 w 438"/>
                <a:gd name="T93" fmla="*/ 143086 h 451"/>
                <a:gd name="T94" fmla="*/ 153802 w 438"/>
                <a:gd name="T95" fmla="*/ 137278 h 451"/>
                <a:gd name="T96" fmla="*/ 169641 w 438"/>
                <a:gd name="T97" fmla="*/ 126718 h 451"/>
                <a:gd name="T98" fmla="*/ 182562 w 438"/>
                <a:gd name="T99" fmla="*/ 124078 h 45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xmlns="" id="{F96A7090-AAC1-D16B-2992-BA4652D3C86A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4172633" y="1422600"/>
              <a:ext cx="216993" cy="201036"/>
            </a:xfrm>
            <a:custGeom>
              <a:avLst/>
              <a:gdLst>
                <a:gd name="T0" fmla="*/ 141903 w 578"/>
                <a:gd name="T1" fmla="*/ 46122 h 524"/>
                <a:gd name="T2" fmla="*/ 135393 w 578"/>
                <a:gd name="T3" fmla="*/ 44550 h 524"/>
                <a:gd name="T4" fmla="*/ 130620 w 578"/>
                <a:gd name="T5" fmla="*/ 41405 h 524"/>
                <a:gd name="T6" fmla="*/ 119337 w 578"/>
                <a:gd name="T7" fmla="*/ 34592 h 524"/>
                <a:gd name="T8" fmla="*/ 108922 w 578"/>
                <a:gd name="T9" fmla="*/ 40881 h 524"/>
                <a:gd name="T10" fmla="*/ 106753 w 578"/>
                <a:gd name="T11" fmla="*/ 55032 h 524"/>
                <a:gd name="T12" fmla="*/ 109790 w 578"/>
                <a:gd name="T13" fmla="*/ 80190 h 524"/>
                <a:gd name="T14" fmla="*/ 117167 w 578"/>
                <a:gd name="T15" fmla="*/ 90148 h 524"/>
                <a:gd name="T16" fmla="*/ 124545 w 578"/>
                <a:gd name="T17" fmla="*/ 93293 h 524"/>
                <a:gd name="T18" fmla="*/ 129318 w 578"/>
                <a:gd name="T19" fmla="*/ 100106 h 524"/>
                <a:gd name="T20" fmla="*/ 152318 w 578"/>
                <a:gd name="T21" fmla="*/ 117926 h 524"/>
                <a:gd name="T22" fmla="*/ 194845 w 578"/>
                <a:gd name="T23" fmla="*/ 161952 h 524"/>
                <a:gd name="T24" fmla="*/ 206996 w 578"/>
                <a:gd name="T25" fmla="*/ 168765 h 524"/>
                <a:gd name="T26" fmla="*/ 218712 w 578"/>
                <a:gd name="T27" fmla="*/ 171910 h 524"/>
                <a:gd name="T28" fmla="*/ 232599 w 578"/>
                <a:gd name="T29" fmla="*/ 186585 h 524"/>
                <a:gd name="T30" fmla="*/ 250825 w 578"/>
                <a:gd name="T31" fmla="*/ 197068 h 524"/>
                <a:gd name="T32" fmla="*/ 245184 w 578"/>
                <a:gd name="T33" fmla="*/ 213315 h 524"/>
                <a:gd name="T34" fmla="*/ 228259 w 578"/>
                <a:gd name="T35" fmla="*/ 200737 h 524"/>
                <a:gd name="T36" fmla="*/ 220448 w 578"/>
                <a:gd name="T37" fmla="*/ 197068 h 524"/>
                <a:gd name="T38" fmla="*/ 216109 w 578"/>
                <a:gd name="T39" fmla="*/ 208074 h 524"/>
                <a:gd name="T40" fmla="*/ 219580 w 578"/>
                <a:gd name="T41" fmla="*/ 223274 h 524"/>
                <a:gd name="T42" fmla="*/ 223052 w 578"/>
                <a:gd name="T43" fmla="*/ 231659 h 524"/>
                <a:gd name="T44" fmla="*/ 216977 w 578"/>
                <a:gd name="T45" fmla="*/ 245286 h 524"/>
                <a:gd name="T46" fmla="*/ 209599 w 578"/>
                <a:gd name="T47" fmla="*/ 264679 h 524"/>
                <a:gd name="T48" fmla="*/ 201788 w 578"/>
                <a:gd name="T49" fmla="*/ 273589 h 524"/>
                <a:gd name="T50" fmla="*/ 189204 w 578"/>
                <a:gd name="T51" fmla="*/ 264679 h 524"/>
                <a:gd name="T52" fmla="*/ 197883 w 578"/>
                <a:gd name="T53" fmla="*/ 253672 h 524"/>
                <a:gd name="T54" fmla="*/ 201788 w 578"/>
                <a:gd name="T55" fmla="*/ 244762 h 524"/>
                <a:gd name="T56" fmla="*/ 200052 w 578"/>
                <a:gd name="T57" fmla="*/ 231135 h 524"/>
                <a:gd name="T58" fmla="*/ 185298 w 578"/>
                <a:gd name="T59" fmla="*/ 207026 h 524"/>
                <a:gd name="T60" fmla="*/ 167072 w 578"/>
                <a:gd name="T61" fmla="*/ 193399 h 524"/>
                <a:gd name="T62" fmla="*/ 154053 w 578"/>
                <a:gd name="T63" fmla="*/ 186585 h 524"/>
                <a:gd name="T64" fmla="*/ 137997 w 578"/>
                <a:gd name="T65" fmla="*/ 172958 h 524"/>
                <a:gd name="T66" fmla="*/ 116299 w 578"/>
                <a:gd name="T67" fmla="*/ 165097 h 524"/>
                <a:gd name="T68" fmla="*/ 94602 w 578"/>
                <a:gd name="T69" fmla="*/ 149373 h 524"/>
                <a:gd name="T70" fmla="*/ 70300 w 578"/>
                <a:gd name="T71" fmla="*/ 120023 h 524"/>
                <a:gd name="T72" fmla="*/ 54678 w 578"/>
                <a:gd name="T73" fmla="*/ 88052 h 524"/>
                <a:gd name="T74" fmla="*/ 33414 w 578"/>
                <a:gd name="T75" fmla="*/ 80714 h 524"/>
                <a:gd name="T76" fmla="*/ 22132 w 578"/>
                <a:gd name="T77" fmla="*/ 82286 h 524"/>
                <a:gd name="T78" fmla="*/ 6509 w 578"/>
                <a:gd name="T79" fmla="*/ 86479 h 524"/>
                <a:gd name="T80" fmla="*/ 1302 w 578"/>
                <a:gd name="T81" fmla="*/ 69707 h 524"/>
                <a:gd name="T82" fmla="*/ 434 w 578"/>
                <a:gd name="T83" fmla="*/ 48743 h 524"/>
                <a:gd name="T84" fmla="*/ 2604 w 578"/>
                <a:gd name="T85" fmla="*/ 25682 h 524"/>
                <a:gd name="T86" fmla="*/ 19528 w 578"/>
                <a:gd name="T87" fmla="*/ 21489 h 524"/>
                <a:gd name="T88" fmla="*/ 29509 w 578"/>
                <a:gd name="T89" fmla="*/ 17296 h 524"/>
                <a:gd name="T90" fmla="*/ 36018 w 578"/>
                <a:gd name="T91" fmla="*/ 25158 h 524"/>
                <a:gd name="T92" fmla="*/ 45131 w 578"/>
                <a:gd name="T93" fmla="*/ 23061 h 524"/>
                <a:gd name="T94" fmla="*/ 64659 w 578"/>
                <a:gd name="T95" fmla="*/ 8386 h 524"/>
                <a:gd name="T96" fmla="*/ 103715 w 578"/>
                <a:gd name="T97" fmla="*/ 0 h 524"/>
                <a:gd name="T98" fmla="*/ 111526 w 578"/>
                <a:gd name="T99" fmla="*/ 6814 h 524"/>
                <a:gd name="T100" fmla="*/ 144072 w 578"/>
                <a:gd name="T101" fmla="*/ 9958 h 524"/>
                <a:gd name="T102" fmla="*/ 139733 w 578"/>
                <a:gd name="T103" fmla="*/ 34068 h 524"/>
                <a:gd name="T104" fmla="*/ 141035 w 578"/>
                <a:gd name="T105" fmla="*/ 47170 h 52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xmlns="" id="{54EFF1D7-47A7-8BAE-E991-B67C5C3314FE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4187738" y="1545778"/>
              <a:ext cx="28841" cy="60427"/>
            </a:xfrm>
            <a:custGeom>
              <a:avLst/>
              <a:gdLst>
                <a:gd name="T0" fmla="*/ 0 w 79"/>
                <a:gd name="T1" fmla="*/ 19090 h 160"/>
                <a:gd name="T2" fmla="*/ 2532 w 79"/>
                <a:gd name="T3" fmla="*/ 19090 h 160"/>
                <a:gd name="T4" fmla="*/ 4642 w 79"/>
                <a:gd name="T5" fmla="*/ 18574 h 160"/>
                <a:gd name="T6" fmla="*/ 6752 w 79"/>
                <a:gd name="T7" fmla="*/ 18058 h 160"/>
                <a:gd name="T8" fmla="*/ 8018 w 79"/>
                <a:gd name="T9" fmla="*/ 17026 h 160"/>
                <a:gd name="T10" fmla="*/ 10972 w 79"/>
                <a:gd name="T11" fmla="*/ 14446 h 160"/>
                <a:gd name="T12" fmla="*/ 13082 w 79"/>
                <a:gd name="T13" fmla="*/ 11351 h 160"/>
                <a:gd name="T14" fmla="*/ 15614 w 79"/>
                <a:gd name="T15" fmla="*/ 8255 h 160"/>
                <a:gd name="T16" fmla="*/ 17302 w 79"/>
                <a:gd name="T17" fmla="*/ 5159 h 160"/>
                <a:gd name="T18" fmla="*/ 19412 w 79"/>
                <a:gd name="T19" fmla="*/ 2580 h 160"/>
                <a:gd name="T20" fmla="*/ 22366 w 79"/>
                <a:gd name="T21" fmla="*/ 0 h 160"/>
                <a:gd name="T22" fmla="*/ 24054 w 79"/>
                <a:gd name="T23" fmla="*/ 1548 h 160"/>
                <a:gd name="T24" fmla="*/ 26164 w 79"/>
                <a:gd name="T25" fmla="*/ 3612 h 160"/>
                <a:gd name="T26" fmla="*/ 27008 w 79"/>
                <a:gd name="T27" fmla="*/ 5159 h 160"/>
                <a:gd name="T28" fmla="*/ 27852 w 79"/>
                <a:gd name="T29" fmla="*/ 7223 h 160"/>
                <a:gd name="T30" fmla="*/ 29118 w 79"/>
                <a:gd name="T31" fmla="*/ 11351 h 160"/>
                <a:gd name="T32" fmla="*/ 30384 w 79"/>
                <a:gd name="T33" fmla="*/ 16510 h 160"/>
                <a:gd name="T34" fmla="*/ 30806 w 79"/>
                <a:gd name="T35" fmla="*/ 20638 h 160"/>
                <a:gd name="T36" fmla="*/ 31228 w 79"/>
                <a:gd name="T37" fmla="*/ 25281 h 160"/>
                <a:gd name="T38" fmla="*/ 32072 w 79"/>
                <a:gd name="T39" fmla="*/ 29924 h 160"/>
                <a:gd name="T40" fmla="*/ 33338 w 79"/>
                <a:gd name="T41" fmla="*/ 34568 h 160"/>
                <a:gd name="T42" fmla="*/ 33338 w 79"/>
                <a:gd name="T43" fmla="*/ 50562 h 160"/>
                <a:gd name="T44" fmla="*/ 28696 w 79"/>
                <a:gd name="T45" fmla="*/ 59333 h 160"/>
                <a:gd name="T46" fmla="*/ 24898 w 79"/>
                <a:gd name="T47" fmla="*/ 66556 h 160"/>
                <a:gd name="T48" fmla="*/ 22366 w 79"/>
                <a:gd name="T49" fmla="*/ 70168 h 160"/>
                <a:gd name="T50" fmla="*/ 21100 w 79"/>
                <a:gd name="T51" fmla="*/ 74295 h 160"/>
                <a:gd name="T52" fmla="*/ 20256 w 79"/>
                <a:gd name="T53" fmla="*/ 77907 h 160"/>
                <a:gd name="T54" fmla="*/ 19412 w 79"/>
                <a:gd name="T55" fmla="*/ 82550 h 160"/>
                <a:gd name="T56" fmla="*/ 16880 w 79"/>
                <a:gd name="T57" fmla="*/ 79970 h 160"/>
                <a:gd name="T58" fmla="*/ 13926 w 79"/>
                <a:gd name="T59" fmla="*/ 77391 h 160"/>
                <a:gd name="T60" fmla="*/ 11816 w 79"/>
                <a:gd name="T61" fmla="*/ 74295 h 160"/>
                <a:gd name="T62" fmla="*/ 9284 w 79"/>
                <a:gd name="T63" fmla="*/ 70683 h 160"/>
                <a:gd name="T64" fmla="*/ 7596 w 79"/>
                <a:gd name="T65" fmla="*/ 67072 h 160"/>
                <a:gd name="T66" fmla="*/ 6330 w 79"/>
                <a:gd name="T67" fmla="*/ 63460 h 160"/>
                <a:gd name="T68" fmla="*/ 4642 w 79"/>
                <a:gd name="T69" fmla="*/ 59333 h 160"/>
                <a:gd name="T70" fmla="*/ 3376 w 79"/>
                <a:gd name="T71" fmla="*/ 55721 h 160"/>
                <a:gd name="T72" fmla="*/ 1688 w 79"/>
                <a:gd name="T73" fmla="*/ 46950 h 160"/>
                <a:gd name="T74" fmla="*/ 422 w 79"/>
                <a:gd name="T75" fmla="*/ 37663 h 160"/>
                <a:gd name="T76" fmla="*/ 0 w 79"/>
                <a:gd name="T77" fmla="*/ 28377 h 160"/>
                <a:gd name="T78" fmla="*/ 0 w 79"/>
                <a:gd name="T79" fmla="*/ 19090 h 16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xmlns="" id="{36B1525C-56FD-50A1-62EF-176DB95A2292}"/>
                </a:ext>
              </a:extLst>
            </p:cNvPr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194240" y="2322032"/>
              <a:ext cx="409266" cy="155716"/>
              <a:chOff x="4488" y="2394"/>
              <a:chExt cx="358" cy="124"/>
            </a:xfrm>
            <a:solidFill>
              <a:schemeClr val="accent2"/>
            </a:solidFill>
          </p:grpSpPr>
          <p:sp>
            <p:nvSpPr>
              <p:cNvPr id="547" name="Freeform 20">
                <a:extLst>
                  <a:ext uri="{FF2B5EF4-FFF2-40B4-BE49-F238E27FC236}">
                    <a16:creationId xmlns:a16="http://schemas.microsoft.com/office/drawing/2014/main" xmlns="" id="{ED87062F-7DB7-0B92-3D56-6A2B0A6682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142 w 512"/>
                  <a:gd name="T1" fmla="*/ 60 h 408"/>
                  <a:gd name="T2" fmla="*/ 129 w 512"/>
                  <a:gd name="T3" fmla="*/ 59 h 408"/>
                  <a:gd name="T4" fmla="*/ 123 w 512"/>
                  <a:gd name="T5" fmla="*/ 62 h 408"/>
                  <a:gd name="T6" fmla="*/ 118 w 512"/>
                  <a:gd name="T7" fmla="*/ 66 h 408"/>
                  <a:gd name="T8" fmla="*/ 116 w 512"/>
                  <a:gd name="T9" fmla="*/ 77 h 408"/>
                  <a:gd name="T10" fmla="*/ 109 w 512"/>
                  <a:gd name="T11" fmla="*/ 93 h 408"/>
                  <a:gd name="T12" fmla="*/ 102 w 512"/>
                  <a:gd name="T13" fmla="*/ 102 h 408"/>
                  <a:gd name="T14" fmla="*/ 97 w 512"/>
                  <a:gd name="T15" fmla="*/ 106 h 408"/>
                  <a:gd name="T16" fmla="*/ 91 w 512"/>
                  <a:gd name="T17" fmla="*/ 109 h 408"/>
                  <a:gd name="T18" fmla="*/ 86 w 512"/>
                  <a:gd name="T19" fmla="*/ 112 h 408"/>
                  <a:gd name="T20" fmla="*/ 84 w 512"/>
                  <a:gd name="T21" fmla="*/ 114 h 408"/>
                  <a:gd name="T22" fmla="*/ 72 w 512"/>
                  <a:gd name="T23" fmla="*/ 112 h 408"/>
                  <a:gd name="T24" fmla="*/ 61 w 512"/>
                  <a:gd name="T25" fmla="*/ 112 h 408"/>
                  <a:gd name="T26" fmla="*/ 52 w 512"/>
                  <a:gd name="T27" fmla="*/ 113 h 408"/>
                  <a:gd name="T28" fmla="*/ 46 w 512"/>
                  <a:gd name="T29" fmla="*/ 118 h 408"/>
                  <a:gd name="T30" fmla="*/ 32 w 512"/>
                  <a:gd name="T31" fmla="*/ 123 h 408"/>
                  <a:gd name="T32" fmla="*/ 21 w 512"/>
                  <a:gd name="T33" fmla="*/ 124 h 408"/>
                  <a:gd name="T34" fmla="*/ 15 w 512"/>
                  <a:gd name="T35" fmla="*/ 122 h 408"/>
                  <a:gd name="T36" fmla="*/ 5 w 512"/>
                  <a:gd name="T37" fmla="*/ 112 h 408"/>
                  <a:gd name="T38" fmla="*/ 1 w 512"/>
                  <a:gd name="T39" fmla="*/ 105 h 408"/>
                  <a:gd name="T40" fmla="*/ 3 w 512"/>
                  <a:gd name="T41" fmla="*/ 102 h 408"/>
                  <a:gd name="T42" fmla="*/ 11 w 512"/>
                  <a:gd name="T43" fmla="*/ 105 h 408"/>
                  <a:gd name="T44" fmla="*/ 18 w 512"/>
                  <a:gd name="T45" fmla="*/ 102 h 408"/>
                  <a:gd name="T46" fmla="*/ 19 w 512"/>
                  <a:gd name="T47" fmla="*/ 95 h 408"/>
                  <a:gd name="T48" fmla="*/ 24 w 512"/>
                  <a:gd name="T49" fmla="*/ 91 h 408"/>
                  <a:gd name="T50" fmla="*/ 27 w 512"/>
                  <a:gd name="T51" fmla="*/ 87 h 408"/>
                  <a:gd name="T52" fmla="*/ 30 w 512"/>
                  <a:gd name="T53" fmla="*/ 83 h 408"/>
                  <a:gd name="T54" fmla="*/ 34 w 512"/>
                  <a:gd name="T55" fmla="*/ 80 h 408"/>
                  <a:gd name="T56" fmla="*/ 46 w 512"/>
                  <a:gd name="T57" fmla="*/ 75 h 408"/>
                  <a:gd name="T58" fmla="*/ 58 w 512"/>
                  <a:gd name="T59" fmla="*/ 71 h 408"/>
                  <a:gd name="T60" fmla="*/ 67 w 512"/>
                  <a:gd name="T61" fmla="*/ 66 h 408"/>
                  <a:gd name="T62" fmla="*/ 71 w 512"/>
                  <a:gd name="T63" fmla="*/ 62 h 408"/>
                  <a:gd name="T64" fmla="*/ 73 w 512"/>
                  <a:gd name="T65" fmla="*/ 58 h 408"/>
                  <a:gd name="T66" fmla="*/ 76 w 512"/>
                  <a:gd name="T67" fmla="*/ 49 h 408"/>
                  <a:gd name="T68" fmla="*/ 76 w 512"/>
                  <a:gd name="T69" fmla="*/ 45 h 408"/>
                  <a:gd name="T70" fmla="*/ 77 w 512"/>
                  <a:gd name="T71" fmla="*/ 46 h 408"/>
                  <a:gd name="T72" fmla="*/ 80 w 512"/>
                  <a:gd name="T73" fmla="*/ 43 h 408"/>
                  <a:gd name="T74" fmla="*/ 79 w 512"/>
                  <a:gd name="T75" fmla="*/ 47 h 408"/>
                  <a:gd name="T76" fmla="*/ 80 w 512"/>
                  <a:gd name="T77" fmla="*/ 53 h 408"/>
                  <a:gd name="T78" fmla="*/ 84 w 512"/>
                  <a:gd name="T79" fmla="*/ 59 h 408"/>
                  <a:gd name="T80" fmla="*/ 91 w 512"/>
                  <a:gd name="T81" fmla="*/ 62 h 408"/>
                  <a:gd name="T82" fmla="*/ 102 w 512"/>
                  <a:gd name="T83" fmla="*/ 62 h 408"/>
                  <a:gd name="T84" fmla="*/ 107 w 512"/>
                  <a:gd name="T85" fmla="*/ 62 h 408"/>
                  <a:gd name="T86" fmla="*/ 109 w 512"/>
                  <a:gd name="T87" fmla="*/ 60 h 408"/>
                  <a:gd name="T88" fmla="*/ 108 w 512"/>
                  <a:gd name="T89" fmla="*/ 53 h 408"/>
                  <a:gd name="T90" fmla="*/ 100 w 512"/>
                  <a:gd name="T91" fmla="*/ 40 h 408"/>
                  <a:gd name="T92" fmla="*/ 107 w 512"/>
                  <a:gd name="T93" fmla="*/ 33 h 408"/>
                  <a:gd name="T94" fmla="*/ 115 w 512"/>
                  <a:gd name="T95" fmla="*/ 20 h 408"/>
                  <a:gd name="T96" fmla="*/ 125 w 512"/>
                  <a:gd name="T97" fmla="*/ 7 h 408"/>
                  <a:gd name="T98" fmla="*/ 133 w 512"/>
                  <a:gd name="T99" fmla="*/ 0 h 408"/>
                  <a:gd name="T100" fmla="*/ 134 w 512"/>
                  <a:gd name="T101" fmla="*/ 7 h 408"/>
                  <a:gd name="T102" fmla="*/ 138 w 512"/>
                  <a:gd name="T103" fmla="*/ 15 h 408"/>
                  <a:gd name="T104" fmla="*/ 147 w 512"/>
                  <a:gd name="T105" fmla="*/ 23 h 408"/>
                  <a:gd name="T106" fmla="*/ 162 w 512"/>
                  <a:gd name="T107" fmla="*/ 32 h 408"/>
                  <a:gd name="T108" fmla="*/ 170 w 512"/>
                  <a:gd name="T109" fmla="*/ 40 h 408"/>
                  <a:gd name="T110" fmla="*/ 167 w 512"/>
                  <a:gd name="T111" fmla="*/ 45 h 408"/>
                  <a:gd name="T112" fmla="*/ 160 w 512"/>
                  <a:gd name="T113" fmla="*/ 46 h 408"/>
                  <a:gd name="T114" fmla="*/ 153 w 512"/>
                  <a:gd name="T115" fmla="*/ 55 h 40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548" name="Freeform 21">
                <a:extLst>
                  <a:ext uri="{FF2B5EF4-FFF2-40B4-BE49-F238E27FC236}">
                    <a16:creationId xmlns:a16="http://schemas.microsoft.com/office/drawing/2014/main" xmlns="" id="{6E82E9A4-B109-194A-B82C-00854EB814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50 w 232"/>
                  <a:gd name="T1" fmla="*/ 7 h 289"/>
                  <a:gd name="T2" fmla="*/ 55 w 232"/>
                  <a:gd name="T3" fmla="*/ 15 h 289"/>
                  <a:gd name="T4" fmla="*/ 58 w 232"/>
                  <a:gd name="T5" fmla="*/ 17 h 289"/>
                  <a:gd name="T6" fmla="*/ 60 w 232"/>
                  <a:gd name="T7" fmla="*/ 18 h 289"/>
                  <a:gd name="T8" fmla="*/ 62 w 232"/>
                  <a:gd name="T9" fmla="*/ 51 h 289"/>
                  <a:gd name="T10" fmla="*/ 63 w 232"/>
                  <a:gd name="T11" fmla="*/ 60 h 289"/>
                  <a:gd name="T12" fmla="*/ 64 w 232"/>
                  <a:gd name="T13" fmla="*/ 64 h 289"/>
                  <a:gd name="T14" fmla="*/ 66 w 232"/>
                  <a:gd name="T15" fmla="*/ 67 h 289"/>
                  <a:gd name="T16" fmla="*/ 77 w 232"/>
                  <a:gd name="T17" fmla="*/ 76 h 289"/>
                  <a:gd name="T18" fmla="*/ 73 w 232"/>
                  <a:gd name="T19" fmla="*/ 89 h 289"/>
                  <a:gd name="T20" fmla="*/ 62 w 232"/>
                  <a:gd name="T21" fmla="*/ 87 h 289"/>
                  <a:gd name="T22" fmla="*/ 50 w 232"/>
                  <a:gd name="T23" fmla="*/ 81 h 289"/>
                  <a:gd name="T24" fmla="*/ 38 w 232"/>
                  <a:gd name="T25" fmla="*/ 72 h 289"/>
                  <a:gd name="T26" fmla="*/ 27 w 232"/>
                  <a:gd name="T27" fmla="*/ 64 h 289"/>
                  <a:gd name="T28" fmla="*/ 19 w 232"/>
                  <a:gd name="T29" fmla="*/ 54 h 289"/>
                  <a:gd name="T30" fmla="*/ 10 w 232"/>
                  <a:gd name="T31" fmla="*/ 45 h 289"/>
                  <a:gd name="T32" fmla="*/ 3 w 232"/>
                  <a:gd name="T33" fmla="*/ 39 h 289"/>
                  <a:gd name="T34" fmla="*/ 1 w 232"/>
                  <a:gd name="T35" fmla="*/ 36 h 289"/>
                  <a:gd name="T36" fmla="*/ 0 w 232"/>
                  <a:gd name="T37" fmla="*/ 34 h 289"/>
                  <a:gd name="T38" fmla="*/ 0 w 232"/>
                  <a:gd name="T39" fmla="*/ 31 h 289"/>
                  <a:gd name="T40" fmla="*/ 1 w 232"/>
                  <a:gd name="T41" fmla="*/ 28 h 289"/>
                  <a:gd name="T42" fmla="*/ 4 w 232"/>
                  <a:gd name="T43" fmla="*/ 24 h 289"/>
                  <a:gd name="T44" fmla="*/ 4 w 232"/>
                  <a:gd name="T45" fmla="*/ 16 h 289"/>
                  <a:gd name="T46" fmla="*/ 2 w 232"/>
                  <a:gd name="T47" fmla="*/ 5 h 289"/>
                  <a:gd name="T48" fmla="*/ 4 w 232"/>
                  <a:gd name="T49" fmla="*/ 0 h 289"/>
                  <a:gd name="T50" fmla="*/ 9 w 232"/>
                  <a:gd name="T51" fmla="*/ 1 h 289"/>
                  <a:gd name="T52" fmla="*/ 14 w 232"/>
                  <a:gd name="T53" fmla="*/ 3 h 289"/>
                  <a:gd name="T54" fmla="*/ 20 w 232"/>
                  <a:gd name="T55" fmla="*/ 6 h 289"/>
                  <a:gd name="T56" fmla="*/ 24 w 232"/>
                  <a:gd name="T57" fmla="*/ 9 h 289"/>
                  <a:gd name="T58" fmla="*/ 27 w 232"/>
                  <a:gd name="T59" fmla="*/ 10 h 289"/>
                  <a:gd name="T60" fmla="*/ 30 w 232"/>
                  <a:gd name="T61" fmla="*/ 10 h 289"/>
                  <a:gd name="T62" fmla="*/ 35 w 232"/>
                  <a:gd name="T63" fmla="*/ 8 h 289"/>
                  <a:gd name="T64" fmla="*/ 40 w 232"/>
                  <a:gd name="T65" fmla="*/ 6 h 289"/>
                  <a:gd name="T66" fmla="*/ 44 w 232"/>
                  <a:gd name="T67" fmla="*/ 3 h 28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</p:grpSp>
        <p:sp>
          <p:nvSpPr>
            <p:cNvPr id="21" name="Freeform 22">
              <a:extLst>
                <a:ext uri="{FF2B5EF4-FFF2-40B4-BE49-F238E27FC236}">
                  <a16:creationId xmlns:a16="http://schemas.microsoft.com/office/drawing/2014/main" xmlns="" id="{FA409404-AD97-E9C5-07CF-7DEC411DC042}"/>
                </a:ext>
              </a:extLst>
            </p:cNvPr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4483014" y="767201"/>
              <a:ext cx="2651987" cy="786712"/>
            </a:xfrm>
            <a:custGeom>
              <a:avLst/>
              <a:gdLst>
                <a:gd name="T0" fmla="*/ 315287 w 7049"/>
                <a:gd name="T1" fmla="*/ 909433 h 2048"/>
                <a:gd name="T2" fmla="*/ 465321 w 7049"/>
                <a:gd name="T3" fmla="*/ 1016487 h 2048"/>
                <a:gd name="T4" fmla="*/ 527073 w 7049"/>
                <a:gd name="T5" fmla="*/ 951940 h 2048"/>
                <a:gd name="T6" fmla="*/ 727987 w 7049"/>
                <a:gd name="T7" fmla="*/ 770893 h 2048"/>
                <a:gd name="T8" fmla="*/ 1138513 w 7049"/>
                <a:gd name="T9" fmla="*/ 690078 h 2048"/>
                <a:gd name="T10" fmla="*/ 1456845 w 7049"/>
                <a:gd name="T11" fmla="*/ 784012 h 2048"/>
                <a:gd name="T12" fmla="*/ 1598615 w 7049"/>
                <a:gd name="T13" fmla="*/ 754625 h 2048"/>
                <a:gd name="T14" fmla="*/ 1798660 w 7049"/>
                <a:gd name="T15" fmla="*/ 782963 h 2048"/>
                <a:gd name="T16" fmla="*/ 1990441 w 7049"/>
                <a:gd name="T17" fmla="*/ 791884 h 2048"/>
                <a:gd name="T18" fmla="*/ 2069589 w 7049"/>
                <a:gd name="T19" fmla="*/ 719990 h 2048"/>
                <a:gd name="T20" fmla="*/ 2242236 w 7049"/>
                <a:gd name="T21" fmla="*/ 774566 h 2048"/>
                <a:gd name="T22" fmla="*/ 2441411 w 7049"/>
                <a:gd name="T23" fmla="*/ 838589 h 2048"/>
                <a:gd name="T24" fmla="*/ 2437062 w 7049"/>
                <a:gd name="T25" fmla="*/ 967683 h 2048"/>
                <a:gd name="T26" fmla="*/ 2545347 w 7049"/>
                <a:gd name="T27" fmla="*/ 845936 h 2048"/>
                <a:gd name="T28" fmla="*/ 2422276 w 7049"/>
                <a:gd name="T29" fmla="*/ 659116 h 2048"/>
                <a:gd name="T30" fmla="*/ 2318340 w 7049"/>
                <a:gd name="T31" fmla="*/ 601916 h 2048"/>
                <a:gd name="T32" fmla="*/ 2547086 w 7049"/>
                <a:gd name="T33" fmla="*/ 515328 h 2048"/>
                <a:gd name="T34" fmla="*/ 2597967 w 7049"/>
                <a:gd name="T35" fmla="*/ 431364 h 2048"/>
                <a:gd name="T36" fmla="*/ 2666678 w 7049"/>
                <a:gd name="T37" fmla="*/ 399353 h 2048"/>
                <a:gd name="T38" fmla="*/ 2694075 w 7049"/>
                <a:gd name="T39" fmla="*/ 511130 h 2048"/>
                <a:gd name="T40" fmla="*/ 2762351 w 7049"/>
                <a:gd name="T41" fmla="*/ 656492 h 2048"/>
                <a:gd name="T42" fmla="*/ 2859329 w 7049"/>
                <a:gd name="T43" fmla="*/ 739931 h 2048"/>
                <a:gd name="T44" fmla="*/ 2855415 w 7049"/>
                <a:gd name="T45" fmla="*/ 637076 h 2048"/>
                <a:gd name="T46" fmla="*/ 2771484 w 7049"/>
                <a:gd name="T47" fmla="*/ 544191 h 2048"/>
                <a:gd name="T48" fmla="*/ 2847153 w 7049"/>
                <a:gd name="T49" fmla="*/ 464425 h 2048"/>
                <a:gd name="T50" fmla="*/ 2957612 w 7049"/>
                <a:gd name="T51" fmla="*/ 411423 h 2048"/>
                <a:gd name="T52" fmla="*/ 2882378 w 7049"/>
                <a:gd name="T53" fmla="*/ 324310 h 2048"/>
                <a:gd name="T54" fmla="*/ 2956742 w 7049"/>
                <a:gd name="T55" fmla="*/ 333756 h 2048"/>
                <a:gd name="T56" fmla="*/ 2983705 w 7049"/>
                <a:gd name="T57" fmla="*/ 284952 h 2048"/>
                <a:gd name="T58" fmla="*/ 2826713 w 7049"/>
                <a:gd name="T59" fmla="*/ 242446 h 2048"/>
                <a:gd name="T60" fmla="*/ 2540998 w 7049"/>
                <a:gd name="T61" fmla="*/ 215157 h 2048"/>
                <a:gd name="T62" fmla="*/ 2475766 w 7049"/>
                <a:gd name="T63" fmla="*/ 217781 h 2048"/>
                <a:gd name="T64" fmla="*/ 2170481 w 7049"/>
                <a:gd name="T65" fmla="*/ 184196 h 2048"/>
                <a:gd name="T66" fmla="*/ 2056108 w 7049"/>
                <a:gd name="T67" fmla="*/ 152184 h 2048"/>
                <a:gd name="T68" fmla="*/ 1918686 w 7049"/>
                <a:gd name="T69" fmla="*/ 152184 h 2048"/>
                <a:gd name="T70" fmla="*/ 1743430 w 7049"/>
                <a:gd name="T71" fmla="*/ 166878 h 2048"/>
                <a:gd name="T72" fmla="*/ 1554258 w 7049"/>
                <a:gd name="T73" fmla="*/ 136966 h 2048"/>
                <a:gd name="T74" fmla="*/ 1430752 w 7049"/>
                <a:gd name="T75" fmla="*/ 128045 h 2048"/>
                <a:gd name="T76" fmla="*/ 1308116 w 7049"/>
                <a:gd name="T77" fmla="*/ 123322 h 2048"/>
                <a:gd name="T78" fmla="*/ 1184610 w 7049"/>
                <a:gd name="T79" fmla="*/ 30437 h 2048"/>
                <a:gd name="T80" fmla="*/ 1138078 w 7049"/>
                <a:gd name="T81" fmla="*/ 73468 h 2048"/>
                <a:gd name="T82" fmla="*/ 928032 w 7049"/>
                <a:gd name="T83" fmla="*/ 87637 h 2048"/>
                <a:gd name="T84" fmla="*/ 938904 w 7049"/>
                <a:gd name="T85" fmla="*/ 104955 h 2048"/>
                <a:gd name="T86" fmla="*/ 955864 w 7049"/>
                <a:gd name="T87" fmla="*/ 179473 h 2048"/>
                <a:gd name="T88" fmla="*/ 840621 w 7049"/>
                <a:gd name="T89" fmla="*/ 134342 h 2048"/>
                <a:gd name="T90" fmla="*/ 777129 w 7049"/>
                <a:gd name="T91" fmla="*/ 143263 h 2048"/>
                <a:gd name="T92" fmla="*/ 833663 w 7049"/>
                <a:gd name="T93" fmla="*/ 234049 h 2048"/>
                <a:gd name="T94" fmla="*/ 902809 w 7049"/>
                <a:gd name="T95" fmla="*/ 277605 h 2048"/>
                <a:gd name="T96" fmla="*/ 818877 w 7049"/>
                <a:gd name="T97" fmla="*/ 311191 h 2048"/>
                <a:gd name="T98" fmla="*/ 796698 w 7049"/>
                <a:gd name="T99" fmla="*/ 243495 h 2048"/>
                <a:gd name="T100" fmla="*/ 704939 w 7049"/>
                <a:gd name="T101" fmla="*/ 121223 h 2048"/>
                <a:gd name="T102" fmla="*/ 705809 w 7049"/>
                <a:gd name="T103" fmla="*/ 236673 h 2048"/>
                <a:gd name="T104" fmla="*/ 538380 w 7049"/>
                <a:gd name="T105" fmla="*/ 208335 h 2048"/>
                <a:gd name="T106" fmla="*/ 520985 w 7049"/>
                <a:gd name="T107" fmla="*/ 250317 h 2048"/>
                <a:gd name="T108" fmla="*/ 394870 w 7049"/>
                <a:gd name="T109" fmla="*/ 262387 h 2048"/>
                <a:gd name="T110" fmla="*/ 300936 w 7049"/>
                <a:gd name="T111" fmla="*/ 253466 h 2048"/>
                <a:gd name="T112" fmla="*/ 261797 w 7049"/>
                <a:gd name="T113" fmla="*/ 306993 h 2048"/>
                <a:gd name="T114" fmla="*/ 176996 w 7049"/>
                <a:gd name="T115" fmla="*/ 387808 h 2048"/>
                <a:gd name="T116" fmla="*/ 169603 w 7049"/>
                <a:gd name="T117" fmla="*/ 321162 h 2048"/>
                <a:gd name="T118" fmla="*/ 65232 w 7049"/>
                <a:gd name="T119" fmla="*/ 230901 h 2048"/>
                <a:gd name="T120" fmla="*/ 30876 w 7049"/>
                <a:gd name="T121" fmla="*/ 317488 h 2048"/>
                <a:gd name="T122" fmla="*/ 48706 w 7049"/>
                <a:gd name="T123" fmla="*/ 502733 h 204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2" name="Freeform 23">
              <a:extLst>
                <a:ext uri="{FF2B5EF4-FFF2-40B4-BE49-F238E27FC236}">
                  <a16:creationId xmlns:a16="http://schemas.microsoft.com/office/drawing/2014/main" xmlns="" id="{8ABCA604-B6F7-3676-4712-0AA69879D917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3845769" y="1489999"/>
              <a:ext cx="243087" cy="181281"/>
            </a:xfrm>
            <a:custGeom>
              <a:avLst/>
              <a:gdLst>
                <a:gd name="T0" fmla="*/ 176323 w 647"/>
                <a:gd name="T1" fmla="*/ 14227 h 470"/>
                <a:gd name="T2" fmla="*/ 185877 w 647"/>
                <a:gd name="T3" fmla="*/ 23711 h 470"/>
                <a:gd name="T4" fmla="*/ 198906 w 647"/>
                <a:gd name="T5" fmla="*/ 31615 h 470"/>
                <a:gd name="T6" fmla="*/ 222358 w 647"/>
                <a:gd name="T7" fmla="*/ 41099 h 470"/>
                <a:gd name="T8" fmla="*/ 233649 w 647"/>
                <a:gd name="T9" fmla="*/ 42680 h 470"/>
                <a:gd name="T10" fmla="*/ 244072 w 647"/>
                <a:gd name="T11" fmla="*/ 52165 h 470"/>
                <a:gd name="T12" fmla="*/ 246244 w 647"/>
                <a:gd name="T13" fmla="*/ 51111 h 470"/>
                <a:gd name="T14" fmla="*/ 249718 w 647"/>
                <a:gd name="T15" fmla="*/ 44788 h 470"/>
                <a:gd name="T16" fmla="*/ 253192 w 647"/>
                <a:gd name="T17" fmla="*/ 41099 h 470"/>
                <a:gd name="T18" fmla="*/ 261878 w 647"/>
                <a:gd name="T19" fmla="*/ 42153 h 470"/>
                <a:gd name="T20" fmla="*/ 270998 w 647"/>
                <a:gd name="T21" fmla="*/ 41626 h 470"/>
                <a:gd name="T22" fmla="*/ 277947 w 647"/>
                <a:gd name="T23" fmla="*/ 44261 h 470"/>
                <a:gd name="T24" fmla="*/ 280553 w 647"/>
                <a:gd name="T25" fmla="*/ 54272 h 470"/>
                <a:gd name="T26" fmla="*/ 280553 w 647"/>
                <a:gd name="T27" fmla="*/ 64811 h 470"/>
                <a:gd name="T28" fmla="*/ 268393 w 647"/>
                <a:gd name="T29" fmla="*/ 69026 h 470"/>
                <a:gd name="T30" fmla="*/ 254495 w 647"/>
                <a:gd name="T31" fmla="*/ 76930 h 470"/>
                <a:gd name="T32" fmla="*/ 243204 w 647"/>
                <a:gd name="T33" fmla="*/ 86941 h 470"/>
                <a:gd name="T34" fmla="*/ 218883 w 647"/>
                <a:gd name="T35" fmla="*/ 112760 h 470"/>
                <a:gd name="T36" fmla="*/ 212369 w 647"/>
                <a:gd name="T37" fmla="*/ 119610 h 470"/>
                <a:gd name="T38" fmla="*/ 205854 w 647"/>
                <a:gd name="T39" fmla="*/ 133836 h 470"/>
                <a:gd name="T40" fmla="*/ 205420 w 647"/>
                <a:gd name="T41" fmla="*/ 148590 h 470"/>
                <a:gd name="T42" fmla="*/ 205420 w 647"/>
                <a:gd name="T43" fmla="*/ 163871 h 470"/>
                <a:gd name="T44" fmla="*/ 201077 w 647"/>
                <a:gd name="T45" fmla="*/ 179151 h 470"/>
                <a:gd name="T46" fmla="*/ 195431 w 647"/>
                <a:gd name="T47" fmla="*/ 186528 h 470"/>
                <a:gd name="T48" fmla="*/ 178494 w 647"/>
                <a:gd name="T49" fmla="*/ 202335 h 470"/>
                <a:gd name="T50" fmla="*/ 166334 w 647"/>
                <a:gd name="T51" fmla="*/ 216562 h 470"/>
                <a:gd name="T52" fmla="*/ 162425 w 647"/>
                <a:gd name="T53" fmla="*/ 223939 h 470"/>
                <a:gd name="T54" fmla="*/ 160254 w 647"/>
                <a:gd name="T55" fmla="*/ 227627 h 470"/>
                <a:gd name="T56" fmla="*/ 134631 w 647"/>
                <a:gd name="T57" fmla="*/ 226046 h 470"/>
                <a:gd name="T58" fmla="*/ 111613 w 647"/>
                <a:gd name="T59" fmla="*/ 228681 h 470"/>
                <a:gd name="T60" fmla="*/ 97281 w 647"/>
                <a:gd name="T61" fmla="*/ 235004 h 470"/>
                <a:gd name="T62" fmla="*/ 83818 w 647"/>
                <a:gd name="T63" fmla="*/ 246069 h 470"/>
                <a:gd name="T64" fmla="*/ 77738 w 647"/>
                <a:gd name="T65" fmla="*/ 247123 h 470"/>
                <a:gd name="T66" fmla="*/ 73395 w 647"/>
                <a:gd name="T67" fmla="*/ 242908 h 470"/>
                <a:gd name="T68" fmla="*/ 66447 w 647"/>
                <a:gd name="T69" fmla="*/ 227627 h 470"/>
                <a:gd name="T70" fmla="*/ 60801 w 647"/>
                <a:gd name="T71" fmla="*/ 218143 h 470"/>
                <a:gd name="T72" fmla="*/ 52984 w 647"/>
                <a:gd name="T73" fmla="*/ 210766 h 470"/>
                <a:gd name="T74" fmla="*/ 49509 w 647"/>
                <a:gd name="T75" fmla="*/ 199701 h 470"/>
                <a:gd name="T76" fmla="*/ 54721 w 647"/>
                <a:gd name="T77" fmla="*/ 177043 h 470"/>
                <a:gd name="T78" fmla="*/ 55155 w 647"/>
                <a:gd name="T79" fmla="*/ 140686 h 470"/>
                <a:gd name="T80" fmla="*/ 63841 w 647"/>
                <a:gd name="T81" fmla="*/ 108544 h 470"/>
                <a:gd name="T82" fmla="*/ 72961 w 647"/>
                <a:gd name="T83" fmla="*/ 78510 h 470"/>
                <a:gd name="T84" fmla="*/ 74698 w 647"/>
                <a:gd name="T85" fmla="*/ 69026 h 470"/>
                <a:gd name="T86" fmla="*/ 50378 w 647"/>
                <a:gd name="T87" fmla="*/ 64811 h 470"/>
                <a:gd name="T88" fmla="*/ 26926 w 647"/>
                <a:gd name="T89" fmla="*/ 57434 h 470"/>
                <a:gd name="T90" fmla="*/ 7383 w 647"/>
                <a:gd name="T91" fmla="*/ 49003 h 470"/>
                <a:gd name="T92" fmla="*/ 0 w 647"/>
                <a:gd name="T93" fmla="*/ 20023 h 470"/>
                <a:gd name="T94" fmla="*/ 9989 w 647"/>
                <a:gd name="T95" fmla="*/ 17915 h 470"/>
                <a:gd name="T96" fmla="*/ 22149 w 647"/>
                <a:gd name="T97" fmla="*/ 10538 h 470"/>
                <a:gd name="T98" fmla="*/ 31703 w 647"/>
                <a:gd name="T99" fmla="*/ 2108 h 470"/>
                <a:gd name="T100" fmla="*/ 37349 w 647"/>
                <a:gd name="T101" fmla="*/ 0 h 470"/>
                <a:gd name="T102" fmla="*/ 57327 w 647"/>
                <a:gd name="T103" fmla="*/ 3688 h 470"/>
                <a:gd name="T104" fmla="*/ 74264 w 647"/>
                <a:gd name="T105" fmla="*/ 8958 h 470"/>
                <a:gd name="T106" fmla="*/ 90767 w 647"/>
                <a:gd name="T107" fmla="*/ 10538 h 470"/>
                <a:gd name="T108" fmla="*/ 102059 w 647"/>
                <a:gd name="T109" fmla="*/ 15281 h 470"/>
                <a:gd name="T110" fmla="*/ 112047 w 647"/>
                <a:gd name="T111" fmla="*/ 19496 h 470"/>
                <a:gd name="T112" fmla="*/ 167202 w 647"/>
                <a:gd name="T113" fmla="*/ 13700 h 4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3" name="Freeform 24">
              <a:extLst>
                <a:ext uri="{FF2B5EF4-FFF2-40B4-BE49-F238E27FC236}">
                  <a16:creationId xmlns:a16="http://schemas.microsoft.com/office/drawing/2014/main" xmlns="" id="{641BF982-7617-E88F-230C-F6ACA5D38647}"/>
                </a:ext>
              </a:extLst>
            </p:cNvPr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6122824" y="2030356"/>
              <a:ext cx="179912" cy="333511"/>
            </a:xfrm>
            <a:custGeom>
              <a:avLst/>
              <a:gdLst>
                <a:gd name="T0" fmla="*/ 164546 w 479"/>
                <a:gd name="T1" fmla="*/ 187389 h 868"/>
                <a:gd name="T2" fmla="*/ 144575 w 479"/>
                <a:gd name="T3" fmla="*/ 194213 h 868"/>
                <a:gd name="T4" fmla="*/ 136326 w 479"/>
                <a:gd name="T5" fmla="*/ 204711 h 868"/>
                <a:gd name="T6" fmla="*/ 137194 w 479"/>
                <a:gd name="T7" fmla="*/ 224657 h 868"/>
                <a:gd name="T8" fmla="*/ 152824 w 479"/>
                <a:gd name="T9" fmla="*/ 258251 h 868"/>
                <a:gd name="T10" fmla="*/ 155863 w 479"/>
                <a:gd name="T11" fmla="*/ 278197 h 868"/>
                <a:gd name="T12" fmla="*/ 158902 w 479"/>
                <a:gd name="T13" fmla="*/ 291319 h 868"/>
                <a:gd name="T14" fmla="*/ 140233 w 479"/>
                <a:gd name="T15" fmla="*/ 276097 h 868"/>
                <a:gd name="T16" fmla="*/ 134155 w 479"/>
                <a:gd name="T17" fmla="*/ 258251 h 868"/>
                <a:gd name="T18" fmla="*/ 116789 w 479"/>
                <a:gd name="T19" fmla="*/ 245128 h 868"/>
                <a:gd name="T20" fmla="*/ 91173 w 479"/>
                <a:gd name="T21" fmla="*/ 230431 h 868"/>
                <a:gd name="T22" fmla="*/ 83793 w 479"/>
                <a:gd name="T23" fmla="*/ 213109 h 868"/>
                <a:gd name="T24" fmla="*/ 67729 w 479"/>
                <a:gd name="T25" fmla="*/ 250377 h 868"/>
                <a:gd name="T26" fmla="*/ 67729 w 479"/>
                <a:gd name="T27" fmla="*/ 275047 h 868"/>
                <a:gd name="T28" fmla="*/ 57309 w 479"/>
                <a:gd name="T29" fmla="*/ 301817 h 868"/>
                <a:gd name="T30" fmla="*/ 55572 w 479"/>
                <a:gd name="T31" fmla="*/ 325963 h 868"/>
                <a:gd name="T32" fmla="*/ 66860 w 479"/>
                <a:gd name="T33" fmla="*/ 341185 h 868"/>
                <a:gd name="T34" fmla="*/ 75978 w 479"/>
                <a:gd name="T35" fmla="*/ 359556 h 868"/>
                <a:gd name="T36" fmla="*/ 80319 w 479"/>
                <a:gd name="T37" fmla="*/ 383177 h 868"/>
                <a:gd name="T38" fmla="*/ 98120 w 479"/>
                <a:gd name="T39" fmla="*/ 409422 h 868"/>
                <a:gd name="T40" fmla="*/ 121999 w 479"/>
                <a:gd name="T41" fmla="*/ 433042 h 868"/>
                <a:gd name="T42" fmla="*/ 147614 w 479"/>
                <a:gd name="T43" fmla="*/ 446165 h 868"/>
                <a:gd name="T44" fmla="*/ 129379 w 479"/>
                <a:gd name="T45" fmla="*/ 455088 h 868"/>
                <a:gd name="T46" fmla="*/ 116789 w 479"/>
                <a:gd name="T47" fmla="*/ 453513 h 868"/>
                <a:gd name="T48" fmla="*/ 99422 w 479"/>
                <a:gd name="T49" fmla="*/ 441441 h 868"/>
                <a:gd name="T50" fmla="*/ 86832 w 479"/>
                <a:gd name="T51" fmla="*/ 431993 h 868"/>
                <a:gd name="T52" fmla="*/ 59480 w 479"/>
                <a:gd name="T53" fmla="*/ 398399 h 868"/>
                <a:gd name="T54" fmla="*/ 36035 w 479"/>
                <a:gd name="T55" fmla="*/ 383177 h 868"/>
                <a:gd name="T56" fmla="*/ 32128 w 479"/>
                <a:gd name="T57" fmla="*/ 361131 h 868"/>
                <a:gd name="T58" fmla="*/ 34733 w 479"/>
                <a:gd name="T59" fmla="*/ 342760 h 868"/>
                <a:gd name="T60" fmla="*/ 38206 w 479"/>
                <a:gd name="T61" fmla="*/ 323863 h 868"/>
                <a:gd name="T62" fmla="*/ 52099 w 479"/>
                <a:gd name="T63" fmla="*/ 261400 h 868"/>
                <a:gd name="T64" fmla="*/ 46889 w 479"/>
                <a:gd name="T65" fmla="*/ 212060 h 868"/>
                <a:gd name="T66" fmla="*/ 26918 w 479"/>
                <a:gd name="T67" fmla="*/ 167443 h 868"/>
                <a:gd name="T68" fmla="*/ 27786 w 479"/>
                <a:gd name="T69" fmla="*/ 149596 h 868"/>
                <a:gd name="T70" fmla="*/ 32128 w 479"/>
                <a:gd name="T71" fmla="*/ 139098 h 868"/>
                <a:gd name="T72" fmla="*/ 24313 w 479"/>
                <a:gd name="T73" fmla="*/ 106030 h 868"/>
                <a:gd name="T74" fmla="*/ 9986 w 479"/>
                <a:gd name="T75" fmla="*/ 82934 h 868"/>
                <a:gd name="T76" fmla="*/ 434 w 479"/>
                <a:gd name="T77" fmla="*/ 53540 h 868"/>
                <a:gd name="T78" fmla="*/ 4776 w 479"/>
                <a:gd name="T79" fmla="*/ 23096 h 868"/>
                <a:gd name="T80" fmla="*/ 21274 w 479"/>
                <a:gd name="T81" fmla="*/ 8398 h 868"/>
                <a:gd name="T82" fmla="*/ 52099 w 479"/>
                <a:gd name="T83" fmla="*/ 0 h 868"/>
                <a:gd name="T84" fmla="*/ 67729 w 479"/>
                <a:gd name="T85" fmla="*/ 14697 h 868"/>
                <a:gd name="T86" fmla="*/ 77714 w 479"/>
                <a:gd name="T87" fmla="*/ 18896 h 868"/>
                <a:gd name="T88" fmla="*/ 85529 w 479"/>
                <a:gd name="T89" fmla="*/ 71386 h 868"/>
                <a:gd name="T90" fmla="*/ 92476 w 479"/>
                <a:gd name="T91" fmla="*/ 87133 h 868"/>
                <a:gd name="T92" fmla="*/ 100291 w 479"/>
                <a:gd name="T93" fmla="*/ 81359 h 868"/>
                <a:gd name="T94" fmla="*/ 112013 w 479"/>
                <a:gd name="T95" fmla="*/ 66137 h 868"/>
                <a:gd name="T96" fmla="*/ 121999 w 479"/>
                <a:gd name="T97" fmla="*/ 74011 h 868"/>
                <a:gd name="T98" fmla="*/ 129379 w 479"/>
                <a:gd name="T99" fmla="*/ 71386 h 868"/>
                <a:gd name="T100" fmla="*/ 137194 w 479"/>
                <a:gd name="T101" fmla="*/ 56689 h 868"/>
                <a:gd name="T102" fmla="*/ 150219 w 479"/>
                <a:gd name="T103" fmla="*/ 56689 h 868"/>
                <a:gd name="T104" fmla="*/ 168019 w 479"/>
                <a:gd name="T105" fmla="*/ 82409 h 868"/>
                <a:gd name="T106" fmla="*/ 197108 w 479"/>
                <a:gd name="T107" fmla="*/ 129125 h 868"/>
                <a:gd name="T108" fmla="*/ 207528 w 479"/>
                <a:gd name="T109" fmla="*/ 161144 h 868"/>
                <a:gd name="T110" fmla="*/ 203186 w 479"/>
                <a:gd name="T111" fmla="*/ 177416 h 8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4" name="Freeform 25">
              <a:extLst>
                <a:ext uri="{FF2B5EF4-FFF2-40B4-BE49-F238E27FC236}">
                  <a16:creationId xmlns:a16="http://schemas.microsoft.com/office/drawing/2014/main" xmlns="" id="{83DCF450-9735-9A12-8D46-677BFB05A558}"/>
                </a:ext>
              </a:extLst>
            </p:cNvPr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2756683" y="3778088"/>
              <a:ext cx="20601" cy="41835"/>
            </a:xfrm>
            <a:custGeom>
              <a:avLst/>
              <a:gdLst>
                <a:gd name="T0" fmla="*/ 0 w 53"/>
                <a:gd name="T1" fmla="*/ 24063 h 19"/>
                <a:gd name="T2" fmla="*/ 3145 w 53"/>
                <a:gd name="T3" fmla="*/ 39103 h 19"/>
                <a:gd name="T4" fmla="*/ 6290 w 53"/>
                <a:gd name="T5" fmla="*/ 51134 h 19"/>
                <a:gd name="T6" fmla="*/ 9885 w 53"/>
                <a:gd name="T7" fmla="*/ 57150 h 19"/>
                <a:gd name="T8" fmla="*/ 13030 w 53"/>
                <a:gd name="T9" fmla="*/ 57150 h 19"/>
                <a:gd name="T10" fmla="*/ 15726 w 53"/>
                <a:gd name="T11" fmla="*/ 54142 h 19"/>
                <a:gd name="T12" fmla="*/ 18871 w 53"/>
                <a:gd name="T13" fmla="*/ 45118 h 19"/>
                <a:gd name="T14" fmla="*/ 21117 w 53"/>
                <a:gd name="T15" fmla="*/ 36095 h 19"/>
                <a:gd name="T16" fmla="*/ 23813 w 53"/>
                <a:gd name="T17" fmla="*/ 24063 h 19"/>
                <a:gd name="T18" fmla="*/ 21117 w 53"/>
                <a:gd name="T19" fmla="*/ 15039 h 19"/>
                <a:gd name="T20" fmla="*/ 18871 w 53"/>
                <a:gd name="T21" fmla="*/ 6016 h 19"/>
                <a:gd name="T22" fmla="*/ 15726 w 53"/>
                <a:gd name="T23" fmla="*/ 3008 h 19"/>
                <a:gd name="T24" fmla="*/ 13030 w 53"/>
                <a:gd name="T25" fmla="*/ 0 h 19"/>
                <a:gd name="T26" fmla="*/ 9885 w 53"/>
                <a:gd name="T27" fmla="*/ 0 h 19"/>
                <a:gd name="T28" fmla="*/ 6290 w 53"/>
                <a:gd name="T29" fmla="*/ 3008 h 19"/>
                <a:gd name="T30" fmla="*/ 3145 w 53"/>
                <a:gd name="T31" fmla="*/ 9024 h 19"/>
                <a:gd name="T32" fmla="*/ 0 w 53"/>
                <a:gd name="T33" fmla="*/ 24063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5" name="Line 26" descr="Horizontal dunkel">
              <a:extLst>
                <a:ext uri="{FF2B5EF4-FFF2-40B4-BE49-F238E27FC236}">
                  <a16:creationId xmlns:a16="http://schemas.microsoft.com/office/drawing/2014/main" xmlns="" id="{7A6E596E-AC20-C4DD-2D6A-877BCBEB42F5}"/>
                </a:ext>
              </a:extLst>
            </p:cNvPr>
            <p:cNvSpPr>
              <a:spLocks noChangeShapeType="1"/>
            </p:cNvSpPr>
            <p:nvPr>
              <p:custDataLst>
                <p:tags r:id="rId21"/>
              </p:custDataLst>
            </p:nvPr>
          </p:nvSpPr>
          <p:spPr bwMode="auto">
            <a:xfrm>
              <a:off x="1425883" y="1524861"/>
              <a:ext cx="2747" cy="6973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6" name="Freeform 27">
              <a:extLst>
                <a:ext uri="{FF2B5EF4-FFF2-40B4-BE49-F238E27FC236}">
                  <a16:creationId xmlns:a16="http://schemas.microsoft.com/office/drawing/2014/main" xmlns="" id="{83AFCC61-86C1-749A-3A47-96B522DDF802}"/>
                </a:ext>
              </a:extLst>
            </p:cNvPr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1428629" y="1522536"/>
              <a:ext cx="2747" cy="40672"/>
            </a:xfrm>
            <a:custGeom>
              <a:avLst/>
              <a:gdLst>
                <a:gd name="T0" fmla="*/ 0 w 6"/>
                <a:gd name="T1" fmla="*/ 55562 h 24"/>
                <a:gd name="T2" fmla="*/ 0 w 6"/>
                <a:gd name="T3" fmla="*/ 43987 h 24"/>
                <a:gd name="T4" fmla="*/ 529 w 6"/>
                <a:gd name="T5" fmla="*/ 32411 h 24"/>
                <a:gd name="T6" fmla="*/ 1588 w 6"/>
                <a:gd name="T7" fmla="*/ 18521 h 24"/>
                <a:gd name="T8" fmla="*/ 3175 w 6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7" name="Freeform 28">
              <a:extLst>
                <a:ext uri="{FF2B5EF4-FFF2-40B4-BE49-F238E27FC236}">
                  <a16:creationId xmlns:a16="http://schemas.microsoft.com/office/drawing/2014/main" xmlns="" id="{C7E24F7F-BE95-C5AC-8196-94AD4C24536E}"/>
                </a:ext>
              </a:extLst>
            </p:cNvPr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1408028" y="1562047"/>
              <a:ext cx="20601" cy="41835"/>
            </a:xfrm>
            <a:custGeom>
              <a:avLst/>
              <a:gdLst>
                <a:gd name="T0" fmla="*/ 0 w 47"/>
                <a:gd name="T1" fmla="*/ 20472 h 67"/>
                <a:gd name="T2" fmla="*/ 0 w 47"/>
                <a:gd name="T3" fmla="*/ 25590 h 67"/>
                <a:gd name="T4" fmla="*/ 1013 w 47"/>
                <a:gd name="T5" fmla="*/ 30707 h 67"/>
                <a:gd name="T6" fmla="*/ 1520 w 47"/>
                <a:gd name="T7" fmla="*/ 35825 h 67"/>
                <a:gd name="T8" fmla="*/ 2533 w 47"/>
                <a:gd name="T9" fmla="*/ 40090 h 67"/>
                <a:gd name="T10" fmla="*/ 4560 w 47"/>
                <a:gd name="T11" fmla="*/ 49473 h 67"/>
                <a:gd name="T12" fmla="*/ 7093 w 47"/>
                <a:gd name="T13" fmla="*/ 57150 h 67"/>
                <a:gd name="T14" fmla="*/ 23813 w 47"/>
                <a:gd name="T15" fmla="*/ 57150 h 67"/>
                <a:gd name="T16" fmla="*/ 23813 w 47"/>
                <a:gd name="T17" fmla="*/ 0 h 67"/>
                <a:gd name="T18" fmla="*/ 18240 w 47"/>
                <a:gd name="T19" fmla="*/ 1706 h 67"/>
                <a:gd name="T20" fmla="*/ 13173 w 47"/>
                <a:gd name="T21" fmla="*/ 3412 h 67"/>
                <a:gd name="T22" fmla="*/ 9120 w 47"/>
                <a:gd name="T23" fmla="*/ 5971 h 67"/>
                <a:gd name="T24" fmla="*/ 5573 w 47"/>
                <a:gd name="T25" fmla="*/ 7677 h 67"/>
                <a:gd name="T26" fmla="*/ 3040 w 47"/>
                <a:gd name="T27" fmla="*/ 10236 h 67"/>
                <a:gd name="T28" fmla="*/ 1520 w 47"/>
                <a:gd name="T29" fmla="*/ 13648 h 67"/>
                <a:gd name="T30" fmla="*/ 0 w 47"/>
                <a:gd name="T31" fmla="*/ 17060 h 67"/>
                <a:gd name="T32" fmla="*/ 0 w 47"/>
                <a:gd name="T33" fmla="*/ 20472 h 6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8" name="Freeform 29">
              <a:extLst>
                <a:ext uri="{FF2B5EF4-FFF2-40B4-BE49-F238E27FC236}">
                  <a16:creationId xmlns:a16="http://schemas.microsoft.com/office/drawing/2014/main" xmlns="" id="{03D54519-24B4-5C49-C139-685557DE9938}"/>
                </a:ext>
              </a:extLst>
            </p:cNvPr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2554796" y="1558560"/>
              <a:ext cx="42574" cy="41835"/>
            </a:xfrm>
            <a:custGeom>
              <a:avLst/>
              <a:gdLst>
                <a:gd name="T0" fmla="*/ 0 w 112"/>
                <a:gd name="T1" fmla="*/ 57150 h 36"/>
                <a:gd name="T2" fmla="*/ 25924 w 112"/>
                <a:gd name="T3" fmla="*/ 57150 h 36"/>
                <a:gd name="T4" fmla="*/ 29439 w 112"/>
                <a:gd name="T5" fmla="*/ 47625 h 36"/>
                <a:gd name="T6" fmla="*/ 32954 w 112"/>
                <a:gd name="T7" fmla="*/ 41275 h 36"/>
                <a:gd name="T8" fmla="*/ 36909 w 112"/>
                <a:gd name="T9" fmla="*/ 36513 h 36"/>
                <a:gd name="T10" fmla="*/ 39985 w 112"/>
                <a:gd name="T11" fmla="*/ 31750 h 36"/>
                <a:gd name="T12" fmla="*/ 43061 w 112"/>
                <a:gd name="T13" fmla="*/ 26988 h 36"/>
                <a:gd name="T14" fmla="*/ 45697 w 112"/>
                <a:gd name="T15" fmla="*/ 20638 h 36"/>
                <a:gd name="T16" fmla="*/ 47015 w 112"/>
                <a:gd name="T17" fmla="*/ 17463 h 36"/>
                <a:gd name="T18" fmla="*/ 47894 w 112"/>
                <a:gd name="T19" fmla="*/ 12700 h 36"/>
                <a:gd name="T20" fmla="*/ 48773 w 112"/>
                <a:gd name="T21" fmla="*/ 6350 h 36"/>
                <a:gd name="T22" fmla="*/ 49212 w 112"/>
                <a:gd name="T23" fmla="*/ 0 h 36"/>
                <a:gd name="T24" fmla="*/ 43939 w 112"/>
                <a:gd name="T25" fmla="*/ 0 h 36"/>
                <a:gd name="T26" fmla="*/ 37348 w 112"/>
                <a:gd name="T27" fmla="*/ 1588 h 36"/>
                <a:gd name="T28" fmla="*/ 29439 w 112"/>
                <a:gd name="T29" fmla="*/ 4763 h 36"/>
                <a:gd name="T30" fmla="*/ 21091 w 112"/>
                <a:gd name="T31" fmla="*/ 11113 h 36"/>
                <a:gd name="T32" fmla="*/ 17576 w 112"/>
                <a:gd name="T33" fmla="*/ 14288 h 36"/>
                <a:gd name="T34" fmla="*/ 13621 w 112"/>
                <a:gd name="T35" fmla="*/ 17463 h 36"/>
                <a:gd name="T36" fmla="*/ 10106 w 112"/>
                <a:gd name="T37" fmla="*/ 22225 h 36"/>
                <a:gd name="T38" fmla="*/ 7470 w 112"/>
                <a:gd name="T39" fmla="*/ 28575 h 36"/>
                <a:gd name="T40" fmla="*/ 4394 w 112"/>
                <a:gd name="T41" fmla="*/ 34925 h 36"/>
                <a:gd name="T42" fmla="*/ 2636 w 112"/>
                <a:gd name="T43" fmla="*/ 41275 h 36"/>
                <a:gd name="T44" fmla="*/ 439 w 112"/>
                <a:gd name="T45" fmla="*/ 49213 h 36"/>
                <a:gd name="T46" fmla="*/ 0 w 112"/>
                <a:gd name="T47" fmla="*/ 57150 h 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9" name="Freeform 30">
              <a:extLst>
                <a:ext uri="{FF2B5EF4-FFF2-40B4-BE49-F238E27FC236}">
                  <a16:creationId xmlns:a16="http://schemas.microsoft.com/office/drawing/2014/main" xmlns="" id="{2E9A987F-F795-BCEA-A1ED-22F9099D5B34}"/>
                </a:ext>
              </a:extLst>
            </p:cNvPr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4923868" y="1234347"/>
              <a:ext cx="756730" cy="331186"/>
            </a:xfrm>
            <a:custGeom>
              <a:avLst/>
              <a:gdLst>
                <a:gd name="T0" fmla="*/ 188809 w 2006"/>
                <a:gd name="T1" fmla="*/ 401059 h 863"/>
                <a:gd name="T2" fmla="*/ 179652 w 2006"/>
                <a:gd name="T3" fmla="*/ 400535 h 863"/>
                <a:gd name="T4" fmla="*/ 170059 w 2006"/>
                <a:gd name="T5" fmla="*/ 416263 h 863"/>
                <a:gd name="T6" fmla="*/ 163518 w 2006"/>
                <a:gd name="T7" fmla="*/ 415214 h 863"/>
                <a:gd name="T8" fmla="*/ 161338 w 2006"/>
                <a:gd name="T9" fmla="*/ 393720 h 863"/>
                <a:gd name="T10" fmla="*/ 141280 w 2006"/>
                <a:gd name="T11" fmla="*/ 379565 h 863"/>
                <a:gd name="T12" fmla="*/ 136047 w 2006"/>
                <a:gd name="T13" fmla="*/ 371177 h 863"/>
                <a:gd name="T14" fmla="*/ 125582 w 2006"/>
                <a:gd name="T15" fmla="*/ 362788 h 863"/>
                <a:gd name="T16" fmla="*/ 109448 w 2006"/>
                <a:gd name="T17" fmla="*/ 336051 h 863"/>
                <a:gd name="T18" fmla="*/ 101163 w 2006"/>
                <a:gd name="T19" fmla="*/ 319799 h 863"/>
                <a:gd name="T20" fmla="*/ 110320 w 2006"/>
                <a:gd name="T21" fmla="*/ 311411 h 863"/>
                <a:gd name="T22" fmla="*/ 121657 w 2006"/>
                <a:gd name="T23" fmla="*/ 300401 h 863"/>
                <a:gd name="T24" fmla="*/ 147384 w 2006"/>
                <a:gd name="T25" fmla="*/ 285198 h 863"/>
                <a:gd name="T26" fmla="*/ 139099 w 2006"/>
                <a:gd name="T27" fmla="*/ 255315 h 863"/>
                <a:gd name="T28" fmla="*/ 112500 w 2006"/>
                <a:gd name="T29" fmla="*/ 249024 h 863"/>
                <a:gd name="T30" fmla="*/ 91134 w 2006"/>
                <a:gd name="T31" fmla="*/ 246403 h 863"/>
                <a:gd name="T32" fmla="*/ 68460 w 2006"/>
                <a:gd name="T33" fmla="*/ 259509 h 863"/>
                <a:gd name="T34" fmla="*/ 46221 w 2006"/>
                <a:gd name="T35" fmla="*/ 264752 h 863"/>
                <a:gd name="T36" fmla="*/ 11773 w 2006"/>
                <a:gd name="T37" fmla="*/ 216520 h 863"/>
                <a:gd name="T38" fmla="*/ 8721 w 2006"/>
                <a:gd name="T39" fmla="*/ 148366 h 863"/>
                <a:gd name="T40" fmla="*/ 49273 w 2006"/>
                <a:gd name="T41" fmla="*/ 135784 h 863"/>
                <a:gd name="T42" fmla="*/ 127326 w 2006"/>
                <a:gd name="T43" fmla="*/ 116386 h 863"/>
                <a:gd name="T44" fmla="*/ 217152 w 2006"/>
                <a:gd name="T45" fmla="*/ 132638 h 863"/>
                <a:gd name="T46" fmla="*/ 312647 w 2006"/>
                <a:gd name="T47" fmla="*/ 132638 h 863"/>
                <a:gd name="T48" fmla="*/ 286920 w 2006"/>
                <a:gd name="T49" fmla="*/ 96988 h 863"/>
                <a:gd name="T50" fmla="*/ 361920 w 2006"/>
                <a:gd name="T51" fmla="*/ 35650 h 863"/>
                <a:gd name="T52" fmla="*/ 457851 w 2006"/>
                <a:gd name="T53" fmla="*/ 6815 h 863"/>
                <a:gd name="T54" fmla="*/ 512793 w 2006"/>
                <a:gd name="T55" fmla="*/ 31980 h 863"/>
                <a:gd name="T56" fmla="*/ 565119 w 2006"/>
                <a:gd name="T57" fmla="*/ 58193 h 863"/>
                <a:gd name="T58" fmla="*/ 628782 w 2006"/>
                <a:gd name="T59" fmla="*/ 51902 h 863"/>
                <a:gd name="T60" fmla="*/ 718172 w 2006"/>
                <a:gd name="T61" fmla="*/ 142075 h 863"/>
                <a:gd name="T62" fmla="*/ 781835 w 2006"/>
                <a:gd name="T63" fmla="*/ 138929 h 863"/>
                <a:gd name="T64" fmla="*/ 872097 w 2006"/>
                <a:gd name="T65" fmla="*/ 177724 h 863"/>
                <a:gd name="T66" fmla="*/ 872969 w 2006"/>
                <a:gd name="T67" fmla="*/ 199743 h 863"/>
                <a:gd name="T68" fmla="*/ 863812 w 2006"/>
                <a:gd name="T69" fmla="*/ 209180 h 863"/>
                <a:gd name="T70" fmla="*/ 854655 w 2006"/>
                <a:gd name="T71" fmla="*/ 211801 h 863"/>
                <a:gd name="T72" fmla="*/ 855963 w 2006"/>
                <a:gd name="T73" fmla="*/ 222811 h 863"/>
                <a:gd name="T74" fmla="*/ 865556 w 2006"/>
                <a:gd name="T75" fmla="*/ 244305 h 863"/>
                <a:gd name="T76" fmla="*/ 862940 w 2006"/>
                <a:gd name="T77" fmla="*/ 250597 h 863"/>
                <a:gd name="T78" fmla="*/ 845498 w 2006"/>
                <a:gd name="T79" fmla="*/ 252169 h 863"/>
                <a:gd name="T80" fmla="*/ 825440 w 2006"/>
                <a:gd name="T81" fmla="*/ 248500 h 863"/>
                <a:gd name="T82" fmla="*/ 812794 w 2006"/>
                <a:gd name="T83" fmla="*/ 248500 h 863"/>
                <a:gd name="T84" fmla="*/ 818899 w 2006"/>
                <a:gd name="T85" fmla="*/ 287295 h 863"/>
                <a:gd name="T86" fmla="*/ 819771 w 2006"/>
                <a:gd name="T87" fmla="*/ 307217 h 863"/>
                <a:gd name="T88" fmla="*/ 780091 w 2006"/>
                <a:gd name="T89" fmla="*/ 308265 h 863"/>
                <a:gd name="T90" fmla="*/ 770933 w 2006"/>
                <a:gd name="T91" fmla="*/ 316653 h 863"/>
                <a:gd name="T92" fmla="*/ 782707 w 2006"/>
                <a:gd name="T93" fmla="*/ 324517 h 863"/>
                <a:gd name="T94" fmla="*/ 790992 w 2006"/>
                <a:gd name="T95" fmla="*/ 340769 h 863"/>
                <a:gd name="T96" fmla="*/ 799713 w 2006"/>
                <a:gd name="T97" fmla="*/ 361216 h 863"/>
                <a:gd name="T98" fmla="*/ 801021 w 2006"/>
                <a:gd name="T99" fmla="*/ 370128 h 863"/>
                <a:gd name="T100" fmla="*/ 801021 w 2006"/>
                <a:gd name="T101" fmla="*/ 395293 h 863"/>
                <a:gd name="T102" fmla="*/ 759160 w 2006"/>
                <a:gd name="T103" fmla="*/ 387953 h 863"/>
                <a:gd name="T104" fmla="*/ 643171 w 2006"/>
                <a:gd name="T105" fmla="*/ 400535 h 863"/>
                <a:gd name="T106" fmla="*/ 573840 w 2006"/>
                <a:gd name="T107" fmla="*/ 416787 h 863"/>
                <a:gd name="T108" fmla="*/ 497967 w 2006"/>
                <a:gd name="T109" fmla="*/ 439330 h 863"/>
                <a:gd name="T110" fmla="*/ 419915 w 2006"/>
                <a:gd name="T111" fmla="*/ 365410 h 863"/>
                <a:gd name="T112" fmla="*/ 298257 w 2006"/>
                <a:gd name="T113" fmla="*/ 307217 h 863"/>
                <a:gd name="T114" fmla="*/ 254652 w 2006"/>
                <a:gd name="T115" fmla="*/ 436185 h 86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0" name="Freeform 31">
              <a:extLst>
                <a:ext uri="{FF2B5EF4-FFF2-40B4-BE49-F238E27FC236}">
                  <a16:creationId xmlns:a16="http://schemas.microsoft.com/office/drawing/2014/main" xmlns="" id="{B8FF09A4-DA2C-28B4-F1E4-1D0D3AAA14B4}"/>
                </a:ext>
              </a:extLst>
            </p:cNvPr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5123008" y="1456299"/>
              <a:ext cx="354331" cy="182444"/>
            </a:xfrm>
            <a:custGeom>
              <a:avLst/>
              <a:gdLst>
                <a:gd name="T0" fmla="*/ 275062 w 950"/>
                <a:gd name="T1" fmla="*/ 235924 h 468"/>
                <a:gd name="T2" fmla="*/ 240571 w 950"/>
                <a:gd name="T3" fmla="*/ 222610 h 468"/>
                <a:gd name="T4" fmla="*/ 203063 w 950"/>
                <a:gd name="T5" fmla="*/ 200242 h 468"/>
                <a:gd name="T6" fmla="*/ 169004 w 950"/>
                <a:gd name="T7" fmla="*/ 163496 h 468"/>
                <a:gd name="T8" fmla="*/ 131495 w 950"/>
                <a:gd name="T9" fmla="*/ 137400 h 468"/>
                <a:gd name="T10" fmla="*/ 109076 w 950"/>
                <a:gd name="T11" fmla="*/ 111305 h 468"/>
                <a:gd name="T12" fmla="*/ 80190 w 950"/>
                <a:gd name="T13" fmla="*/ 91600 h 468"/>
                <a:gd name="T14" fmla="*/ 57341 w 950"/>
                <a:gd name="T15" fmla="*/ 101186 h 468"/>
                <a:gd name="T16" fmla="*/ 42682 w 950"/>
                <a:gd name="T17" fmla="*/ 127814 h 468"/>
                <a:gd name="T18" fmla="*/ 17245 w 950"/>
                <a:gd name="T19" fmla="*/ 131010 h 468"/>
                <a:gd name="T20" fmla="*/ 0 w 950"/>
                <a:gd name="T21" fmla="*/ 12781 h 468"/>
                <a:gd name="T22" fmla="*/ 34059 w 950"/>
                <a:gd name="T23" fmla="*/ 3195 h 468"/>
                <a:gd name="T24" fmla="*/ 57341 w 950"/>
                <a:gd name="T25" fmla="*/ 29291 h 468"/>
                <a:gd name="T26" fmla="*/ 67688 w 950"/>
                <a:gd name="T27" fmla="*/ 7988 h 468"/>
                <a:gd name="T28" fmla="*/ 143136 w 950"/>
                <a:gd name="T29" fmla="*/ 62310 h 468"/>
                <a:gd name="T30" fmla="*/ 188836 w 950"/>
                <a:gd name="T31" fmla="*/ 62310 h 468"/>
                <a:gd name="T32" fmla="*/ 226344 w 950"/>
                <a:gd name="T33" fmla="*/ 71896 h 468"/>
                <a:gd name="T34" fmla="*/ 257386 w 950"/>
                <a:gd name="T35" fmla="*/ 121424 h 468"/>
                <a:gd name="T36" fmla="*/ 289289 w 950"/>
                <a:gd name="T37" fmla="*/ 134205 h 468"/>
                <a:gd name="T38" fmla="*/ 314726 w 950"/>
                <a:gd name="T39" fmla="*/ 137400 h 468"/>
                <a:gd name="T40" fmla="*/ 341025 w 950"/>
                <a:gd name="T41" fmla="*/ 114500 h 468"/>
                <a:gd name="T42" fmla="*/ 363444 w 950"/>
                <a:gd name="T43" fmla="*/ 104382 h 468"/>
                <a:gd name="T44" fmla="*/ 355252 w 950"/>
                <a:gd name="T45" fmla="*/ 134205 h 468"/>
                <a:gd name="T46" fmla="*/ 375084 w 950"/>
                <a:gd name="T47" fmla="*/ 127814 h 468"/>
                <a:gd name="T48" fmla="*/ 409575 w 950"/>
                <a:gd name="T49" fmla="*/ 150714 h 468"/>
                <a:gd name="T50" fmla="*/ 380689 w 950"/>
                <a:gd name="T51" fmla="*/ 170419 h 468"/>
                <a:gd name="T52" fmla="*/ 355252 w 950"/>
                <a:gd name="T53" fmla="*/ 150714 h 468"/>
                <a:gd name="T54" fmla="*/ 329385 w 950"/>
                <a:gd name="T55" fmla="*/ 147519 h 468"/>
                <a:gd name="T56" fmla="*/ 317744 w 950"/>
                <a:gd name="T57" fmla="*/ 170419 h 468"/>
                <a:gd name="T58" fmla="*/ 294894 w 950"/>
                <a:gd name="T59" fmla="*/ 190124 h 468"/>
                <a:gd name="T60" fmla="*/ 306103 w 950"/>
                <a:gd name="T61" fmla="*/ 206633 h 468"/>
                <a:gd name="T62" fmla="*/ 320331 w 950"/>
                <a:gd name="T63" fmla="*/ 232729 h 468"/>
                <a:gd name="T64" fmla="*/ 309121 w 950"/>
                <a:gd name="T65" fmla="*/ 249238 h 468"/>
                <a:gd name="T66" fmla="*/ 303086 w 950"/>
                <a:gd name="T67" fmla="*/ 247640 h 468"/>
                <a:gd name="T68" fmla="*/ 294894 w 950"/>
                <a:gd name="T69" fmla="*/ 245510 h 468"/>
                <a:gd name="T70" fmla="*/ 283685 w 950"/>
                <a:gd name="T71" fmla="*/ 245510 h 46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1" name="Freeform 32">
              <a:extLst>
                <a:ext uri="{FF2B5EF4-FFF2-40B4-BE49-F238E27FC236}">
                  <a16:creationId xmlns:a16="http://schemas.microsoft.com/office/drawing/2014/main" xmlns="" id="{29CC63A9-02CB-5804-385E-C6CCEEB23D18}"/>
                </a:ext>
              </a:extLst>
            </p:cNvPr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4091603" y="2190720"/>
              <a:ext cx="256822" cy="211495"/>
            </a:xfrm>
            <a:custGeom>
              <a:avLst/>
              <a:gdLst>
                <a:gd name="T0" fmla="*/ 2655 w 671"/>
                <a:gd name="T1" fmla="*/ 201563 h 549"/>
                <a:gd name="T2" fmla="*/ 3539 w 671"/>
                <a:gd name="T3" fmla="*/ 166303 h 549"/>
                <a:gd name="T4" fmla="*/ 7521 w 671"/>
                <a:gd name="T5" fmla="*/ 151041 h 549"/>
                <a:gd name="T6" fmla="*/ 23006 w 671"/>
                <a:gd name="T7" fmla="*/ 125253 h 549"/>
                <a:gd name="T8" fmla="*/ 31412 w 671"/>
                <a:gd name="T9" fmla="*/ 107886 h 549"/>
                <a:gd name="T10" fmla="*/ 32297 w 671"/>
                <a:gd name="T11" fmla="*/ 87888 h 549"/>
                <a:gd name="T12" fmla="*/ 32297 w 671"/>
                <a:gd name="T13" fmla="*/ 72100 h 549"/>
                <a:gd name="T14" fmla="*/ 23891 w 671"/>
                <a:gd name="T15" fmla="*/ 56838 h 549"/>
                <a:gd name="T16" fmla="*/ 26988 w 671"/>
                <a:gd name="T17" fmla="*/ 41576 h 549"/>
                <a:gd name="T18" fmla="*/ 33624 w 671"/>
                <a:gd name="T19" fmla="*/ 26314 h 549"/>
                <a:gd name="T20" fmla="*/ 42472 w 671"/>
                <a:gd name="T21" fmla="*/ 13157 h 549"/>
                <a:gd name="T22" fmla="*/ 53090 w 671"/>
                <a:gd name="T23" fmla="*/ 3684 h 549"/>
                <a:gd name="T24" fmla="*/ 64593 w 671"/>
                <a:gd name="T25" fmla="*/ 0 h 549"/>
                <a:gd name="T26" fmla="*/ 76538 w 671"/>
                <a:gd name="T27" fmla="*/ 2631 h 549"/>
                <a:gd name="T28" fmla="*/ 91138 w 671"/>
                <a:gd name="T29" fmla="*/ 13683 h 549"/>
                <a:gd name="T30" fmla="*/ 104411 w 671"/>
                <a:gd name="T31" fmla="*/ 23682 h 549"/>
                <a:gd name="T32" fmla="*/ 114586 w 671"/>
                <a:gd name="T33" fmla="*/ 26314 h 549"/>
                <a:gd name="T34" fmla="*/ 120338 w 671"/>
                <a:gd name="T35" fmla="*/ 23156 h 549"/>
                <a:gd name="T36" fmla="*/ 125647 w 671"/>
                <a:gd name="T37" fmla="*/ 18420 h 549"/>
                <a:gd name="T38" fmla="*/ 132726 w 671"/>
                <a:gd name="T39" fmla="*/ 16841 h 549"/>
                <a:gd name="T40" fmla="*/ 140689 w 671"/>
                <a:gd name="T41" fmla="*/ 20525 h 549"/>
                <a:gd name="T42" fmla="*/ 149095 w 671"/>
                <a:gd name="T43" fmla="*/ 34208 h 549"/>
                <a:gd name="T44" fmla="*/ 156174 w 671"/>
                <a:gd name="T45" fmla="*/ 41576 h 549"/>
                <a:gd name="T46" fmla="*/ 163695 w 671"/>
                <a:gd name="T47" fmla="*/ 42628 h 549"/>
                <a:gd name="T48" fmla="*/ 168562 w 671"/>
                <a:gd name="T49" fmla="*/ 39471 h 549"/>
                <a:gd name="T50" fmla="*/ 175640 w 671"/>
                <a:gd name="T51" fmla="*/ 29471 h 549"/>
                <a:gd name="T52" fmla="*/ 185373 w 671"/>
                <a:gd name="T53" fmla="*/ 19998 h 549"/>
                <a:gd name="T54" fmla="*/ 202628 w 671"/>
                <a:gd name="T55" fmla="*/ 11578 h 549"/>
                <a:gd name="T56" fmla="*/ 215458 w 671"/>
                <a:gd name="T57" fmla="*/ 13157 h 549"/>
                <a:gd name="T58" fmla="*/ 226076 w 671"/>
                <a:gd name="T59" fmla="*/ 18420 h 549"/>
                <a:gd name="T60" fmla="*/ 237579 w 671"/>
                <a:gd name="T61" fmla="*/ 22630 h 549"/>
                <a:gd name="T62" fmla="*/ 252621 w 671"/>
                <a:gd name="T63" fmla="*/ 20525 h 549"/>
                <a:gd name="T64" fmla="*/ 285803 w 671"/>
                <a:gd name="T65" fmla="*/ 35260 h 549"/>
                <a:gd name="T66" fmla="*/ 294208 w 671"/>
                <a:gd name="T67" fmla="*/ 55259 h 549"/>
                <a:gd name="T68" fmla="*/ 275627 w 671"/>
                <a:gd name="T69" fmla="*/ 96308 h 549"/>
                <a:gd name="T70" fmla="*/ 262354 w 671"/>
                <a:gd name="T71" fmla="*/ 122622 h 549"/>
                <a:gd name="T72" fmla="*/ 252179 w 671"/>
                <a:gd name="T73" fmla="*/ 153146 h 549"/>
                <a:gd name="T74" fmla="*/ 243330 w 671"/>
                <a:gd name="T75" fmla="*/ 180512 h 549"/>
                <a:gd name="T76" fmla="*/ 232270 w 671"/>
                <a:gd name="T77" fmla="*/ 214194 h 549"/>
                <a:gd name="T78" fmla="*/ 228288 w 671"/>
                <a:gd name="T79" fmla="*/ 222088 h 549"/>
                <a:gd name="T80" fmla="*/ 221209 w 671"/>
                <a:gd name="T81" fmla="*/ 231035 h 549"/>
                <a:gd name="T82" fmla="*/ 213246 w 671"/>
                <a:gd name="T83" fmla="*/ 233140 h 549"/>
                <a:gd name="T84" fmla="*/ 203070 w 671"/>
                <a:gd name="T85" fmla="*/ 227351 h 549"/>
                <a:gd name="T86" fmla="*/ 194664 w 671"/>
                <a:gd name="T87" fmla="*/ 221562 h 549"/>
                <a:gd name="T88" fmla="*/ 180507 w 671"/>
                <a:gd name="T89" fmla="*/ 223141 h 549"/>
                <a:gd name="T90" fmla="*/ 168562 w 671"/>
                <a:gd name="T91" fmla="*/ 232087 h 549"/>
                <a:gd name="T92" fmla="*/ 161040 w 671"/>
                <a:gd name="T93" fmla="*/ 246823 h 549"/>
                <a:gd name="T94" fmla="*/ 151307 w 671"/>
                <a:gd name="T95" fmla="*/ 274189 h 549"/>
                <a:gd name="T96" fmla="*/ 143786 w 671"/>
                <a:gd name="T97" fmla="*/ 288925 h 549"/>
                <a:gd name="T98" fmla="*/ 101314 w 671"/>
                <a:gd name="T99" fmla="*/ 287346 h 549"/>
                <a:gd name="T100" fmla="*/ 96005 w 671"/>
                <a:gd name="T101" fmla="*/ 288399 h 549"/>
                <a:gd name="T102" fmla="*/ 79193 w 671"/>
                <a:gd name="T103" fmla="*/ 285767 h 549"/>
                <a:gd name="T104" fmla="*/ 71229 w 671"/>
                <a:gd name="T105" fmla="*/ 284189 h 549"/>
                <a:gd name="T106" fmla="*/ 63708 w 671"/>
                <a:gd name="T107" fmla="*/ 279452 h 549"/>
                <a:gd name="T108" fmla="*/ 57072 w 671"/>
                <a:gd name="T109" fmla="*/ 271032 h 549"/>
                <a:gd name="T110" fmla="*/ 52648 w 671"/>
                <a:gd name="T111" fmla="*/ 261032 h 549"/>
                <a:gd name="T112" fmla="*/ 49993 w 671"/>
                <a:gd name="T113" fmla="*/ 248402 h 549"/>
                <a:gd name="T114" fmla="*/ 44242 w 671"/>
                <a:gd name="T115" fmla="*/ 242087 h 549"/>
                <a:gd name="T116" fmla="*/ 36721 w 671"/>
                <a:gd name="T117" fmla="*/ 235245 h 549"/>
                <a:gd name="T118" fmla="*/ 27872 w 671"/>
                <a:gd name="T119" fmla="*/ 227351 h 549"/>
                <a:gd name="T120" fmla="*/ 17254 w 671"/>
                <a:gd name="T121" fmla="*/ 225772 h 549"/>
                <a:gd name="T122" fmla="*/ 0 w 671"/>
                <a:gd name="T123" fmla="*/ 230508 h 54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2" name="Freeform 33">
              <a:extLst>
                <a:ext uri="{FF2B5EF4-FFF2-40B4-BE49-F238E27FC236}">
                  <a16:creationId xmlns:a16="http://schemas.microsoft.com/office/drawing/2014/main" xmlns="" id="{DBC57668-F745-34F5-3952-277D30118135}"/>
                </a:ext>
              </a:extLst>
            </p:cNvPr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4820865" y="2091945"/>
              <a:ext cx="131844" cy="124340"/>
            </a:xfrm>
            <a:custGeom>
              <a:avLst/>
              <a:gdLst>
                <a:gd name="T0" fmla="*/ 138778 w 358"/>
                <a:gd name="T1" fmla="*/ 168304 h 327"/>
                <a:gd name="T2" fmla="*/ 140906 w 358"/>
                <a:gd name="T3" fmla="*/ 166745 h 327"/>
                <a:gd name="T4" fmla="*/ 143460 w 358"/>
                <a:gd name="T5" fmla="*/ 165187 h 327"/>
                <a:gd name="T6" fmla="*/ 147292 w 358"/>
                <a:gd name="T7" fmla="*/ 165187 h 327"/>
                <a:gd name="T8" fmla="*/ 151549 w 358"/>
                <a:gd name="T9" fmla="*/ 168304 h 327"/>
                <a:gd name="T10" fmla="*/ 135798 w 358"/>
                <a:gd name="T11" fmla="*/ 148045 h 327"/>
                <a:gd name="T12" fmla="*/ 118344 w 358"/>
                <a:gd name="T13" fmla="*/ 122072 h 327"/>
                <a:gd name="T14" fmla="*/ 107702 w 358"/>
                <a:gd name="T15" fmla="*/ 105969 h 327"/>
                <a:gd name="T16" fmla="*/ 98762 w 358"/>
                <a:gd name="T17" fmla="*/ 96619 h 327"/>
                <a:gd name="T18" fmla="*/ 93228 w 358"/>
                <a:gd name="T19" fmla="*/ 94021 h 327"/>
                <a:gd name="T20" fmla="*/ 88545 w 358"/>
                <a:gd name="T21" fmla="*/ 93502 h 327"/>
                <a:gd name="T22" fmla="*/ 85565 w 358"/>
                <a:gd name="T23" fmla="*/ 92983 h 327"/>
                <a:gd name="T24" fmla="*/ 84714 w 358"/>
                <a:gd name="T25" fmla="*/ 90385 h 327"/>
                <a:gd name="T26" fmla="*/ 84288 w 358"/>
                <a:gd name="T27" fmla="*/ 88307 h 327"/>
                <a:gd name="T28" fmla="*/ 83011 w 358"/>
                <a:gd name="T29" fmla="*/ 87788 h 327"/>
                <a:gd name="T30" fmla="*/ 78328 w 358"/>
                <a:gd name="T31" fmla="*/ 89346 h 327"/>
                <a:gd name="T32" fmla="*/ 72794 w 358"/>
                <a:gd name="T33" fmla="*/ 89346 h 327"/>
                <a:gd name="T34" fmla="*/ 70240 w 358"/>
                <a:gd name="T35" fmla="*/ 87269 h 327"/>
                <a:gd name="T36" fmla="*/ 68112 w 358"/>
                <a:gd name="T37" fmla="*/ 83632 h 327"/>
                <a:gd name="T38" fmla="*/ 64706 w 358"/>
                <a:gd name="T39" fmla="*/ 74802 h 327"/>
                <a:gd name="T40" fmla="*/ 60875 w 358"/>
                <a:gd name="T41" fmla="*/ 68049 h 327"/>
                <a:gd name="T42" fmla="*/ 56618 w 358"/>
                <a:gd name="T43" fmla="*/ 61815 h 327"/>
                <a:gd name="T44" fmla="*/ 54064 w 358"/>
                <a:gd name="T45" fmla="*/ 54543 h 327"/>
                <a:gd name="T46" fmla="*/ 51935 w 358"/>
                <a:gd name="T47" fmla="*/ 43634 h 327"/>
                <a:gd name="T48" fmla="*/ 50658 w 358"/>
                <a:gd name="T49" fmla="*/ 27531 h 327"/>
                <a:gd name="T50" fmla="*/ 49807 w 358"/>
                <a:gd name="T51" fmla="*/ 11947 h 327"/>
                <a:gd name="T52" fmla="*/ 47678 w 358"/>
                <a:gd name="T53" fmla="*/ 0 h 327"/>
                <a:gd name="T54" fmla="*/ 31076 w 358"/>
                <a:gd name="T55" fmla="*/ 13506 h 327"/>
                <a:gd name="T56" fmla="*/ 25968 w 358"/>
                <a:gd name="T57" fmla="*/ 17142 h 327"/>
                <a:gd name="T58" fmla="*/ 14048 w 358"/>
                <a:gd name="T59" fmla="*/ 25973 h 327"/>
                <a:gd name="T60" fmla="*/ 8940 w 358"/>
                <a:gd name="T61" fmla="*/ 31687 h 327"/>
                <a:gd name="T62" fmla="*/ 7237 w 358"/>
                <a:gd name="T63" fmla="*/ 37401 h 327"/>
                <a:gd name="T64" fmla="*/ 6811 w 358"/>
                <a:gd name="T65" fmla="*/ 43115 h 327"/>
                <a:gd name="T66" fmla="*/ 8514 w 358"/>
                <a:gd name="T67" fmla="*/ 48309 h 327"/>
                <a:gd name="T68" fmla="*/ 9365 w 358"/>
                <a:gd name="T69" fmla="*/ 51946 h 327"/>
                <a:gd name="T70" fmla="*/ 8514 w 358"/>
                <a:gd name="T71" fmla="*/ 57140 h 327"/>
                <a:gd name="T72" fmla="*/ 6385 w 358"/>
                <a:gd name="T73" fmla="*/ 63893 h 327"/>
                <a:gd name="T74" fmla="*/ 2980 w 358"/>
                <a:gd name="T75" fmla="*/ 70646 h 327"/>
                <a:gd name="T76" fmla="*/ 0 w 358"/>
                <a:gd name="T77" fmla="*/ 80516 h 327"/>
                <a:gd name="T78" fmla="*/ 0 w 358"/>
                <a:gd name="T79" fmla="*/ 90385 h 327"/>
                <a:gd name="T80" fmla="*/ 2128 w 358"/>
                <a:gd name="T81" fmla="*/ 94541 h 327"/>
                <a:gd name="T82" fmla="*/ 4683 w 358"/>
                <a:gd name="T83" fmla="*/ 97138 h 327"/>
                <a:gd name="T84" fmla="*/ 8514 w 358"/>
                <a:gd name="T85" fmla="*/ 96619 h 327"/>
                <a:gd name="T86" fmla="*/ 18731 w 358"/>
                <a:gd name="T87" fmla="*/ 87269 h 327"/>
                <a:gd name="T88" fmla="*/ 25542 w 358"/>
                <a:gd name="T89" fmla="*/ 83632 h 327"/>
                <a:gd name="T90" fmla="*/ 32353 w 358"/>
                <a:gd name="T91" fmla="*/ 77918 h 327"/>
                <a:gd name="T92" fmla="*/ 39590 w 358"/>
                <a:gd name="T93" fmla="*/ 82593 h 327"/>
                <a:gd name="T94" fmla="*/ 46827 w 358"/>
                <a:gd name="T95" fmla="*/ 85191 h 327"/>
                <a:gd name="T96" fmla="*/ 60449 w 358"/>
                <a:gd name="T97" fmla="*/ 93502 h 327"/>
                <a:gd name="T98" fmla="*/ 69389 w 358"/>
                <a:gd name="T99" fmla="*/ 98697 h 327"/>
                <a:gd name="T100" fmla="*/ 83437 w 358"/>
                <a:gd name="T101" fmla="*/ 108566 h 327"/>
                <a:gd name="T102" fmla="*/ 93228 w 358"/>
                <a:gd name="T103" fmla="*/ 116878 h 327"/>
                <a:gd name="T104" fmla="*/ 104296 w 358"/>
                <a:gd name="T105" fmla="*/ 126747 h 327"/>
                <a:gd name="T106" fmla="*/ 108979 w 358"/>
                <a:gd name="T107" fmla="*/ 131942 h 327"/>
                <a:gd name="T108" fmla="*/ 113661 w 358"/>
                <a:gd name="T109" fmla="*/ 140253 h 327"/>
                <a:gd name="T110" fmla="*/ 114513 w 358"/>
                <a:gd name="T111" fmla="*/ 144928 h 327"/>
                <a:gd name="T112" fmla="*/ 114513 w 358"/>
                <a:gd name="T113" fmla="*/ 148564 h 327"/>
                <a:gd name="T114" fmla="*/ 114939 w 358"/>
                <a:gd name="T115" fmla="*/ 150642 h 327"/>
                <a:gd name="T116" fmla="*/ 117493 w 358"/>
                <a:gd name="T117" fmla="*/ 151681 h 327"/>
                <a:gd name="T118" fmla="*/ 124304 w 358"/>
                <a:gd name="T119" fmla="*/ 156876 h 327"/>
                <a:gd name="T120" fmla="*/ 135372 w 358"/>
                <a:gd name="T121" fmla="*/ 166745 h 3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3" name="Freeform 34">
              <a:extLst>
                <a:ext uri="{FF2B5EF4-FFF2-40B4-BE49-F238E27FC236}">
                  <a16:creationId xmlns:a16="http://schemas.microsoft.com/office/drawing/2014/main" xmlns="" id="{4D07CBDF-8C62-196F-8EAC-4D2BAB5AE0CF}"/>
                </a:ext>
              </a:extLst>
            </p:cNvPr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4355291" y="1363334"/>
              <a:ext cx="108497" cy="41835"/>
            </a:xfrm>
            <a:custGeom>
              <a:avLst/>
              <a:gdLst>
                <a:gd name="T0" fmla="*/ 54117 w 292"/>
                <a:gd name="T1" fmla="*/ 0 h 99"/>
                <a:gd name="T2" fmla="*/ 65713 w 292"/>
                <a:gd name="T3" fmla="*/ 0 h 99"/>
                <a:gd name="T4" fmla="*/ 85040 w 292"/>
                <a:gd name="T5" fmla="*/ 577 h 99"/>
                <a:gd name="T6" fmla="*/ 107374 w 292"/>
                <a:gd name="T7" fmla="*/ 3464 h 99"/>
                <a:gd name="T8" fmla="*/ 125413 w 292"/>
                <a:gd name="T9" fmla="*/ 4041 h 99"/>
                <a:gd name="T10" fmla="*/ 124554 w 292"/>
                <a:gd name="T11" fmla="*/ 11545 h 99"/>
                <a:gd name="T12" fmla="*/ 122407 w 292"/>
                <a:gd name="T13" fmla="*/ 19050 h 99"/>
                <a:gd name="T14" fmla="*/ 119830 w 292"/>
                <a:gd name="T15" fmla="*/ 31750 h 99"/>
                <a:gd name="T16" fmla="*/ 57982 w 292"/>
                <a:gd name="T17" fmla="*/ 40409 h 99"/>
                <a:gd name="T18" fmla="*/ 42520 w 292"/>
                <a:gd name="T19" fmla="*/ 51377 h 99"/>
                <a:gd name="T20" fmla="*/ 33930 w 292"/>
                <a:gd name="T21" fmla="*/ 55418 h 99"/>
                <a:gd name="T22" fmla="*/ 28347 w 292"/>
                <a:gd name="T23" fmla="*/ 56573 h 99"/>
                <a:gd name="T24" fmla="*/ 23622 w 292"/>
                <a:gd name="T25" fmla="*/ 56573 h 99"/>
                <a:gd name="T26" fmla="*/ 19327 w 292"/>
                <a:gd name="T27" fmla="*/ 54264 h 99"/>
                <a:gd name="T28" fmla="*/ 14173 w 292"/>
                <a:gd name="T29" fmla="*/ 49645 h 99"/>
                <a:gd name="T30" fmla="*/ 8590 w 292"/>
                <a:gd name="T31" fmla="*/ 44450 h 99"/>
                <a:gd name="T32" fmla="*/ 3006 w 292"/>
                <a:gd name="T33" fmla="*/ 39832 h 99"/>
                <a:gd name="T34" fmla="*/ 429 w 292"/>
                <a:gd name="T35" fmla="*/ 32905 h 99"/>
                <a:gd name="T36" fmla="*/ 0 w 292"/>
                <a:gd name="T37" fmla="*/ 24245 h 99"/>
                <a:gd name="T38" fmla="*/ 429 w 292"/>
                <a:gd name="T39" fmla="*/ 14432 h 99"/>
                <a:gd name="T40" fmla="*/ 1288 w 292"/>
                <a:gd name="T41" fmla="*/ 11545 h 99"/>
                <a:gd name="T42" fmla="*/ 3865 w 292"/>
                <a:gd name="T43" fmla="*/ 10391 h 99"/>
                <a:gd name="T44" fmla="*/ 6442 w 292"/>
                <a:gd name="T45" fmla="*/ 12123 h 99"/>
                <a:gd name="T46" fmla="*/ 10737 w 292"/>
                <a:gd name="T47" fmla="*/ 16164 h 99"/>
                <a:gd name="T48" fmla="*/ 15032 w 292"/>
                <a:gd name="T49" fmla="*/ 18473 h 99"/>
                <a:gd name="T50" fmla="*/ 19327 w 292"/>
                <a:gd name="T51" fmla="*/ 19627 h 99"/>
                <a:gd name="T52" fmla="*/ 23193 w 292"/>
                <a:gd name="T53" fmla="*/ 19050 h 99"/>
                <a:gd name="T54" fmla="*/ 28776 w 292"/>
                <a:gd name="T55" fmla="*/ 16741 h 99"/>
                <a:gd name="T56" fmla="*/ 34789 w 292"/>
                <a:gd name="T57" fmla="*/ 10968 h 99"/>
                <a:gd name="T58" fmla="*/ 37796 w 292"/>
                <a:gd name="T59" fmla="*/ 6350 h 99"/>
                <a:gd name="T60" fmla="*/ 40373 w 292"/>
                <a:gd name="T61" fmla="*/ 3464 h 99"/>
                <a:gd name="T62" fmla="*/ 46815 w 292"/>
                <a:gd name="T63" fmla="*/ 577 h 9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4" name="Freeform 35">
              <a:extLst>
                <a:ext uri="{FF2B5EF4-FFF2-40B4-BE49-F238E27FC236}">
                  <a16:creationId xmlns:a16="http://schemas.microsoft.com/office/drawing/2014/main" xmlns="" id="{F63951BD-01FB-BF3E-880E-24D810FD6BB6}"/>
                </a:ext>
              </a:extLst>
            </p:cNvPr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5102406" y="1890908"/>
              <a:ext cx="16480" cy="41835"/>
            </a:xfrm>
            <a:custGeom>
              <a:avLst/>
              <a:gdLst>
                <a:gd name="T0" fmla="*/ 17278 w 43"/>
                <a:gd name="T1" fmla="*/ 57150 h 93"/>
                <a:gd name="T2" fmla="*/ 13734 w 43"/>
                <a:gd name="T3" fmla="*/ 55921 h 93"/>
                <a:gd name="T4" fmla="*/ 11519 w 43"/>
                <a:gd name="T5" fmla="*/ 54692 h 93"/>
                <a:gd name="T6" fmla="*/ 9303 w 43"/>
                <a:gd name="T7" fmla="*/ 53463 h 93"/>
                <a:gd name="T8" fmla="*/ 7974 w 43"/>
                <a:gd name="T9" fmla="*/ 51619 h 93"/>
                <a:gd name="T10" fmla="*/ 6645 w 43"/>
                <a:gd name="T11" fmla="*/ 48547 h 93"/>
                <a:gd name="T12" fmla="*/ 6202 w 43"/>
                <a:gd name="T13" fmla="*/ 44860 h 93"/>
                <a:gd name="T14" fmla="*/ 5759 w 43"/>
                <a:gd name="T15" fmla="*/ 39944 h 93"/>
                <a:gd name="T16" fmla="*/ 4873 w 43"/>
                <a:gd name="T17" fmla="*/ 33798 h 93"/>
                <a:gd name="T18" fmla="*/ 4873 w 43"/>
                <a:gd name="T19" fmla="*/ 29497 h 93"/>
                <a:gd name="T20" fmla="*/ 3987 w 43"/>
                <a:gd name="T21" fmla="*/ 25810 h 93"/>
                <a:gd name="T22" fmla="*/ 2658 w 43"/>
                <a:gd name="T23" fmla="*/ 23352 h 93"/>
                <a:gd name="T24" fmla="*/ 1772 w 43"/>
                <a:gd name="T25" fmla="*/ 22123 h 93"/>
                <a:gd name="T26" fmla="*/ 886 w 43"/>
                <a:gd name="T27" fmla="*/ 20894 h 93"/>
                <a:gd name="T28" fmla="*/ 0 w 43"/>
                <a:gd name="T29" fmla="*/ 19665 h 93"/>
                <a:gd name="T30" fmla="*/ 886 w 43"/>
                <a:gd name="T31" fmla="*/ 17821 h 93"/>
                <a:gd name="T32" fmla="*/ 2215 w 43"/>
                <a:gd name="T33" fmla="*/ 14748 h 93"/>
                <a:gd name="T34" fmla="*/ 2658 w 43"/>
                <a:gd name="T35" fmla="*/ 17206 h 93"/>
                <a:gd name="T36" fmla="*/ 3101 w 43"/>
                <a:gd name="T37" fmla="*/ 17821 h 93"/>
                <a:gd name="T38" fmla="*/ 3544 w 43"/>
                <a:gd name="T39" fmla="*/ 18435 h 93"/>
                <a:gd name="T40" fmla="*/ 3987 w 43"/>
                <a:gd name="T41" fmla="*/ 17821 h 93"/>
                <a:gd name="T42" fmla="*/ 4873 w 43"/>
                <a:gd name="T43" fmla="*/ 15363 h 93"/>
                <a:gd name="T44" fmla="*/ 6202 w 43"/>
                <a:gd name="T45" fmla="*/ 11676 h 93"/>
                <a:gd name="T46" fmla="*/ 7088 w 43"/>
                <a:gd name="T47" fmla="*/ 7374 h 93"/>
                <a:gd name="T48" fmla="*/ 8860 w 43"/>
                <a:gd name="T49" fmla="*/ 3687 h 93"/>
                <a:gd name="T50" fmla="*/ 9747 w 43"/>
                <a:gd name="T51" fmla="*/ 2458 h 93"/>
                <a:gd name="T52" fmla="*/ 11076 w 43"/>
                <a:gd name="T53" fmla="*/ 1229 h 93"/>
                <a:gd name="T54" fmla="*/ 12405 w 43"/>
                <a:gd name="T55" fmla="*/ 0 h 93"/>
                <a:gd name="T56" fmla="*/ 14177 w 43"/>
                <a:gd name="T57" fmla="*/ 0 h 93"/>
                <a:gd name="T58" fmla="*/ 14620 w 43"/>
                <a:gd name="T59" fmla="*/ 6145 h 93"/>
                <a:gd name="T60" fmla="*/ 14620 w 43"/>
                <a:gd name="T61" fmla="*/ 9832 h 93"/>
                <a:gd name="T62" fmla="*/ 14620 w 43"/>
                <a:gd name="T63" fmla="*/ 12290 h 93"/>
                <a:gd name="T64" fmla="*/ 14177 w 43"/>
                <a:gd name="T65" fmla="*/ 14134 h 93"/>
                <a:gd name="T66" fmla="*/ 14177 w 43"/>
                <a:gd name="T67" fmla="*/ 16592 h 93"/>
                <a:gd name="T68" fmla="*/ 14177 w 43"/>
                <a:gd name="T69" fmla="*/ 19050 h 93"/>
                <a:gd name="T70" fmla="*/ 15506 w 43"/>
                <a:gd name="T71" fmla="*/ 22123 h 93"/>
                <a:gd name="T72" fmla="*/ 17278 w 43"/>
                <a:gd name="T73" fmla="*/ 26424 h 93"/>
                <a:gd name="T74" fmla="*/ 16835 w 43"/>
                <a:gd name="T75" fmla="*/ 27039 h 93"/>
                <a:gd name="T76" fmla="*/ 16392 w 43"/>
                <a:gd name="T77" fmla="*/ 27653 h 93"/>
                <a:gd name="T78" fmla="*/ 16392 w 43"/>
                <a:gd name="T79" fmla="*/ 29497 h 93"/>
                <a:gd name="T80" fmla="*/ 16835 w 43"/>
                <a:gd name="T81" fmla="*/ 31340 h 93"/>
                <a:gd name="T82" fmla="*/ 17278 w 43"/>
                <a:gd name="T83" fmla="*/ 36256 h 93"/>
                <a:gd name="T84" fmla="*/ 18164 w 43"/>
                <a:gd name="T85" fmla="*/ 41787 h 93"/>
                <a:gd name="T86" fmla="*/ 18607 w 43"/>
                <a:gd name="T87" fmla="*/ 46703 h 93"/>
                <a:gd name="T88" fmla="*/ 19050 w 43"/>
                <a:gd name="T89" fmla="*/ 52234 h 93"/>
                <a:gd name="T90" fmla="*/ 19050 w 43"/>
                <a:gd name="T91" fmla="*/ 54077 h 93"/>
                <a:gd name="T92" fmla="*/ 18607 w 43"/>
                <a:gd name="T93" fmla="*/ 55921 h 93"/>
                <a:gd name="T94" fmla="*/ 17721 w 43"/>
                <a:gd name="T95" fmla="*/ 56535 h 93"/>
                <a:gd name="T96" fmla="*/ 17278 w 43"/>
                <a:gd name="T97" fmla="*/ 57150 h 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5" name="Freeform 36">
              <a:extLst>
                <a:ext uri="{FF2B5EF4-FFF2-40B4-BE49-F238E27FC236}">
                  <a16:creationId xmlns:a16="http://schemas.microsoft.com/office/drawing/2014/main" xmlns="" id="{AEACBAE1-3E5A-7168-CB68-722E8AE2C9D5}"/>
                </a:ext>
              </a:extLst>
            </p:cNvPr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5205410" y="1894394"/>
              <a:ext cx="12360" cy="41835"/>
            </a:xfrm>
            <a:custGeom>
              <a:avLst/>
              <a:gdLst>
                <a:gd name="T0" fmla="*/ 14287 w 40"/>
                <a:gd name="T1" fmla="*/ 57150 h 56"/>
                <a:gd name="T2" fmla="*/ 13215 w 40"/>
                <a:gd name="T3" fmla="*/ 46945 h 56"/>
                <a:gd name="T4" fmla="*/ 11787 w 40"/>
                <a:gd name="T5" fmla="*/ 38780 h 56"/>
                <a:gd name="T6" fmla="*/ 10001 w 40"/>
                <a:gd name="T7" fmla="*/ 32657 h 56"/>
                <a:gd name="T8" fmla="*/ 8215 w 40"/>
                <a:gd name="T9" fmla="*/ 28575 h 56"/>
                <a:gd name="T10" fmla="*/ 3929 w 40"/>
                <a:gd name="T11" fmla="*/ 21431 h 56"/>
                <a:gd name="T12" fmla="*/ 0 w 40"/>
                <a:gd name="T13" fmla="*/ 12246 h 56"/>
                <a:gd name="T14" fmla="*/ 4643 w 40"/>
                <a:gd name="T15" fmla="*/ 4082 h 56"/>
                <a:gd name="T16" fmla="*/ 7144 w 40"/>
                <a:gd name="T17" fmla="*/ 0 h 56"/>
                <a:gd name="T18" fmla="*/ 10001 w 40"/>
                <a:gd name="T19" fmla="*/ 12246 h 56"/>
                <a:gd name="T20" fmla="*/ 12501 w 40"/>
                <a:gd name="T21" fmla="*/ 22452 h 56"/>
                <a:gd name="T22" fmla="*/ 13215 w 40"/>
                <a:gd name="T23" fmla="*/ 25513 h 56"/>
                <a:gd name="T24" fmla="*/ 13930 w 40"/>
                <a:gd name="T25" fmla="*/ 29596 h 56"/>
                <a:gd name="T26" fmla="*/ 13930 w 40"/>
                <a:gd name="T27" fmla="*/ 33678 h 56"/>
                <a:gd name="T28" fmla="*/ 14287 w 40"/>
                <a:gd name="T29" fmla="*/ 37760 h 56"/>
                <a:gd name="T30" fmla="*/ 14287 w 40"/>
                <a:gd name="T31" fmla="*/ 44904 h 56"/>
                <a:gd name="T32" fmla="*/ 14287 w 40"/>
                <a:gd name="T33" fmla="*/ 46945 h 56"/>
                <a:gd name="T34" fmla="*/ 14287 w 40"/>
                <a:gd name="T35" fmla="*/ 50006 h 56"/>
                <a:gd name="T36" fmla="*/ 14287 w 40"/>
                <a:gd name="T37" fmla="*/ 57150 h 5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6" name="Freeform 37">
              <a:extLst>
                <a:ext uri="{FF2B5EF4-FFF2-40B4-BE49-F238E27FC236}">
                  <a16:creationId xmlns:a16="http://schemas.microsoft.com/office/drawing/2014/main" xmlns="" id="{04AA9CE3-3290-8444-9F4D-D661C91718FB}"/>
                </a:ext>
              </a:extLst>
            </p:cNvPr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6492261" y="2377810"/>
              <a:ext cx="38454" cy="41835"/>
            </a:xfrm>
            <a:custGeom>
              <a:avLst/>
              <a:gdLst>
                <a:gd name="T0" fmla="*/ 0 w 106"/>
                <a:gd name="T1" fmla="*/ 5635 h 71"/>
                <a:gd name="T2" fmla="*/ 5032 w 106"/>
                <a:gd name="T3" fmla="*/ 8049 h 71"/>
                <a:gd name="T4" fmla="*/ 10064 w 106"/>
                <a:gd name="T5" fmla="*/ 9659 h 71"/>
                <a:gd name="T6" fmla="*/ 14677 w 106"/>
                <a:gd name="T7" fmla="*/ 10464 h 71"/>
                <a:gd name="T8" fmla="*/ 18870 w 106"/>
                <a:gd name="T9" fmla="*/ 10464 h 71"/>
                <a:gd name="T10" fmla="*/ 22644 w 106"/>
                <a:gd name="T11" fmla="*/ 8854 h 71"/>
                <a:gd name="T12" fmla="*/ 25580 w 106"/>
                <a:gd name="T13" fmla="*/ 6439 h 71"/>
                <a:gd name="T14" fmla="*/ 28515 w 106"/>
                <a:gd name="T15" fmla="*/ 4025 h 71"/>
                <a:gd name="T16" fmla="*/ 31031 w 106"/>
                <a:gd name="T17" fmla="*/ 0 h 71"/>
                <a:gd name="T18" fmla="*/ 35225 w 106"/>
                <a:gd name="T19" fmla="*/ 12879 h 71"/>
                <a:gd name="T20" fmla="*/ 39418 w 106"/>
                <a:gd name="T21" fmla="*/ 24148 h 71"/>
                <a:gd name="T22" fmla="*/ 42353 w 106"/>
                <a:gd name="T23" fmla="*/ 35417 h 71"/>
                <a:gd name="T24" fmla="*/ 44031 w 106"/>
                <a:gd name="T25" fmla="*/ 44271 h 71"/>
                <a:gd name="T26" fmla="*/ 44450 w 106"/>
                <a:gd name="T27" fmla="*/ 48296 h 71"/>
                <a:gd name="T28" fmla="*/ 44450 w 106"/>
                <a:gd name="T29" fmla="*/ 50711 h 71"/>
                <a:gd name="T30" fmla="*/ 44031 w 106"/>
                <a:gd name="T31" fmla="*/ 53930 h 71"/>
                <a:gd name="T32" fmla="*/ 43192 w 106"/>
                <a:gd name="T33" fmla="*/ 55540 h 71"/>
                <a:gd name="T34" fmla="*/ 42353 w 106"/>
                <a:gd name="T35" fmla="*/ 56345 h 71"/>
                <a:gd name="T36" fmla="*/ 41095 w 106"/>
                <a:gd name="T37" fmla="*/ 56345 h 71"/>
                <a:gd name="T38" fmla="*/ 38579 w 106"/>
                <a:gd name="T39" fmla="*/ 56345 h 71"/>
                <a:gd name="T40" fmla="*/ 36483 w 106"/>
                <a:gd name="T41" fmla="*/ 54735 h 71"/>
                <a:gd name="T42" fmla="*/ 31031 w 106"/>
                <a:gd name="T43" fmla="*/ 56345 h 71"/>
                <a:gd name="T44" fmla="*/ 26418 w 106"/>
                <a:gd name="T45" fmla="*/ 57150 h 71"/>
                <a:gd name="T46" fmla="*/ 22225 w 106"/>
                <a:gd name="T47" fmla="*/ 55540 h 71"/>
                <a:gd name="T48" fmla="*/ 18870 w 106"/>
                <a:gd name="T49" fmla="*/ 53125 h 71"/>
                <a:gd name="T50" fmla="*/ 15516 w 106"/>
                <a:gd name="T51" fmla="*/ 49906 h 71"/>
                <a:gd name="T52" fmla="*/ 13419 w 106"/>
                <a:gd name="T53" fmla="*/ 45881 h 71"/>
                <a:gd name="T54" fmla="*/ 11322 w 106"/>
                <a:gd name="T55" fmla="*/ 41051 h 71"/>
                <a:gd name="T56" fmla="*/ 10064 w 106"/>
                <a:gd name="T57" fmla="*/ 36222 h 71"/>
                <a:gd name="T58" fmla="*/ 8806 w 106"/>
                <a:gd name="T59" fmla="*/ 30587 h 71"/>
                <a:gd name="T60" fmla="*/ 8387 w 106"/>
                <a:gd name="T61" fmla="*/ 24148 h 71"/>
                <a:gd name="T62" fmla="*/ 7967 w 106"/>
                <a:gd name="T63" fmla="*/ 19318 h 71"/>
                <a:gd name="T64" fmla="*/ 7548 w 106"/>
                <a:gd name="T65" fmla="*/ 15294 h 71"/>
                <a:gd name="T66" fmla="*/ 7548 w 106"/>
                <a:gd name="T67" fmla="*/ 11269 h 71"/>
                <a:gd name="T68" fmla="*/ 7967 w 106"/>
                <a:gd name="T69" fmla="*/ 8049 h 71"/>
                <a:gd name="T70" fmla="*/ 8387 w 106"/>
                <a:gd name="T71" fmla="*/ 5635 h 71"/>
                <a:gd name="T72" fmla="*/ 8806 w 106"/>
                <a:gd name="T73" fmla="*/ 5635 h 71"/>
                <a:gd name="T74" fmla="*/ 8387 w 106"/>
                <a:gd name="T75" fmla="*/ 8049 h 71"/>
                <a:gd name="T76" fmla="*/ 7967 w 106"/>
                <a:gd name="T77" fmla="*/ 12879 h 71"/>
                <a:gd name="T78" fmla="*/ 7967 w 106"/>
                <a:gd name="T79" fmla="*/ 13684 h 71"/>
                <a:gd name="T80" fmla="*/ 7967 w 106"/>
                <a:gd name="T81" fmla="*/ 13684 h 71"/>
                <a:gd name="T82" fmla="*/ 8387 w 106"/>
                <a:gd name="T83" fmla="*/ 13684 h 71"/>
                <a:gd name="T84" fmla="*/ 8806 w 106"/>
                <a:gd name="T85" fmla="*/ 13684 h 71"/>
                <a:gd name="T86" fmla="*/ 9645 w 106"/>
                <a:gd name="T87" fmla="*/ 10464 h 71"/>
                <a:gd name="T88" fmla="*/ 11322 w 106"/>
                <a:gd name="T89" fmla="*/ 5635 h 71"/>
                <a:gd name="T90" fmla="*/ 0 w 106"/>
                <a:gd name="T91" fmla="*/ 5635 h 7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grpSp>
          <p:nvGrpSpPr>
            <p:cNvPr id="37" name="Group 38">
              <a:extLst>
                <a:ext uri="{FF2B5EF4-FFF2-40B4-BE49-F238E27FC236}">
                  <a16:creationId xmlns:a16="http://schemas.microsoft.com/office/drawing/2014/main" xmlns="" id="{FB2F8C8D-6C7D-D1C2-AD25-444DB4F4DCA5}"/>
                </a:ext>
              </a:extLst>
            </p:cNvPr>
            <p:cNvGrpSpPr>
              <a:grpSpLocks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2903634" y="3701394"/>
              <a:ext cx="56308" cy="40672"/>
              <a:chOff x="1654" y="3671"/>
              <a:chExt cx="49" cy="17"/>
            </a:xfrm>
          </p:grpSpPr>
          <p:sp>
            <p:nvSpPr>
              <p:cNvPr id="545" name="Freeform 39">
                <a:extLst>
                  <a:ext uri="{FF2B5EF4-FFF2-40B4-BE49-F238E27FC236}">
                    <a16:creationId xmlns:a16="http://schemas.microsoft.com/office/drawing/2014/main" xmlns="" id="{6861AD05-FE5A-1FA8-86F9-98FF5E010D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9 w 59"/>
                  <a:gd name="T1" fmla="*/ 14 h 43"/>
                  <a:gd name="T2" fmla="*/ 20 w 59"/>
                  <a:gd name="T3" fmla="*/ 6 h 43"/>
                  <a:gd name="T4" fmla="*/ 19 w 59"/>
                  <a:gd name="T5" fmla="*/ 5 h 43"/>
                  <a:gd name="T6" fmla="*/ 17 w 59"/>
                  <a:gd name="T7" fmla="*/ 3 h 43"/>
                  <a:gd name="T8" fmla="*/ 16 w 59"/>
                  <a:gd name="T9" fmla="*/ 2 h 43"/>
                  <a:gd name="T10" fmla="*/ 16 w 59"/>
                  <a:gd name="T11" fmla="*/ 0 h 43"/>
                  <a:gd name="T12" fmla="*/ 14 w 59"/>
                  <a:gd name="T13" fmla="*/ 0 h 43"/>
                  <a:gd name="T14" fmla="*/ 12 w 59"/>
                  <a:gd name="T15" fmla="*/ 1 h 43"/>
                  <a:gd name="T16" fmla="*/ 11 w 59"/>
                  <a:gd name="T17" fmla="*/ 2 h 43"/>
                  <a:gd name="T18" fmla="*/ 10 w 59"/>
                  <a:gd name="T19" fmla="*/ 3 h 43"/>
                  <a:gd name="T20" fmla="*/ 9 w 59"/>
                  <a:gd name="T21" fmla="*/ 3 h 43"/>
                  <a:gd name="T22" fmla="*/ 9 w 59"/>
                  <a:gd name="T23" fmla="*/ 4 h 43"/>
                  <a:gd name="T24" fmla="*/ 7 w 59"/>
                  <a:gd name="T25" fmla="*/ 4 h 43"/>
                  <a:gd name="T26" fmla="*/ 4 w 59"/>
                  <a:gd name="T27" fmla="*/ 5 h 43"/>
                  <a:gd name="T28" fmla="*/ 2 w 59"/>
                  <a:gd name="T29" fmla="*/ 7 h 43"/>
                  <a:gd name="T30" fmla="*/ 0 w 59"/>
                  <a:gd name="T31" fmla="*/ 8 h 43"/>
                  <a:gd name="T32" fmla="*/ 2 w 59"/>
                  <a:gd name="T33" fmla="*/ 9 h 43"/>
                  <a:gd name="T34" fmla="*/ 3 w 59"/>
                  <a:gd name="T35" fmla="*/ 11 h 43"/>
                  <a:gd name="T36" fmla="*/ 6 w 59"/>
                  <a:gd name="T37" fmla="*/ 13 h 43"/>
                  <a:gd name="T38" fmla="*/ 9 w 59"/>
                  <a:gd name="T39" fmla="*/ 14 h 4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546" name="Freeform 40">
                <a:extLst>
                  <a:ext uri="{FF2B5EF4-FFF2-40B4-BE49-F238E27FC236}">
                    <a16:creationId xmlns:a16="http://schemas.microsoft.com/office/drawing/2014/main" xmlns="" id="{E58508A2-CBF2-B0F0-8DC3-B99C9E90FD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1 h 51"/>
                  <a:gd name="T2" fmla="*/ 8 w 67"/>
                  <a:gd name="T3" fmla="*/ 0 h 51"/>
                  <a:gd name="T4" fmla="*/ 13 w 67"/>
                  <a:gd name="T5" fmla="*/ 0 h 51"/>
                  <a:gd name="T6" fmla="*/ 15 w 67"/>
                  <a:gd name="T7" fmla="*/ 0 h 51"/>
                  <a:gd name="T8" fmla="*/ 17 w 67"/>
                  <a:gd name="T9" fmla="*/ 1 h 51"/>
                  <a:gd name="T10" fmla="*/ 19 w 67"/>
                  <a:gd name="T11" fmla="*/ 1 h 51"/>
                  <a:gd name="T12" fmla="*/ 22 w 67"/>
                  <a:gd name="T13" fmla="*/ 3 h 51"/>
                  <a:gd name="T14" fmla="*/ 18 w 67"/>
                  <a:gd name="T15" fmla="*/ 4 h 51"/>
                  <a:gd name="T16" fmla="*/ 15 w 67"/>
                  <a:gd name="T17" fmla="*/ 6 h 51"/>
                  <a:gd name="T18" fmla="*/ 14 w 67"/>
                  <a:gd name="T19" fmla="*/ 7 h 51"/>
                  <a:gd name="T20" fmla="*/ 12 w 67"/>
                  <a:gd name="T21" fmla="*/ 8 h 51"/>
                  <a:gd name="T22" fmla="*/ 10 w 67"/>
                  <a:gd name="T23" fmla="*/ 9 h 51"/>
                  <a:gd name="T24" fmla="*/ 7 w 67"/>
                  <a:gd name="T25" fmla="*/ 9 h 51"/>
                  <a:gd name="T26" fmla="*/ 8 w 67"/>
                  <a:gd name="T27" fmla="*/ 9 h 51"/>
                  <a:gd name="T28" fmla="*/ 11 w 67"/>
                  <a:gd name="T29" fmla="*/ 9 h 51"/>
                  <a:gd name="T30" fmla="*/ 10 w 67"/>
                  <a:gd name="T31" fmla="*/ 11 h 51"/>
                  <a:gd name="T32" fmla="*/ 8 w 67"/>
                  <a:gd name="T33" fmla="*/ 13 h 51"/>
                  <a:gd name="T34" fmla="*/ 7 w 67"/>
                  <a:gd name="T35" fmla="*/ 15 h 51"/>
                  <a:gd name="T36" fmla="*/ 7 w 67"/>
                  <a:gd name="T37" fmla="*/ 15 h 51"/>
                  <a:gd name="T38" fmla="*/ 4 w 67"/>
                  <a:gd name="T39" fmla="*/ 16 h 51"/>
                  <a:gd name="T40" fmla="*/ 0 w 67"/>
                  <a:gd name="T41" fmla="*/ 17 h 51"/>
                  <a:gd name="T42" fmla="*/ 0 w 67"/>
                  <a:gd name="T43" fmla="*/ 1 h 5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</p:grpSp>
        <p:sp>
          <p:nvSpPr>
            <p:cNvPr id="38" name="Freeform 41">
              <a:extLst>
                <a:ext uri="{FF2B5EF4-FFF2-40B4-BE49-F238E27FC236}">
                  <a16:creationId xmlns:a16="http://schemas.microsoft.com/office/drawing/2014/main" xmlns="" id="{C6B44B4F-2C8F-ACF8-3B44-38B91B3F48A4}"/>
                </a:ext>
              </a:extLst>
            </p:cNvPr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2598744" y="2087297"/>
              <a:ext cx="27467" cy="42996"/>
            </a:xfrm>
            <a:custGeom>
              <a:avLst/>
              <a:gdLst>
                <a:gd name="T0" fmla="*/ 0 w 80"/>
                <a:gd name="T1" fmla="*/ 25913 h 34"/>
                <a:gd name="T2" fmla="*/ 397 w 80"/>
                <a:gd name="T3" fmla="*/ 32824 h 34"/>
                <a:gd name="T4" fmla="*/ 794 w 80"/>
                <a:gd name="T5" fmla="*/ 36279 h 34"/>
                <a:gd name="T6" fmla="*/ 1588 w 80"/>
                <a:gd name="T7" fmla="*/ 41461 h 34"/>
                <a:gd name="T8" fmla="*/ 2778 w 80"/>
                <a:gd name="T9" fmla="*/ 44917 h 34"/>
                <a:gd name="T10" fmla="*/ 5159 w 80"/>
                <a:gd name="T11" fmla="*/ 50099 h 34"/>
                <a:gd name="T12" fmla="*/ 8731 w 80"/>
                <a:gd name="T13" fmla="*/ 53554 h 34"/>
                <a:gd name="T14" fmla="*/ 15875 w 80"/>
                <a:gd name="T15" fmla="*/ 57009 h 34"/>
                <a:gd name="T16" fmla="*/ 21431 w 80"/>
                <a:gd name="T17" fmla="*/ 58737 h 34"/>
                <a:gd name="T18" fmla="*/ 23019 w 80"/>
                <a:gd name="T19" fmla="*/ 57009 h 34"/>
                <a:gd name="T20" fmla="*/ 24606 w 80"/>
                <a:gd name="T21" fmla="*/ 55282 h 34"/>
                <a:gd name="T22" fmla="*/ 25797 w 80"/>
                <a:gd name="T23" fmla="*/ 50099 h 34"/>
                <a:gd name="T24" fmla="*/ 26591 w 80"/>
                <a:gd name="T25" fmla="*/ 46644 h 34"/>
                <a:gd name="T26" fmla="*/ 28972 w 80"/>
                <a:gd name="T27" fmla="*/ 36279 h 34"/>
                <a:gd name="T28" fmla="*/ 31750 w 80"/>
                <a:gd name="T29" fmla="*/ 25913 h 34"/>
                <a:gd name="T30" fmla="*/ 29766 w 80"/>
                <a:gd name="T31" fmla="*/ 17276 h 34"/>
                <a:gd name="T32" fmla="*/ 27781 w 80"/>
                <a:gd name="T33" fmla="*/ 12093 h 34"/>
                <a:gd name="T34" fmla="*/ 25797 w 80"/>
                <a:gd name="T35" fmla="*/ 6910 h 34"/>
                <a:gd name="T36" fmla="*/ 23813 w 80"/>
                <a:gd name="T37" fmla="*/ 3455 h 34"/>
                <a:gd name="T38" fmla="*/ 21828 w 80"/>
                <a:gd name="T39" fmla="*/ 0 h 34"/>
                <a:gd name="T40" fmla="*/ 20241 w 80"/>
                <a:gd name="T41" fmla="*/ 0 h 34"/>
                <a:gd name="T42" fmla="*/ 17859 w 80"/>
                <a:gd name="T43" fmla="*/ 1728 h 34"/>
                <a:gd name="T44" fmla="*/ 16272 w 80"/>
                <a:gd name="T45" fmla="*/ 3455 h 34"/>
                <a:gd name="T46" fmla="*/ 13494 w 80"/>
                <a:gd name="T47" fmla="*/ 3455 h 34"/>
                <a:gd name="T48" fmla="*/ 8334 w 80"/>
                <a:gd name="T49" fmla="*/ 3455 h 34"/>
                <a:gd name="T50" fmla="*/ 5159 w 80"/>
                <a:gd name="T51" fmla="*/ 5183 h 34"/>
                <a:gd name="T52" fmla="*/ 2778 w 80"/>
                <a:gd name="T53" fmla="*/ 8638 h 34"/>
                <a:gd name="T54" fmla="*/ 1588 w 80"/>
                <a:gd name="T55" fmla="*/ 12093 h 34"/>
                <a:gd name="T56" fmla="*/ 794 w 80"/>
                <a:gd name="T57" fmla="*/ 15548 h 34"/>
                <a:gd name="T58" fmla="*/ 397 w 80"/>
                <a:gd name="T59" fmla="*/ 19003 h 34"/>
                <a:gd name="T60" fmla="*/ 0 w 80"/>
                <a:gd name="T61" fmla="*/ 25913 h 3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9" name="Freeform 42">
              <a:extLst>
                <a:ext uri="{FF2B5EF4-FFF2-40B4-BE49-F238E27FC236}">
                  <a16:creationId xmlns:a16="http://schemas.microsoft.com/office/drawing/2014/main" xmlns="" id="{C25CE637-F0B2-7724-2980-418F12DCF921}"/>
                </a:ext>
              </a:extLst>
            </p:cNvPr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2646812" y="2091945"/>
              <a:ext cx="1374" cy="42996"/>
            </a:xfrm>
            <a:custGeom>
              <a:avLst/>
              <a:gdLst>
                <a:gd name="T0" fmla="*/ 0 w 7"/>
                <a:gd name="T1" fmla="*/ 0 h 13"/>
                <a:gd name="T2" fmla="*/ 1588 w 7"/>
                <a:gd name="T3" fmla="*/ 58737 h 13"/>
                <a:gd name="T4" fmla="*/ 1588 w 7"/>
                <a:gd name="T5" fmla="*/ 31628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40" name="Freeform 43">
              <a:extLst>
                <a:ext uri="{FF2B5EF4-FFF2-40B4-BE49-F238E27FC236}">
                  <a16:creationId xmlns:a16="http://schemas.microsoft.com/office/drawing/2014/main" xmlns="" id="{AB07622F-3866-DAD3-A479-E0BA0462A0E6}"/>
                </a:ext>
              </a:extLst>
            </p:cNvPr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2657799" y="2093106"/>
              <a:ext cx="5493" cy="42997"/>
            </a:xfrm>
            <a:custGeom>
              <a:avLst/>
              <a:gdLst>
                <a:gd name="T0" fmla="*/ 0 w 20"/>
                <a:gd name="T1" fmla="*/ 0 h 6"/>
                <a:gd name="T2" fmla="*/ 2223 w 20"/>
                <a:gd name="T3" fmla="*/ 29369 h 6"/>
                <a:gd name="T4" fmla="*/ 6350 w 20"/>
                <a:gd name="T5" fmla="*/ 58738 h 6"/>
                <a:gd name="T6" fmla="*/ 0 w 20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41" name="Freeform 44">
              <a:extLst>
                <a:ext uri="{FF2B5EF4-FFF2-40B4-BE49-F238E27FC236}">
                  <a16:creationId xmlns:a16="http://schemas.microsoft.com/office/drawing/2014/main" xmlns="" id="{1DA49251-86CA-52FB-F040-4563E607CB79}"/>
                </a:ext>
              </a:extLst>
            </p:cNvPr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2670160" y="2086134"/>
              <a:ext cx="6866" cy="41835"/>
            </a:xfrm>
            <a:custGeom>
              <a:avLst/>
              <a:gdLst>
                <a:gd name="T0" fmla="*/ 0 w 14"/>
                <a:gd name="T1" fmla="*/ 57150 h 12"/>
                <a:gd name="T2" fmla="*/ 7937 w 14"/>
                <a:gd name="T3" fmla="*/ 0 h 12"/>
                <a:gd name="T4" fmla="*/ 0 w 14"/>
                <a:gd name="T5" fmla="*/ 57150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42" name="Freeform 45">
              <a:extLst>
                <a:ext uri="{FF2B5EF4-FFF2-40B4-BE49-F238E27FC236}">
                  <a16:creationId xmlns:a16="http://schemas.microsoft.com/office/drawing/2014/main" xmlns="" id="{E386C275-C0AD-5F7B-48F6-CFE3AAE87AB6}"/>
                </a:ext>
              </a:extLst>
            </p:cNvPr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2652306" y="2080325"/>
              <a:ext cx="9614" cy="42996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33564 h 7"/>
                <a:gd name="T4" fmla="*/ 823 w 27"/>
                <a:gd name="T5" fmla="*/ 50346 h 7"/>
                <a:gd name="T6" fmla="*/ 2881 w 27"/>
                <a:gd name="T7" fmla="*/ 58737 h 7"/>
                <a:gd name="T8" fmla="*/ 4116 w 27"/>
                <a:gd name="T9" fmla="*/ 58737 h 7"/>
                <a:gd name="T10" fmla="*/ 6174 w 27"/>
                <a:gd name="T11" fmla="*/ 50346 h 7"/>
                <a:gd name="T12" fmla="*/ 7820 w 27"/>
                <a:gd name="T13" fmla="*/ 33564 h 7"/>
                <a:gd name="T14" fmla="*/ 9467 w 27"/>
                <a:gd name="T15" fmla="*/ 16782 h 7"/>
                <a:gd name="T16" fmla="*/ 11113 w 27"/>
                <a:gd name="T17" fmla="*/ 0 h 7"/>
                <a:gd name="T18" fmla="*/ 0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43" name="Freeform 46">
              <a:extLst>
                <a:ext uri="{FF2B5EF4-FFF2-40B4-BE49-F238E27FC236}">
                  <a16:creationId xmlns:a16="http://schemas.microsoft.com/office/drawing/2014/main" xmlns="" id="{4C1226F9-A334-1669-E5EB-FF50CAD0CF83}"/>
                </a:ext>
              </a:extLst>
            </p:cNvPr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2694881" y="2101241"/>
              <a:ext cx="12360" cy="44158"/>
            </a:xfrm>
            <a:custGeom>
              <a:avLst/>
              <a:gdLst>
                <a:gd name="T0" fmla="*/ 0 w 27"/>
                <a:gd name="T1" fmla="*/ 0 h 6"/>
                <a:gd name="T2" fmla="*/ 5821 w 27"/>
                <a:gd name="T3" fmla="*/ 30163 h 6"/>
                <a:gd name="T4" fmla="*/ 14287 w 27"/>
                <a:gd name="T5" fmla="*/ 60325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44" name="Line 47">
              <a:extLst>
                <a:ext uri="{FF2B5EF4-FFF2-40B4-BE49-F238E27FC236}">
                  <a16:creationId xmlns:a16="http://schemas.microsoft.com/office/drawing/2014/main" xmlns="" id="{B32EFBB8-8CA1-9C08-1D8C-0C827439EBD1}"/>
                </a:ext>
              </a:extLst>
            </p:cNvPr>
            <p:cNvSpPr>
              <a:spLocks noChangeShapeType="1"/>
            </p:cNvSpPr>
            <p:nvPr>
              <p:custDataLst>
                <p:tags r:id="rId40"/>
              </p:custDataLst>
            </p:nvPr>
          </p:nvSpPr>
          <p:spPr bwMode="auto">
            <a:xfrm flipH="1" flipV="1">
              <a:off x="2701747" y="2098917"/>
              <a:ext cx="5493" cy="6973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45" name="Line 48">
              <a:extLst>
                <a:ext uri="{FF2B5EF4-FFF2-40B4-BE49-F238E27FC236}">
                  <a16:creationId xmlns:a16="http://schemas.microsoft.com/office/drawing/2014/main" xmlns="" id="{E73A76AF-EAAC-9D0A-B61D-2080E83FC003}"/>
                </a:ext>
              </a:extLst>
            </p:cNvPr>
            <p:cNvSpPr>
              <a:spLocks noChangeShapeType="1"/>
            </p:cNvSpPr>
            <p:nvPr>
              <p:custDataLst>
                <p:tags r:id="rId41"/>
              </p:custDataLst>
            </p:nvPr>
          </p:nvSpPr>
          <p:spPr bwMode="auto">
            <a:xfrm flipH="1">
              <a:off x="2701747" y="2117510"/>
              <a:ext cx="5493" cy="813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46" name="Freeform 49">
              <a:extLst>
                <a:ext uri="{FF2B5EF4-FFF2-40B4-BE49-F238E27FC236}">
                  <a16:creationId xmlns:a16="http://schemas.microsoft.com/office/drawing/2014/main" xmlns="" id="{360F7F18-0ECB-D1CF-0EC7-9CEF3966BC08}"/>
                </a:ext>
              </a:extLst>
            </p:cNvPr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2701747" y="2114023"/>
              <a:ext cx="9614" cy="42997"/>
            </a:xfrm>
            <a:custGeom>
              <a:avLst/>
              <a:gdLst>
                <a:gd name="T0" fmla="*/ 0 w 20"/>
                <a:gd name="T1" fmla="*/ 58738 h 24"/>
                <a:gd name="T2" fmla="*/ 1111 w 20"/>
                <a:gd name="T3" fmla="*/ 58738 h 24"/>
                <a:gd name="T4" fmla="*/ 3334 w 20"/>
                <a:gd name="T5" fmla="*/ 53843 h 24"/>
                <a:gd name="T6" fmla="*/ 5001 w 20"/>
                <a:gd name="T7" fmla="*/ 48948 h 24"/>
                <a:gd name="T8" fmla="*/ 6668 w 20"/>
                <a:gd name="T9" fmla="*/ 39159 h 24"/>
                <a:gd name="T10" fmla="*/ 8335 w 20"/>
                <a:gd name="T11" fmla="*/ 31816 h 24"/>
                <a:gd name="T12" fmla="*/ 10002 w 20"/>
                <a:gd name="T13" fmla="*/ 22027 h 24"/>
                <a:gd name="T14" fmla="*/ 10557 w 20"/>
                <a:gd name="T15" fmla="*/ 9790 h 24"/>
                <a:gd name="T16" fmla="*/ 11113 w 20"/>
                <a:gd name="T17" fmla="*/ 0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47" name="Freeform 50">
              <a:extLst>
                <a:ext uri="{FF2B5EF4-FFF2-40B4-BE49-F238E27FC236}">
                  <a16:creationId xmlns:a16="http://schemas.microsoft.com/office/drawing/2014/main" xmlns="" id="{EA16B2E8-F067-03B8-4F92-8547A1D9686C}"/>
                </a:ext>
              </a:extLst>
            </p:cNvPr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2707241" y="2134941"/>
              <a:ext cx="15108" cy="40672"/>
            </a:xfrm>
            <a:custGeom>
              <a:avLst/>
              <a:gdLst>
                <a:gd name="T0" fmla="*/ 6879 w 33"/>
                <a:gd name="T1" fmla="*/ 15558 h 25"/>
                <a:gd name="T2" fmla="*/ 0 w 33"/>
                <a:gd name="T3" fmla="*/ 42228 h 25"/>
                <a:gd name="T4" fmla="*/ 5292 w 33"/>
                <a:gd name="T5" fmla="*/ 44450 h 25"/>
                <a:gd name="T6" fmla="*/ 10054 w 33"/>
                <a:gd name="T7" fmla="*/ 48895 h 25"/>
                <a:gd name="T8" fmla="*/ 14288 w 33"/>
                <a:gd name="T9" fmla="*/ 55563 h 25"/>
                <a:gd name="T10" fmla="*/ 17463 w 33"/>
                <a:gd name="T11" fmla="*/ 55563 h 25"/>
                <a:gd name="T12" fmla="*/ 17463 w 33"/>
                <a:gd name="T13" fmla="*/ 0 h 25"/>
                <a:gd name="T14" fmla="*/ 14288 w 33"/>
                <a:gd name="T15" fmla="*/ 0 h 25"/>
                <a:gd name="T16" fmla="*/ 6879 w 33"/>
                <a:gd name="T17" fmla="*/ 15558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48" name="Freeform 51">
              <a:extLst>
                <a:ext uri="{FF2B5EF4-FFF2-40B4-BE49-F238E27FC236}">
                  <a16:creationId xmlns:a16="http://schemas.microsoft.com/office/drawing/2014/main" xmlns="" id="{63C7B21D-1E9D-96EA-E866-3223701F5889}"/>
                </a:ext>
              </a:extLst>
            </p:cNvPr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2712735" y="2169802"/>
              <a:ext cx="13734" cy="41835"/>
            </a:xfrm>
            <a:custGeom>
              <a:avLst/>
              <a:gdLst>
                <a:gd name="T0" fmla="*/ 0 w 40"/>
                <a:gd name="T1" fmla="*/ 0 h 18"/>
                <a:gd name="T2" fmla="*/ 1191 w 40"/>
                <a:gd name="T3" fmla="*/ 19050 h 18"/>
                <a:gd name="T4" fmla="*/ 2381 w 40"/>
                <a:gd name="T5" fmla="*/ 34925 h 18"/>
                <a:gd name="T6" fmla="*/ 3969 w 40"/>
                <a:gd name="T7" fmla="*/ 44450 h 18"/>
                <a:gd name="T8" fmla="*/ 5953 w 40"/>
                <a:gd name="T9" fmla="*/ 50800 h 18"/>
                <a:gd name="T10" fmla="*/ 10716 w 40"/>
                <a:gd name="T11" fmla="*/ 57150 h 18"/>
                <a:gd name="T12" fmla="*/ 15875 w 40"/>
                <a:gd name="T13" fmla="*/ 57150 h 18"/>
                <a:gd name="T14" fmla="*/ 15875 w 40"/>
                <a:gd name="T15" fmla="*/ 0 h 18"/>
                <a:gd name="T16" fmla="*/ 11906 w 40"/>
                <a:gd name="T17" fmla="*/ 0 h 18"/>
                <a:gd name="T18" fmla="*/ 7938 w 40"/>
                <a:gd name="T19" fmla="*/ 0 h 18"/>
                <a:gd name="T20" fmla="*/ 3969 w 40"/>
                <a:gd name="T21" fmla="*/ 0 h 18"/>
                <a:gd name="T22" fmla="*/ 0 w 4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49" name="Freeform 52">
              <a:extLst>
                <a:ext uri="{FF2B5EF4-FFF2-40B4-BE49-F238E27FC236}">
                  <a16:creationId xmlns:a16="http://schemas.microsoft.com/office/drawing/2014/main" xmlns="" id="{33E6DBCD-A53A-DDBD-9B34-C1042085B867}"/>
                </a:ext>
              </a:extLst>
            </p:cNvPr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2720975" y="2188395"/>
              <a:ext cx="2747" cy="41835"/>
            </a:xfrm>
            <a:custGeom>
              <a:avLst/>
              <a:gdLst>
                <a:gd name="T0" fmla="*/ 1155 w 11"/>
                <a:gd name="T1" fmla="*/ 57150 h 32"/>
                <a:gd name="T2" fmla="*/ 1732 w 11"/>
                <a:gd name="T3" fmla="*/ 50006 h 32"/>
                <a:gd name="T4" fmla="*/ 2309 w 11"/>
                <a:gd name="T5" fmla="*/ 44648 h 32"/>
                <a:gd name="T6" fmla="*/ 2598 w 11"/>
                <a:gd name="T7" fmla="*/ 39291 h 32"/>
                <a:gd name="T8" fmla="*/ 2886 w 11"/>
                <a:gd name="T9" fmla="*/ 32147 h 32"/>
                <a:gd name="T10" fmla="*/ 3175 w 11"/>
                <a:gd name="T11" fmla="*/ 16073 h 32"/>
                <a:gd name="T12" fmla="*/ 3175 w 11"/>
                <a:gd name="T13" fmla="*/ 0 h 32"/>
                <a:gd name="T14" fmla="*/ 1732 w 11"/>
                <a:gd name="T15" fmla="*/ 5358 h 32"/>
                <a:gd name="T16" fmla="*/ 866 w 11"/>
                <a:gd name="T17" fmla="*/ 12502 h 32"/>
                <a:gd name="T18" fmla="*/ 289 w 11"/>
                <a:gd name="T19" fmla="*/ 19645 h 32"/>
                <a:gd name="T20" fmla="*/ 0 w 11"/>
                <a:gd name="T21" fmla="*/ 28575 h 32"/>
                <a:gd name="T22" fmla="*/ 0 w 11"/>
                <a:gd name="T23" fmla="*/ 35719 h 32"/>
                <a:gd name="T24" fmla="*/ 289 w 11"/>
                <a:gd name="T25" fmla="*/ 42863 h 32"/>
                <a:gd name="T26" fmla="*/ 577 w 11"/>
                <a:gd name="T27" fmla="*/ 50006 h 32"/>
                <a:gd name="T28" fmla="*/ 1155 w 11"/>
                <a:gd name="T29" fmla="*/ 57150 h 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50" name="Freeform 53">
              <a:extLst>
                <a:ext uri="{FF2B5EF4-FFF2-40B4-BE49-F238E27FC236}">
                  <a16:creationId xmlns:a16="http://schemas.microsoft.com/office/drawing/2014/main" xmlns="" id="{91A17786-DC46-E7FC-DFC3-DECAF9F26156}"/>
                </a:ext>
              </a:extLst>
            </p:cNvPr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2740201" y="2210474"/>
              <a:ext cx="1374" cy="40672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55562 h 24"/>
                <a:gd name="T4" fmla="*/ 1588 w 14"/>
                <a:gd name="T5" fmla="*/ 27781 h 24"/>
                <a:gd name="T6" fmla="*/ 0 w 14"/>
                <a:gd name="T7" fmla="*/ 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51" name="Freeform 54">
              <a:extLst>
                <a:ext uri="{FF2B5EF4-FFF2-40B4-BE49-F238E27FC236}">
                  <a16:creationId xmlns:a16="http://schemas.microsoft.com/office/drawing/2014/main" xmlns="" id="{36C8523F-807D-EA2C-51B5-2DDDB1529A44}"/>
                </a:ext>
              </a:extLst>
            </p:cNvPr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2707240" y="2219771"/>
              <a:ext cx="13734" cy="42996"/>
            </a:xfrm>
            <a:custGeom>
              <a:avLst/>
              <a:gdLst>
                <a:gd name="T0" fmla="*/ 0 w 27"/>
                <a:gd name="T1" fmla="*/ 39158 h 18"/>
                <a:gd name="T2" fmla="*/ 4116 w 27"/>
                <a:gd name="T3" fmla="*/ 48948 h 18"/>
                <a:gd name="T4" fmla="*/ 7644 w 27"/>
                <a:gd name="T5" fmla="*/ 58737 h 18"/>
                <a:gd name="T6" fmla="*/ 12935 w 27"/>
                <a:gd name="T7" fmla="*/ 22842 h 18"/>
                <a:gd name="T8" fmla="*/ 15875 w 27"/>
                <a:gd name="T9" fmla="*/ 0 h 18"/>
                <a:gd name="T10" fmla="*/ 12935 w 27"/>
                <a:gd name="T11" fmla="*/ 0 h 18"/>
                <a:gd name="T12" fmla="*/ 10583 w 27"/>
                <a:gd name="T13" fmla="*/ 3263 h 18"/>
                <a:gd name="T14" fmla="*/ 7644 w 27"/>
                <a:gd name="T15" fmla="*/ 6526 h 18"/>
                <a:gd name="T16" fmla="*/ 5880 w 27"/>
                <a:gd name="T17" fmla="*/ 13053 h 18"/>
                <a:gd name="T18" fmla="*/ 2940 w 27"/>
                <a:gd name="T19" fmla="*/ 26105 h 18"/>
                <a:gd name="T20" fmla="*/ 0 w 27"/>
                <a:gd name="T21" fmla="*/ 39158 h 1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52" name="Freeform 55">
              <a:extLst>
                <a:ext uri="{FF2B5EF4-FFF2-40B4-BE49-F238E27FC236}">
                  <a16:creationId xmlns:a16="http://schemas.microsoft.com/office/drawing/2014/main" xmlns="" id="{F0C54BE3-F33C-9A88-D0AE-ED291D21E175}"/>
                </a:ext>
              </a:extLst>
            </p:cNvPr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2694880" y="2267415"/>
              <a:ext cx="20600" cy="41835"/>
            </a:xfrm>
            <a:custGeom>
              <a:avLst/>
              <a:gdLst>
                <a:gd name="T0" fmla="*/ 0 w 47"/>
                <a:gd name="T1" fmla="*/ 41988 h 49"/>
                <a:gd name="T2" fmla="*/ 507 w 47"/>
                <a:gd name="T3" fmla="*/ 45487 h 49"/>
                <a:gd name="T4" fmla="*/ 1013 w 47"/>
                <a:gd name="T5" fmla="*/ 47819 h 49"/>
                <a:gd name="T6" fmla="*/ 2027 w 47"/>
                <a:gd name="T7" fmla="*/ 50152 h 49"/>
                <a:gd name="T8" fmla="*/ 3040 w 47"/>
                <a:gd name="T9" fmla="*/ 52485 h 49"/>
                <a:gd name="T10" fmla="*/ 6080 w 47"/>
                <a:gd name="T11" fmla="*/ 55984 h 49"/>
                <a:gd name="T12" fmla="*/ 7093 w 47"/>
                <a:gd name="T13" fmla="*/ 57150 h 49"/>
                <a:gd name="T14" fmla="*/ 9119 w 47"/>
                <a:gd name="T15" fmla="*/ 57150 h 49"/>
                <a:gd name="T16" fmla="*/ 12159 w 47"/>
                <a:gd name="T17" fmla="*/ 53651 h 49"/>
                <a:gd name="T18" fmla="*/ 14693 w 47"/>
                <a:gd name="T19" fmla="*/ 48986 h 49"/>
                <a:gd name="T20" fmla="*/ 17732 w 47"/>
                <a:gd name="T21" fmla="*/ 45487 h 49"/>
                <a:gd name="T22" fmla="*/ 19759 w 47"/>
                <a:gd name="T23" fmla="*/ 40821 h 49"/>
                <a:gd name="T24" fmla="*/ 22292 w 47"/>
                <a:gd name="T25" fmla="*/ 36156 h 49"/>
                <a:gd name="T26" fmla="*/ 23305 w 47"/>
                <a:gd name="T27" fmla="*/ 31491 h 49"/>
                <a:gd name="T28" fmla="*/ 23812 w 47"/>
                <a:gd name="T29" fmla="*/ 27992 h 49"/>
                <a:gd name="T30" fmla="*/ 23812 w 47"/>
                <a:gd name="T31" fmla="*/ 13996 h 49"/>
                <a:gd name="T32" fmla="*/ 23812 w 47"/>
                <a:gd name="T33" fmla="*/ 0 h 49"/>
                <a:gd name="T34" fmla="*/ 13679 w 47"/>
                <a:gd name="T35" fmla="*/ 0 h 49"/>
                <a:gd name="T36" fmla="*/ 8613 w 47"/>
                <a:gd name="T37" fmla="*/ 9331 h 49"/>
                <a:gd name="T38" fmla="*/ 4560 w 47"/>
                <a:gd name="T39" fmla="*/ 18661 h 49"/>
                <a:gd name="T40" fmla="*/ 2533 w 47"/>
                <a:gd name="T41" fmla="*/ 23327 h 49"/>
                <a:gd name="T42" fmla="*/ 1013 w 47"/>
                <a:gd name="T43" fmla="*/ 29158 h 49"/>
                <a:gd name="T44" fmla="*/ 507 w 47"/>
                <a:gd name="T45" fmla="*/ 34990 h 49"/>
                <a:gd name="T46" fmla="*/ 0 w 47"/>
                <a:gd name="T47" fmla="*/ 41988 h 4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53" name="Freeform 56">
              <a:extLst>
                <a:ext uri="{FF2B5EF4-FFF2-40B4-BE49-F238E27FC236}">
                  <a16:creationId xmlns:a16="http://schemas.microsoft.com/office/drawing/2014/main" xmlns="" id="{5276A047-5D05-53A7-9E8C-5F719069535B}"/>
                </a:ext>
              </a:extLst>
            </p:cNvPr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2711361" y="2249985"/>
              <a:ext cx="10987" cy="41835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25400 h 9"/>
                <a:gd name="T4" fmla="*/ 1465 w 26"/>
                <a:gd name="T5" fmla="*/ 44450 h 9"/>
                <a:gd name="T6" fmla="*/ 2931 w 26"/>
                <a:gd name="T7" fmla="*/ 50800 h 9"/>
                <a:gd name="T8" fmla="*/ 5373 w 26"/>
                <a:gd name="T9" fmla="*/ 57150 h 9"/>
                <a:gd name="T10" fmla="*/ 7327 w 26"/>
                <a:gd name="T11" fmla="*/ 50800 h 9"/>
                <a:gd name="T12" fmla="*/ 9769 w 26"/>
                <a:gd name="T13" fmla="*/ 44450 h 9"/>
                <a:gd name="T14" fmla="*/ 11235 w 26"/>
                <a:gd name="T15" fmla="*/ 25400 h 9"/>
                <a:gd name="T16" fmla="*/ 12700 w 26"/>
                <a:gd name="T17" fmla="*/ 0 h 9"/>
                <a:gd name="T18" fmla="*/ 0 w 26"/>
                <a:gd name="T19" fmla="*/ 0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54" name="Freeform 57">
              <a:extLst>
                <a:ext uri="{FF2B5EF4-FFF2-40B4-BE49-F238E27FC236}">
                  <a16:creationId xmlns:a16="http://schemas.microsoft.com/office/drawing/2014/main" xmlns="" id="{431F6CC8-024C-215A-95D9-D9AE3269752C}"/>
                </a:ext>
              </a:extLst>
            </p:cNvPr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2263641" y="2009438"/>
              <a:ext cx="13734" cy="41835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57150 h 18"/>
                <a:gd name="T4" fmla="*/ 2442 w 39"/>
                <a:gd name="T5" fmla="*/ 57150 h 18"/>
                <a:gd name="T6" fmla="*/ 5292 w 39"/>
                <a:gd name="T7" fmla="*/ 57150 h 18"/>
                <a:gd name="T8" fmla="*/ 9362 w 39"/>
                <a:gd name="T9" fmla="*/ 53975 h 18"/>
                <a:gd name="T10" fmla="*/ 12212 w 39"/>
                <a:gd name="T11" fmla="*/ 44450 h 18"/>
                <a:gd name="T12" fmla="*/ 13840 w 39"/>
                <a:gd name="T13" fmla="*/ 38100 h 18"/>
                <a:gd name="T14" fmla="*/ 15061 w 39"/>
                <a:gd name="T15" fmla="*/ 31750 h 18"/>
                <a:gd name="T16" fmla="*/ 15468 w 39"/>
                <a:gd name="T17" fmla="*/ 25400 h 18"/>
                <a:gd name="T18" fmla="*/ 15875 w 39"/>
                <a:gd name="T19" fmla="*/ 19050 h 18"/>
                <a:gd name="T20" fmla="*/ 11804 w 39"/>
                <a:gd name="T21" fmla="*/ 15875 h 18"/>
                <a:gd name="T22" fmla="*/ 7734 w 39"/>
                <a:gd name="T23" fmla="*/ 9525 h 18"/>
                <a:gd name="T24" fmla="*/ 4071 w 39"/>
                <a:gd name="T25" fmla="*/ 0 h 18"/>
                <a:gd name="T26" fmla="*/ 0 w 39"/>
                <a:gd name="T27" fmla="*/ 0 h 1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grpSp>
          <p:nvGrpSpPr>
            <p:cNvPr id="55" name="Group 58">
              <a:extLst>
                <a:ext uri="{FF2B5EF4-FFF2-40B4-BE49-F238E27FC236}">
                  <a16:creationId xmlns:a16="http://schemas.microsoft.com/office/drawing/2014/main" xmlns="" id="{A61C2F33-25B3-1DFD-1F64-4A2EBE44AA88}"/>
                </a:ext>
              </a:extLst>
            </p:cNvPr>
            <p:cNvGrpSpPr>
              <a:grpSpLocks/>
            </p:cNvGrpSpPr>
            <p:nvPr>
              <p:custDataLst>
                <p:tags r:id="rId51"/>
              </p:custDataLst>
            </p:nvPr>
          </p:nvGrpSpPr>
          <p:grpSpPr bwMode="auto">
            <a:xfrm>
              <a:off x="2372138" y="1887423"/>
              <a:ext cx="113991" cy="142933"/>
              <a:chOff x="1199" y="2121"/>
              <a:chExt cx="97" cy="123"/>
            </a:xfrm>
          </p:grpSpPr>
          <p:sp>
            <p:nvSpPr>
              <p:cNvPr id="535" name="Freeform 59">
                <a:extLst>
                  <a:ext uri="{FF2B5EF4-FFF2-40B4-BE49-F238E27FC236}">
                    <a16:creationId xmlns:a16="http://schemas.microsoft.com/office/drawing/2014/main" xmlns="" id="{E6E3B576-E9C7-F45E-0642-42B116F600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8 h 25"/>
                  <a:gd name="T2" fmla="*/ 2 w 52"/>
                  <a:gd name="T3" fmla="*/ 8 h 25"/>
                  <a:gd name="T4" fmla="*/ 5 w 52"/>
                  <a:gd name="T5" fmla="*/ 8 h 25"/>
                  <a:gd name="T6" fmla="*/ 7 w 52"/>
                  <a:gd name="T7" fmla="*/ 7 h 25"/>
                  <a:gd name="T8" fmla="*/ 9 w 52"/>
                  <a:gd name="T9" fmla="*/ 6 h 25"/>
                  <a:gd name="T10" fmla="*/ 12 w 52"/>
                  <a:gd name="T11" fmla="*/ 5 h 25"/>
                  <a:gd name="T12" fmla="*/ 13 w 52"/>
                  <a:gd name="T13" fmla="*/ 4 h 25"/>
                  <a:gd name="T14" fmla="*/ 15 w 52"/>
                  <a:gd name="T15" fmla="*/ 2 h 25"/>
                  <a:gd name="T16" fmla="*/ 16 w 52"/>
                  <a:gd name="T17" fmla="*/ 0 h 25"/>
                  <a:gd name="T18" fmla="*/ 12 w 52"/>
                  <a:gd name="T19" fmla="*/ 0 h 25"/>
                  <a:gd name="T20" fmla="*/ 10 w 52"/>
                  <a:gd name="T21" fmla="*/ 0 h 25"/>
                  <a:gd name="T22" fmla="*/ 7 w 52"/>
                  <a:gd name="T23" fmla="*/ 0 h 25"/>
                  <a:gd name="T24" fmla="*/ 5 w 52"/>
                  <a:gd name="T25" fmla="*/ 1 h 25"/>
                  <a:gd name="T26" fmla="*/ 3 w 52"/>
                  <a:gd name="T27" fmla="*/ 2 h 25"/>
                  <a:gd name="T28" fmla="*/ 2 w 52"/>
                  <a:gd name="T29" fmla="*/ 3 h 25"/>
                  <a:gd name="T30" fmla="*/ 1 w 52"/>
                  <a:gd name="T31" fmla="*/ 5 h 25"/>
                  <a:gd name="T32" fmla="*/ 0 w 52"/>
                  <a:gd name="T33" fmla="*/ 8 h 2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536" name="Freeform 60">
                <a:extLst>
                  <a:ext uri="{FF2B5EF4-FFF2-40B4-BE49-F238E27FC236}">
                    <a16:creationId xmlns:a16="http://schemas.microsoft.com/office/drawing/2014/main" xmlns="" id="{57DD02A0-BB7B-52FD-5225-A01FDA35D6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2 h 13"/>
                  <a:gd name="T4" fmla="*/ 0 w 33"/>
                  <a:gd name="T5" fmla="*/ 4 h 13"/>
                  <a:gd name="T6" fmla="*/ 3 w 33"/>
                  <a:gd name="T7" fmla="*/ 4 h 13"/>
                  <a:gd name="T8" fmla="*/ 5 w 33"/>
                  <a:gd name="T9" fmla="*/ 4 h 13"/>
                  <a:gd name="T10" fmla="*/ 8 w 33"/>
                  <a:gd name="T11" fmla="*/ 3 h 13"/>
                  <a:gd name="T12" fmla="*/ 11 w 33"/>
                  <a:gd name="T13" fmla="*/ 2 h 13"/>
                  <a:gd name="T14" fmla="*/ 8 w 33"/>
                  <a:gd name="T15" fmla="*/ 1 h 13"/>
                  <a:gd name="T16" fmla="*/ 5 w 33"/>
                  <a:gd name="T17" fmla="*/ 0 h 13"/>
                  <a:gd name="T18" fmla="*/ 3 w 33"/>
                  <a:gd name="T19" fmla="*/ 0 h 13"/>
                  <a:gd name="T20" fmla="*/ 0 w 33"/>
                  <a:gd name="T21" fmla="*/ 0 h 1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537" name="Freeform 61">
                <a:extLst>
                  <a:ext uri="{FF2B5EF4-FFF2-40B4-BE49-F238E27FC236}">
                    <a16:creationId xmlns:a16="http://schemas.microsoft.com/office/drawing/2014/main" xmlns="" id="{E62E78B5-40C2-0A87-6FED-E1DF9259B1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8 w 67"/>
                  <a:gd name="T1" fmla="*/ 6 h 86"/>
                  <a:gd name="T2" fmla="*/ 0 w 67"/>
                  <a:gd name="T3" fmla="*/ 0 h 86"/>
                  <a:gd name="T4" fmla="*/ 8 w 67"/>
                  <a:gd name="T5" fmla="*/ 0 h 86"/>
                  <a:gd name="T6" fmla="*/ 9 w 67"/>
                  <a:gd name="T7" fmla="*/ 1 h 86"/>
                  <a:gd name="T8" fmla="*/ 10 w 67"/>
                  <a:gd name="T9" fmla="*/ 3 h 86"/>
                  <a:gd name="T10" fmla="*/ 11 w 67"/>
                  <a:gd name="T11" fmla="*/ 4 h 86"/>
                  <a:gd name="T12" fmla="*/ 12 w 67"/>
                  <a:gd name="T13" fmla="*/ 5 h 86"/>
                  <a:gd name="T14" fmla="*/ 14 w 67"/>
                  <a:gd name="T15" fmla="*/ 6 h 86"/>
                  <a:gd name="T16" fmla="*/ 16 w 67"/>
                  <a:gd name="T17" fmla="*/ 6 h 86"/>
                  <a:gd name="T18" fmla="*/ 17 w 67"/>
                  <a:gd name="T19" fmla="*/ 10 h 86"/>
                  <a:gd name="T20" fmla="*/ 19 w 67"/>
                  <a:gd name="T21" fmla="*/ 13 h 86"/>
                  <a:gd name="T22" fmla="*/ 19 w 67"/>
                  <a:gd name="T23" fmla="*/ 15 h 86"/>
                  <a:gd name="T24" fmla="*/ 20 w 67"/>
                  <a:gd name="T25" fmla="*/ 16 h 86"/>
                  <a:gd name="T26" fmla="*/ 20 w 67"/>
                  <a:gd name="T27" fmla="*/ 18 h 86"/>
                  <a:gd name="T28" fmla="*/ 20 w 67"/>
                  <a:gd name="T29" fmla="*/ 20 h 86"/>
                  <a:gd name="T30" fmla="*/ 19 w 67"/>
                  <a:gd name="T31" fmla="*/ 24 h 86"/>
                  <a:gd name="T32" fmla="*/ 18 w 67"/>
                  <a:gd name="T33" fmla="*/ 28 h 86"/>
                  <a:gd name="T34" fmla="*/ 16 w 67"/>
                  <a:gd name="T35" fmla="*/ 22 h 86"/>
                  <a:gd name="T36" fmla="*/ 15 w 67"/>
                  <a:gd name="T37" fmla="*/ 18 h 86"/>
                  <a:gd name="T38" fmla="*/ 15 w 67"/>
                  <a:gd name="T39" fmla="*/ 15 h 86"/>
                  <a:gd name="T40" fmla="*/ 15 w 67"/>
                  <a:gd name="T41" fmla="*/ 13 h 86"/>
                  <a:gd name="T42" fmla="*/ 15 w 67"/>
                  <a:gd name="T43" fmla="*/ 11 h 86"/>
                  <a:gd name="T44" fmla="*/ 16 w 67"/>
                  <a:gd name="T45" fmla="*/ 10 h 86"/>
                  <a:gd name="T46" fmla="*/ 13 w 67"/>
                  <a:gd name="T47" fmla="*/ 10 h 86"/>
                  <a:gd name="T48" fmla="*/ 10 w 67"/>
                  <a:gd name="T49" fmla="*/ 9 h 86"/>
                  <a:gd name="T50" fmla="*/ 10 w 67"/>
                  <a:gd name="T51" fmla="*/ 9 h 86"/>
                  <a:gd name="T52" fmla="*/ 8 w 67"/>
                  <a:gd name="T53" fmla="*/ 8 h 86"/>
                  <a:gd name="T54" fmla="*/ 8 w 67"/>
                  <a:gd name="T55" fmla="*/ 7 h 86"/>
                  <a:gd name="T56" fmla="*/ 8 w 67"/>
                  <a:gd name="T57" fmla="*/ 6 h 8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538" name="Freeform 62">
                <a:extLst>
                  <a:ext uri="{FF2B5EF4-FFF2-40B4-BE49-F238E27FC236}">
                    <a16:creationId xmlns:a16="http://schemas.microsoft.com/office/drawing/2014/main" xmlns="" id="{2E4F0182-8994-50BD-2C88-6640873CBF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9 w 49"/>
                  <a:gd name="T1" fmla="*/ 4 h 86"/>
                  <a:gd name="T2" fmla="*/ 7 w 49"/>
                  <a:gd name="T3" fmla="*/ 2 h 86"/>
                  <a:gd name="T4" fmla="*/ 5 w 49"/>
                  <a:gd name="T5" fmla="*/ 0 h 86"/>
                  <a:gd name="T6" fmla="*/ 3 w 49"/>
                  <a:gd name="T7" fmla="*/ 2 h 86"/>
                  <a:gd name="T8" fmla="*/ 2 w 49"/>
                  <a:gd name="T9" fmla="*/ 4 h 86"/>
                  <a:gd name="T10" fmla="*/ 0 w 49"/>
                  <a:gd name="T11" fmla="*/ 7 h 86"/>
                  <a:gd name="T12" fmla="*/ 0 w 49"/>
                  <a:gd name="T13" fmla="*/ 10 h 86"/>
                  <a:gd name="T14" fmla="*/ 0 w 49"/>
                  <a:gd name="T15" fmla="*/ 12 h 86"/>
                  <a:gd name="T16" fmla="*/ 1 w 49"/>
                  <a:gd name="T17" fmla="*/ 14 h 86"/>
                  <a:gd name="T18" fmla="*/ 2 w 49"/>
                  <a:gd name="T19" fmla="*/ 16 h 86"/>
                  <a:gd name="T20" fmla="*/ 3 w 49"/>
                  <a:gd name="T21" fmla="*/ 19 h 86"/>
                  <a:gd name="T22" fmla="*/ 4 w 49"/>
                  <a:gd name="T23" fmla="*/ 21 h 86"/>
                  <a:gd name="T24" fmla="*/ 6 w 49"/>
                  <a:gd name="T25" fmla="*/ 24 h 86"/>
                  <a:gd name="T26" fmla="*/ 7 w 49"/>
                  <a:gd name="T27" fmla="*/ 26 h 86"/>
                  <a:gd name="T28" fmla="*/ 9 w 49"/>
                  <a:gd name="T29" fmla="*/ 28 h 86"/>
                  <a:gd name="T30" fmla="*/ 10 w 49"/>
                  <a:gd name="T31" fmla="*/ 26 h 86"/>
                  <a:gd name="T32" fmla="*/ 12 w 49"/>
                  <a:gd name="T33" fmla="*/ 22 h 86"/>
                  <a:gd name="T34" fmla="*/ 14 w 49"/>
                  <a:gd name="T35" fmla="*/ 19 h 86"/>
                  <a:gd name="T36" fmla="*/ 15 w 49"/>
                  <a:gd name="T37" fmla="*/ 15 h 86"/>
                  <a:gd name="T38" fmla="*/ 16 w 49"/>
                  <a:gd name="T39" fmla="*/ 13 h 86"/>
                  <a:gd name="T40" fmla="*/ 16 w 49"/>
                  <a:gd name="T41" fmla="*/ 11 h 86"/>
                  <a:gd name="T42" fmla="*/ 16 w 49"/>
                  <a:gd name="T43" fmla="*/ 8 h 86"/>
                  <a:gd name="T44" fmla="*/ 16 w 49"/>
                  <a:gd name="T45" fmla="*/ 7 h 86"/>
                  <a:gd name="T46" fmla="*/ 14 w 49"/>
                  <a:gd name="T47" fmla="*/ 6 h 86"/>
                  <a:gd name="T48" fmla="*/ 13 w 49"/>
                  <a:gd name="T49" fmla="*/ 5 h 86"/>
                  <a:gd name="T50" fmla="*/ 11 w 49"/>
                  <a:gd name="T51" fmla="*/ 4 h 86"/>
                  <a:gd name="T52" fmla="*/ 9 w 49"/>
                  <a:gd name="T53" fmla="*/ 4 h 8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539" name="Freeform 63">
                <a:extLst>
                  <a:ext uri="{FF2B5EF4-FFF2-40B4-BE49-F238E27FC236}">
                    <a16:creationId xmlns:a16="http://schemas.microsoft.com/office/drawing/2014/main" xmlns="" id="{9D5DD6BB-9E4F-D6E6-F444-91520F10DC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4 h 12"/>
                  <a:gd name="T2" fmla="*/ 2 w 6"/>
                  <a:gd name="T3" fmla="*/ 0 h 12"/>
                  <a:gd name="T4" fmla="*/ 1 w 6"/>
                  <a:gd name="T5" fmla="*/ 0 h 12"/>
                  <a:gd name="T6" fmla="*/ 1 w 6"/>
                  <a:gd name="T7" fmla="*/ 1 h 12"/>
                  <a:gd name="T8" fmla="*/ 0 w 6"/>
                  <a:gd name="T9" fmla="*/ 1 h 12"/>
                  <a:gd name="T10" fmla="*/ 0 w 6"/>
                  <a:gd name="T11" fmla="*/ 2 h 12"/>
                  <a:gd name="T12" fmla="*/ 0 w 6"/>
                  <a:gd name="T13" fmla="*/ 3 h 12"/>
                  <a:gd name="T14" fmla="*/ 0 w 6"/>
                  <a:gd name="T15" fmla="*/ 4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540" name="Freeform 64">
                <a:extLst>
                  <a:ext uri="{FF2B5EF4-FFF2-40B4-BE49-F238E27FC236}">
                    <a16:creationId xmlns:a16="http://schemas.microsoft.com/office/drawing/2014/main" xmlns="" id="{2BE66921-84D4-DD78-D235-53EC807E58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4 w 39"/>
                  <a:gd name="T3" fmla="*/ 3 h 48"/>
                  <a:gd name="T4" fmla="*/ 7 w 39"/>
                  <a:gd name="T5" fmla="*/ 5 h 48"/>
                  <a:gd name="T6" fmla="*/ 11 w 39"/>
                  <a:gd name="T7" fmla="*/ 8 h 48"/>
                  <a:gd name="T8" fmla="*/ 13 w 39"/>
                  <a:gd name="T9" fmla="*/ 9 h 48"/>
                  <a:gd name="T10" fmla="*/ 12 w 39"/>
                  <a:gd name="T11" fmla="*/ 12 h 48"/>
                  <a:gd name="T12" fmla="*/ 11 w 39"/>
                  <a:gd name="T13" fmla="*/ 15 h 48"/>
                  <a:gd name="T14" fmla="*/ 6 w 39"/>
                  <a:gd name="T15" fmla="*/ 11 h 48"/>
                  <a:gd name="T16" fmla="*/ 3 w 39"/>
                  <a:gd name="T17" fmla="*/ 8 h 48"/>
                  <a:gd name="T18" fmla="*/ 1 w 39"/>
                  <a:gd name="T19" fmla="*/ 7 h 48"/>
                  <a:gd name="T20" fmla="*/ 1 w 39"/>
                  <a:gd name="T21" fmla="*/ 5 h 48"/>
                  <a:gd name="T22" fmla="*/ 0 w 39"/>
                  <a:gd name="T23" fmla="*/ 3 h 48"/>
                  <a:gd name="T24" fmla="*/ 0 w 39"/>
                  <a:gd name="T25" fmla="*/ 0 h 4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541" name="Freeform 65">
                <a:extLst>
                  <a:ext uri="{FF2B5EF4-FFF2-40B4-BE49-F238E27FC236}">
                    <a16:creationId xmlns:a16="http://schemas.microsoft.com/office/drawing/2014/main" xmlns="" id="{53234B99-EADC-BEF3-4478-F145712A6D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3 w 16"/>
                  <a:gd name="T1" fmla="*/ 0 h 43"/>
                  <a:gd name="T2" fmla="*/ 4 w 16"/>
                  <a:gd name="T3" fmla="*/ 3 h 43"/>
                  <a:gd name="T4" fmla="*/ 6 w 16"/>
                  <a:gd name="T5" fmla="*/ 5 h 43"/>
                  <a:gd name="T6" fmla="*/ 6 w 16"/>
                  <a:gd name="T7" fmla="*/ 7 h 43"/>
                  <a:gd name="T8" fmla="*/ 6 w 16"/>
                  <a:gd name="T9" fmla="*/ 9 h 43"/>
                  <a:gd name="T10" fmla="*/ 6 w 16"/>
                  <a:gd name="T11" fmla="*/ 10 h 43"/>
                  <a:gd name="T12" fmla="*/ 4 w 16"/>
                  <a:gd name="T13" fmla="*/ 11 h 43"/>
                  <a:gd name="T14" fmla="*/ 3 w 16"/>
                  <a:gd name="T15" fmla="*/ 13 h 43"/>
                  <a:gd name="T16" fmla="*/ 0 w 16"/>
                  <a:gd name="T17" fmla="*/ 14 h 43"/>
                  <a:gd name="T18" fmla="*/ 1 w 16"/>
                  <a:gd name="T19" fmla="*/ 9 h 43"/>
                  <a:gd name="T20" fmla="*/ 2 w 16"/>
                  <a:gd name="T21" fmla="*/ 6 h 43"/>
                  <a:gd name="T22" fmla="*/ 2 w 16"/>
                  <a:gd name="T23" fmla="*/ 3 h 43"/>
                  <a:gd name="T24" fmla="*/ 3 w 16"/>
                  <a:gd name="T25" fmla="*/ 0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542" name="Freeform 66">
                <a:extLst>
                  <a:ext uri="{FF2B5EF4-FFF2-40B4-BE49-F238E27FC236}">
                    <a16:creationId xmlns:a16="http://schemas.microsoft.com/office/drawing/2014/main" xmlns="" id="{ED34006A-5BE0-91DF-96BE-10BD49B82D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8 w 24"/>
                  <a:gd name="T1" fmla="*/ 12 h 37"/>
                  <a:gd name="T2" fmla="*/ 6 w 24"/>
                  <a:gd name="T3" fmla="*/ 9 h 37"/>
                  <a:gd name="T4" fmla="*/ 5 w 24"/>
                  <a:gd name="T5" fmla="*/ 6 h 37"/>
                  <a:gd name="T6" fmla="*/ 4 w 24"/>
                  <a:gd name="T7" fmla="*/ 3 h 37"/>
                  <a:gd name="T8" fmla="*/ 4 w 24"/>
                  <a:gd name="T9" fmla="*/ 0 h 37"/>
                  <a:gd name="T10" fmla="*/ 2 w 24"/>
                  <a:gd name="T11" fmla="*/ 3 h 37"/>
                  <a:gd name="T12" fmla="*/ 1 w 24"/>
                  <a:gd name="T13" fmla="*/ 6 h 37"/>
                  <a:gd name="T14" fmla="*/ 0 w 24"/>
                  <a:gd name="T15" fmla="*/ 8 h 37"/>
                  <a:gd name="T16" fmla="*/ 0 w 24"/>
                  <a:gd name="T17" fmla="*/ 10 h 37"/>
                  <a:gd name="T18" fmla="*/ 0 w 24"/>
                  <a:gd name="T19" fmla="*/ 11 h 37"/>
                  <a:gd name="T20" fmla="*/ 1 w 24"/>
                  <a:gd name="T21" fmla="*/ 11 h 37"/>
                  <a:gd name="T22" fmla="*/ 1 w 24"/>
                  <a:gd name="T23" fmla="*/ 12 h 37"/>
                  <a:gd name="T24" fmla="*/ 2 w 24"/>
                  <a:gd name="T25" fmla="*/ 12 h 37"/>
                  <a:gd name="T26" fmla="*/ 5 w 24"/>
                  <a:gd name="T27" fmla="*/ 12 h 37"/>
                  <a:gd name="T28" fmla="*/ 8 w 24"/>
                  <a:gd name="T29" fmla="*/ 12 h 3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543" name="Freeform 67">
                <a:extLst>
                  <a:ext uri="{FF2B5EF4-FFF2-40B4-BE49-F238E27FC236}">
                    <a16:creationId xmlns:a16="http://schemas.microsoft.com/office/drawing/2014/main" xmlns="" id="{AED5976B-8BA2-D503-5937-D12CABD74B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11 w 34"/>
                  <a:gd name="T1" fmla="*/ 0 h 55"/>
                  <a:gd name="T2" fmla="*/ 11 w 34"/>
                  <a:gd name="T3" fmla="*/ 4 h 55"/>
                  <a:gd name="T4" fmla="*/ 11 w 34"/>
                  <a:gd name="T5" fmla="*/ 8 h 55"/>
                  <a:gd name="T6" fmla="*/ 11 w 34"/>
                  <a:gd name="T7" fmla="*/ 10 h 55"/>
                  <a:gd name="T8" fmla="*/ 10 w 34"/>
                  <a:gd name="T9" fmla="*/ 12 h 55"/>
                  <a:gd name="T10" fmla="*/ 9 w 34"/>
                  <a:gd name="T11" fmla="*/ 13 h 55"/>
                  <a:gd name="T12" fmla="*/ 8 w 34"/>
                  <a:gd name="T13" fmla="*/ 15 h 55"/>
                  <a:gd name="T14" fmla="*/ 6 w 34"/>
                  <a:gd name="T15" fmla="*/ 16 h 55"/>
                  <a:gd name="T16" fmla="*/ 5 w 34"/>
                  <a:gd name="T17" fmla="*/ 16 h 55"/>
                  <a:gd name="T18" fmla="*/ 3 w 34"/>
                  <a:gd name="T19" fmla="*/ 17 h 55"/>
                  <a:gd name="T20" fmla="*/ 0 w 34"/>
                  <a:gd name="T21" fmla="*/ 17 h 55"/>
                  <a:gd name="T22" fmla="*/ 3 w 34"/>
                  <a:gd name="T23" fmla="*/ 11 h 55"/>
                  <a:gd name="T24" fmla="*/ 5 w 34"/>
                  <a:gd name="T25" fmla="*/ 6 h 55"/>
                  <a:gd name="T26" fmla="*/ 6 w 34"/>
                  <a:gd name="T27" fmla="*/ 5 h 55"/>
                  <a:gd name="T28" fmla="*/ 7 w 34"/>
                  <a:gd name="T29" fmla="*/ 3 h 55"/>
                  <a:gd name="T30" fmla="*/ 9 w 34"/>
                  <a:gd name="T31" fmla="*/ 2 h 55"/>
                  <a:gd name="T32" fmla="*/ 11 w 34"/>
                  <a:gd name="T33" fmla="*/ 0 h 5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544" name="Freeform 68">
                <a:extLst>
                  <a:ext uri="{FF2B5EF4-FFF2-40B4-BE49-F238E27FC236}">
                    <a16:creationId xmlns:a16="http://schemas.microsoft.com/office/drawing/2014/main" xmlns="" id="{50B8A454-58D3-74BD-7F04-3A80DDEE61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1 w 33"/>
                  <a:gd name="T3" fmla="*/ 1 h 12"/>
                  <a:gd name="T4" fmla="*/ 2 w 33"/>
                  <a:gd name="T5" fmla="*/ 2 h 12"/>
                  <a:gd name="T6" fmla="*/ 3 w 33"/>
                  <a:gd name="T7" fmla="*/ 3 h 12"/>
                  <a:gd name="T8" fmla="*/ 5 w 33"/>
                  <a:gd name="T9" fmla="*/ 4 h 12"/>
                  <a:gd name="T10" fmla="*/ 8 w 33"/>
                  <a:gd name="T11" fmla="*/ 4 h 12"/>
                  <a:gd name="T12" fmla="*/ 11 w 33"/>
                  <a:gd name="T13" fmla="*/ 4 h 12"/>
                  <a:gd name="T14" fmla="*/ 9 w 33"/>
                  <a:gd name="T15" fmla="*/ 3 h 12"/>
                  <a:gd name="T16" fmla="*/ 6 w 33"/>
                  <a:gd name="T17" fmla="*/ 1 h 12"/>
                  <a:gd name="T18" fmla="*/ 3 w 33"/>
                  <a:gd name="T19" fmla="*/ 0 h 12"/>
                  <a:gd name="T20" fmla="*/ 0 w 33"/>
                  <a:gd name="T21" fmla="*/ 0 h 1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</p:grpSp>
        <p:sp>
          <p:nvSpPr>
            <p:cNvPr id="56" name="Freeform 69">
              <a:extLst>
                <a:ext uri="{FF2B5EF4-FFF2-40B4-BE49-F238E27FC236}">
                  <a16:creationId xmlns:a16="http://schemas.microsoft.com/office/drawing/2014/main" xmlns="" id="{6EEE533D-4338-4950-A1BE-6B881996E8B2}"/>
                </a:ext>
              </a:extLst>
            </p:cNvPr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7401436" y="2932111"/>
              <a:ext cx="10987" cy="41835"/>
            </a:xfrm>
            <a:custGeom>
              <a:avLst/>
              <a:gdLst>
                <a:gd name="T0" fmla="*/ 0 w 33"/>
                <a:gd name="T1" fmla="*/ 57150 h 62"/>
                <a:gd name="T2" fmla="*/ 0 w 33"/>
                <a:gd name="T3" fmla="*/ 48854 h 62"/>
                <a:gd name="T4" fmla="*/ 0 w 33"/>
                <a:gd name="T5" fmla="*/ 41480 h 62"/>
                <a:gd name="T6" fmla="*/ 0 w 33"/>
                <a:gd name="T7" fmla="*/ 34106 h 62"/>
                <a:gd name="T8" fmla="*/ 0 w 33"/>
                <a:gd name="T9" fmla="*/ 28575 h 62"/>
                <a:gd name="T10" fmla="*/ 0 w 33"/>
                <a:gd name="T11" fmla="*/ 23966 h 62"/>
                <a:gd name="T12" fmla="*/ 770 w 33"/>
                <a:gd name="T13" fmla="*/ 20279 h 62"/>
                <a:gd name="T14" fmla="*/ 1539 w 33"/>
                <a:gd name="T15" fmla="*/ 15670 h 62"/>
                <a:gd name="T16" fmla="*/ 3079 w 33"/>
                <a:gd name="T17" fmla="*/ 11983 h 62"/>
                <a:gd name="T18" fmla="*/ 5388 w 33"/>
                <a:gd name="T19" fmla="*/ 5531 h 62"/>
                <a:gd name="T20" fmla="*/ 7697 w 33"/>
                <a:gd name="T21" fmla="*/ 0 h 62"/>
                <a:gd name="T22" fmla="*/ 10006 w 33"/>
                <a:gd name="T23" fmla="*/ 5531 h 62"/>
                <a:gd name="T24" fmla="*/ 12700 w 33"/>
                <a:gd name="T25" fmla="*/ 11983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57" name="Freeform 70">
              <a:extLst>
                <a:ext uri="{FF2B5EF4-FFF2-40B4-BE49-F238E27FC236}">
                  <a16:creationId xmlns:a16="http://schemas.microsoft.com/office/drawing/2014/main" xmlns="" id="{9DD21592-76C0-75E6-A50F-0D61EB3F583A}"/>
                </a:ext>
              </a:extLst>
            </p:cNvPr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7409677" y="2998349"/>
              <a:ext cx="8240" cy="42996"/>
            </a:xfrm>
            <a:custGeom>
              <a:avLst/>
              <a:gdLst>
                <a:gd name="T0" fmla="*/ 0 w 26"/>
                <a:gd name="T1" fmla="*/ 58737 h 18"/>
                <a:gd name="T2" fmla="*/ 0 w 26"/>
                <a:gd name="T3" fmla="*/ 0 h 18"/>
                <a:gd name="T4" fmla="*/ 9525 w 26"/>
                <a:gd name="T5" fmla="*/ 0 h 18"/>
                <a:gd name="T6" fmla="*/ 2198 w 26"/>
                <a:gd name="T7" fmla="*/ 39158 h 18"/>
                <a:gd name="T8" fmla="*/ 2198 w 26"/>
                <a:gd name="T9" fmla="*/ 19579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58" name="Freeform 71">
              <a:extLst>
                <a:ext uri="{FF2B5EF4-FFF2-40B4-BE49-F238E27FC236}">
                  <a16:creationId xmlns:a16="http://schemas.microsoft.com/office/drawing/2014/main" xmlns="" id="{EB23FA82-7CB7-1038-621C-5B7AC8A93517}"/>
                </a:ext>
              </a:extLst>
            </p:cNvPr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7508559" y="2932112"/>
              <a:ext cx="67296" cy="95288"/>
            </a:xfrm>
            <a:custGeom>
              <a:avLst/>
              <a:gdLst>
                <a:gd name="T0" fmla="*/ 77788 w 180"/>
                <a:gd name="T1" fmla="*/ 120412 h 240"/>
                <a:gd name="T2" fmla="*/ 75627 w 180"/>
                <a:gd name="T3" fmla="*/ 120954 h 240"/>
                <a:gd name="T4" fmla="*/ 73899 w 180"/>
                <a:gd name="T5" fmla="*/ 120954 h 240"/>
                <a:gd name="T6" fmla="*/ 72170 w 180"/>
                <a:gd name="T7" fmla="*/ 122039 h 240"/>
                <a:gd name="T8" fmla="*/ 70874 w 180"/>
                <a:gd name="T9" fmla="*/ 123124 h 240"/>
                <a:gd name="T10" fmla="*/ 68281 w 180"/>
                <a:gd name="T11" fmla="*/ 125836 h 240"/>
                <a:gd name="T12" fmla="*/ 66120 w 180"/>
                <a:gd name="T13" fmla="*/ 130175 h 240"/>
                <a:gd name="T14" fmla="*/ 60502 w 180"/>
                <a:gd name="T15" fmla="*/ 125836 h 240"/>
                <a:gd name="T16" fmla="*/ 56612 w 180"/>
                <a:gd name="T17" fmla="*/ 120954 h 240"/>
                <a:gd name="T18" fmla="*/ 53155 w 180"/>
                <a:gd name="T19" fmla="*/ 116073 h 240"/>
                <a:gd name="T20" fmla="*/ 50994 w 180"/>
                <a:gd name="T21" fmla="*/ 111734 h 240"/>
                <a:gd name="T22" fmla="*/ 48401 w 180"/>
                <a:gd name="T23" fmla="*/ 105767 h 240"/>
                <a:gd name="T24" fmla="*/ 45808 w 180"/>
                <a:gd name="T25" fmla="*/ 100343 h 240"/>
                <a:gd name="T26" fmla="*/ 42351 w 180"/>
                <a:gd name="T27" fmla="*/ 94377 h 240"/>
                <a:gd name="T28" fmla="*/ 37598 w 180"/>
                <a:gd name="T29" fmla="*/ 87326 h 240"/>
                <a:gd name="T30" fmla="*/ 35437 w 180"/>
                <a:gd name="T31" fmla="*/ 82987 h 240"/>
                <a:gd name="T32" fmla="*/ 32412 w 180"/>
                <a:gd name="T33" fmla="*/ 79190 h 240"/>
                <a:gd name="T34" fmla="*/ 30251 w 180"/>
                <a:gd name="T35" fmla="*/ 75393 h 240"/>
                <a:gd name="T36" fmla="*/ 26794 w 180"/>
                <a:gd name="T37" fmla="*/ 72139 h 240"/>
                <a:gd name="T38" fmla="*/ 20743 w 180"/>
                <a:gd name="T39" fmla="*/ 65630 h 240"/>
                <a:gd name="T40" fmla="*/ 14261 w 180"/>
                <a:gd name="T41" fmla="*/ 59664 h 240"/>
                <a:gd name="T42" fmla="*/ 11668 w 180"/>
                <a:gd name="T43" fmla="*/ 56409 h 240"/>
                <a:gd name="T44" fmla="*/ 9075 w 180"/>
                <a:gd name="T45" fmla="*/ 53155 h 240"/>
                <a:gd name="T46" fmla="*/ 6482 w 180"/>
                <a:gd name="T47" fmla="*/ 49900 h 240"/>
                <a:gd name="T48" fmla="*/ 4322 w 180"/>
                <a:gd name="T49" fmla="*/ 45561 h 240"/>
                <a:gd name="T50" fmla="*/ 2593 w 180"/>
                <a:gd name="T51" fmla="*/ 41764 h 240"/>
                <a:gd name="T52" fmla="*/ 1729 w 180"/>
                <a:gd name="T53" fmla="*/ 36883 h 240"/>
                <a:gd name="T54" fmla="*/ 432 w 180"/>
                <a:gd name="T55" fmla="*/ 32544 h 240"/>
                <a:gd name="T56" fmla="*/ 0 w 180"/>
                <a:gd name="T57" fmla="*/ 27120 h 240"/>
                <a:gd name="T58" fmla="*/ 0 w 180"/>
                <a:gd name="T59" fmla="*/ 18984 h 240"/>
                <a:gd name="T60" fmla="*/ 0 w 180"/>
                <a:gd name="T61" fmla="*/ 13560 h 240"/>
                <a:gd name="T62" fmla="*/ 0 w 180"/>
                <a:gd name="T63" fmla="*/ 8136 h 240"/>
                <a:gd name="T64" fmla="*/ 0 w 180"/>
                <a:gd name="T65" fmla="*/ 0 h 240"/>
                <a:gd name="T66" fmla="*/ 4322 w 180"/>
                <a:gd name="T67" fmla="*/ 4339 h 240"/>
                <a:gd name="T68" fmla="*/ 8211 w 180"/>
                <a:gd name="T69" fmla="*/ 9221 h 240"/>
                <a:gd name="T70" fmla="*/ 11668 w 180"/>
                <a:gd name="T71" fmla="*/ 14645 h 240"/>
                <a:gd name="T72" fmla="*/ 14693 w 180"/>
                <a:gd name="T73" fmla="*/ 20611 h 240"/>
                <a:gd name="T74" fmla="*/ 17718 w 180"/>
                <a:gd name="T75" fmla="*/ 26035 h 240"/>
                <a:gd name="T76" fmla="*/ 19879 w 180"/>
                <a:gd name="T77" fmla="*/ 31459 h 240"/>
                <a:gd name="T78" fmla="*/ 22040 w 180"/>
                <a:gd name="T79" fmla="*/ 35798 h 240"/>
                <a:gd name="T80" fmla="*/ 23336 w 180"/>
                <a:gd name="T81" fmla="*/ 40137 h 240"/>
                <a:gd name="T82" fmla="*/ 25929 w 180"/>
                <a:gd name="T83" fmla="*/ 46646 h 240"/>
                <a:gd name="T84" fmla="*/ 28522 w 180"/>
                <a:gd name="T85" fmla="*/ 53155 h 240"/>
                <a:gd name="T86" fmla="*/ 31980 w 180"/>
                <a:gd name="T87" fmla="*/ 58036 h 240"/>
                <a:gd name="T88" fmla="*/ 35437 w 180"/>
                <a:gd name="T89" fmla="*/ 62918 h 240"/>
                <a:gd name="T90" fmla="*/ 43216 w 180"/>
                <a:gd name="T91" fmla="*/ 72139 h 240"/>
                <a:gd name="T92" fmla="*/ 51427 w 180"/>
                <a:gd name="T93" fmla="*/ 80817 h 240"/>
                <a:gd name="T94" fmla="*/ 60070 w 180"/>
                <a:gd name="T95" fmla="*/ 88953 h 240"/>
                <a:gd name="T96" fmla="*/ 66984 w 180"/>
                <a:gd name="T97" fmla="*/ 97631 h 240"/>
                <a:gd name="T98" fmla="*/ 70441 w 180"/>
                <a:gd name="T99" fmla="*/ 102513 h 240"/>
                <a:gd name="T100" fmla="*/ 73034 w 180"/>
                <a:gd name="T101" fmla="*/ 107937 h 240"/>
                <a:gd name="T102" fmla="*/ 75627 w 180"/>
                <a:gd name="T103" fmla="*/ 113903 h 240"/>
                <a:gd name="T104" fmla="*/ 77788 w 180"/>
                <a:gd name="T105" fmla="*/ 120412 h 2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59" name="Freeform 72">
              <a:extLst>
                <a:ext uri="{FF2B5EF4-FFF2-40B4-BE49-F238E27FC236}">
                  <a16:creationId xmlns:a16="http://schemas.microsoft.com/office/drawing/2014/main" xmlns="" id="{5714AA06-CBF4-DD1C-182F-2868A01DA488}"/>
                </a:ext>
              </a:extLst>
            </p:cNvPr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7508559" y="2912357"/>
              <a:ext cx="12361" cy="41835"/>
            </a:xfrm>
            <a:custGeom>
              <a:avLst/>
              <a:gdLst>
                <a:gd name="T0" fmla="*/ 0 w 27"/>
                <a:gd name="T1" fmla="*/ 0 h 30"/>
                <a:gd name="T2" fmla="*/ 529 w 27"/>
                <a:gd name="T3" fmla="*/ 9525 h 30"/>
                <a:gd name="T4" fmla="*/ 1588 w 27"/>
                <a:gd name="T5" fmla="*/ 20955 h 30"/>
                <a:gd name="T6" fmla="*/ 2117 w 27"/>
                <a:gd name="T7" fmla="*/ 26670 h 30"/>
                <a:gd name="T8" fmla="*/ 2117 w 27"/>
                <a:gd name="T9" fmla="*/ 36195 h 30"/>
                <a:gd name="T10" fmla="*/ 1588 w 27"/>
                <a:gd name="T11" fmla="*/ 45720 h 30"/>
                <a:gd name="T12" fmla="*/ 0 w 27"/>
                <a:gd name="T13" fmla="*/ 57150 h 30"/>
                <a:gd name="T14" fmla="*/ 8996 w 27"/>
                <a:gd name="T15" fmla="*/ 51435 h 30"/>
                <a:gd name="T16" fmla="*/ 14288 w 27"/>
                <a:gd name="T17" fmla="*/ 45720 h 30"/>
                <a:gd name="T18" fmla="*/ 12171 w 27"/>
                <a:gd name="T19" fmla="*/ 38100 h 30"/>
                <a:gd name="T20" fmla="*/ 8996 w 27"/>
                <a:gd name="T21" fmla="*/ 22860 h 30"/>
                <a:gd name="T22" fmla="*/ 5821 w 27"/>
                <a:gd name="T23" fmla="*/ 15240 h 30"/>
                <a:gd name="T24" fmla="*/ 3704 w 27"/>
                <a:gd name="T25" fmla="*/ 7620 h 30"/>
                <a:gd name="T26" fmla="*/ 2117 w 27"/>
                <a:gd name="T27" fmla="*/ 1905 h 30"/>
                <a:gd name="T28" fmla="*/ 0 w 27"/>
                <a:gd name="T29" fmla="*/ 0 h 3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grpSp>
          <p:nvGrpSpPr>
            <p:cNvPr id="60" name="Group 73">
              <a:extLst>
                <a:ext uri="{FF2B5EF4-FFF2-40B4-BE49-F238E27FC236}">
                  <a16:creationId xmlns:a16="http://schemas.microsoft.com/office/drawing/2014/main" xmlns="" id="{FD74E37D-ED56-C646-4DD6-682FCC1997E0}"/>
                </a:ext>
              </a:extLst>
            </p:cNvPr>
            <p:cNvGrpSpPr>
              <a:grpSpLocks/>
            </p:cNvGrpSpPr>
            <p:nvPr>
              <p:custDataLst>
                <p:tags r:id="rId56"/>
              </p:custDataLst>
            </p:nvPr>
          </p:nvGrpSpPr>
          <p:grpSpPr bwMode="auto">
            <a:xfrm>
              <a:off x="7240752" y="3293511"/>
              <a:ext cx="396905" cy="296324"/>
              <a:chOff x="5372" y="3323"/>
              <a:chExt cx="341" cy="253"/>
            </a:xfrm>
          </p:grpSpPr>
          <p:sp>
            <p:nvSpPr>
              <p:cNvPr id="532" name="Freeform 74">
                <a:extLst>
                  <a:ext uri="{FF2B5EF4-FFF2-40B4-BE49-F238E27FC236}">
                    <a16:creationId xmlns:a16="http://schemas.microsoft.com/office/drawing/2014/main" xmlns="" id="{D616EAD4-C028-0B1A-74BA-EFED366676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10 h 33"/>
                  <a:gd name="T2" fmla="*/ 1 w 53"/>
                  <a:gd name="T3" fmla="*/ 9 h 33"/>
                  <a:gd name="T4" fmla="*/ 2 w 53"/>
                  <a:gd name="T5" fmla="*/ 7 h 33"/>
                  <a:gd name="T6" fmla="*/ 5 w 53"/>
                  <a:gd name="T7" fmla="*/ 5 h 33"/>
                  <a:gd name="T8" fmla="*/ 6 w 53"/>
                  <a:gd name="T9" fmla="*/ 4 h 33"/>
                  <a:gd name="T10" fmla="*/ 9 w 53"/>
                  <a:gd name="T11" fmla="*/ 2 h 33"/>
                  <a:gd name="T12" fmla="*/ 11 w 53"/>
                  <a:gd name="T13" fmla="*/ 1 h 33"/>
                  <a:gd name="T14" fmla="*/ 14 w 53"/>
                  <a:gd name="T15" fmla="*/ 0 h 33"/>
                  <a:gd name="T16" fmla="*/ 16 w 53"/>
                  <a:gd name="T17" fmla="*/ 0 h 33"/>
                  <a:gd name="T18" fmla="*/ 16 w 53"/>
                  <a:gd name="T19" fmla="*/ 6 h 33"/>
                  <a:gd name="T20" fmla="*/ 11 w 53"/>
                  <a:gd name="T21" fmla="*/ 8 h 33"/>
                  <a:gd name="T22" fmla="*/ 8 w 53"/>
                  <a:gd name="T23" fmla="*/ 10 h 33"/>
                  <a:gd name="T24" fmla="*/ 6 w 53"/>
                  <a:gd name="T25" fmla="*/ 11 h 33"/>
                  <a:gd name="T26" fmla="*/ 5 w 53"/>
                  <a:gd name="T27" fmla="*/ 11 h 33"/>
                  <a:gd name="T28" fmla="*/ 3 w 53"/>
                  <a:gd name="T29" fmla="*/ 11 h 33"/>
                  <a:gd name="T30" fmla="*/ 0 w 53"/>
                  <a:gd name="T31" fmla="*/ 10 h 3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533" name="Freeform 75">
                <a:extLst>
                  <a:ext uri="{FF2B5EF4-FFF2-40B4-BE49-F238E27FC236}">
                    <a16:creationId xmlns:a16="http://schemas.microsoft.com/office/drawing/2014/main" xmlns="" id="{7608CD2D-A617-350A-473A-CE7618E0CB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8 w 631"/>
                  <a:gd name="T1" fmla="*/ 97 h 358"/>
                  <a:gd name="T2" fmla="*/ 16 w 631"/>
                  <a:gd name="T3" fmla="*/ 95 h 358"/>
                  <a:gd name="T4" fmla="*/ 21 w 631"/>
                  <a:gd name="T5" fmla="*/ 91 h 358"/>
                  <a:gd name="T6" fmla="*/ 25 w 631"/>
                  <a:gd name="T7" fmla="*/ 83 h 358"/>
                  <a:gd name="T8" fmla="*/ 32 w 631"/>
                  <a:gd name="T9" fmla="*/ 84 h 358"/>
                  <a:gd name="T10" fmla="*/ 40 w 631"/>
                  <a:gd name="T11" fmla="*/ 83 h 358"/>
                  <a:gd name="T12" fmla="*/ 45 w 631"/>
                  <a:gd name="T13" fmla="*/ 81 h 358"/>
                  <a:gd name="T14" fmla="*/ 52 w 631"/>
                  <a:gd name="T15" fmla="*/ 75 h 358"/>
                  <a:gd name="T16" fmla="*/ 58 w 631"/>
                  <a:gd name="T17" fmla="*/ 68 h 358"/>
                  <a:gd name="T18" fmla="*/ 68 w 631"/>
                  <a:gd name="T19" fmla="*/ 63 h 358"/>
                  <a:gd name="T20" fmla="*/ 83 w 631"/>
                  <a:gd name="T21" fmla="*/ 57 h 358"/>
                  <a:gd name="T22" fmla="*/ 105 w 631"/>
                  <a:gd name="T23" fmla="*/ 50 h 358"/>
                  <a:gd name="T24" fmla="*/ 116 w 631"/>
                  <a:gd name="T25" fmla="*/ 45 h 358"/>
                  <a:gd name="T26" fmla="*/ 125 w 631"/>
                  <a:gd name="T27" fmla="*/ 42 h 358"/>
                  <a:gd name="T28" fmla="*/ 130 w 631"/>
                  <a:gd name="T29" fmla="*/ 42 h 358"/>
                  <a:gd name="T30" fmla="*/ 141 w 631"/>
                  <a:gd name="T31" fmla="*/ 35 h 358"/>
                  <a:gd name="T32" fmla="*/ 150 w 631"/>
                  <a:gd name="T33" fmla="*/ 26 h 358"/>
                  <a:gd name="T34" fmla="*/ 153 w 631"/>
                  <a:gd name="T35" fmla="*/ 21 h 358"/>
                  <a:gd name="T36" fmla="*/ 161 w 631"/>
                  <a:gd name="T37" fmla="*/ 19 h 358"/>
                  <a:gd name="T38" fmla="*/ 172 w 631"/>
                  <a:gd name="T39" fmla="*/ 12 h 358"/>
                  <a:gd name="T40" fmla="*/ 182 w 631"/>
                  <a:gd name="T41" fmla="*/ 4 h 358"/>
                  <a:gd name="T42" fmla="*/ 189 w 631"/>
                  <a:gd name="T43" fmla="*/ 0 h 358"/>
                  <a:gd name="T44" fmla="*/ 193 w 631"/>
                  <a:gd name="T45" fmla="*/ 7 h 358"/>
                  <a:gd name="T46" fmla="*/ 198 w 631"/>
                  <a:gd name="T47" fmla="*/ 10 h 358"/>
                  <a:gd name="T48" fmla="*/ 200 w 631"/>
                  <a:gd name="T49" fmla="*/ 15 h 358"/>
                  <a:gd name="T50" fmla="*/ 192 w 631"/>
                  <a:gd name="T51" fmla="*/ 29 h 358"/>
                  <a:gd name="T52" fmla="*/ 182 w 631"/>
                  <a:gd name="T53" fmla="*/ 41 h 358"/>
                  <a:gd name="T54" fmla="*/ 169 w 631"/>
                  <a:gd name="T55" fmla="*/ 50 h 358"/>
                  <a:gd name="T56" fmla="*/ 156 w 631"/>
                  <a:gd name="T57" fmla="*/ 57 h 358"/>
                  <a:gd name="T58" fmla="*/ 142 w 631"/>
                  <a:gd name="T59" fmla="*/ 59 h 358"/>
                  <a:gd name="T60" fmla="*/ 140 w 631"/>
                  <a:gd name="T61" fmla="*/ 64 h 358"/>
                  <a:gd name="T62" fmla="*/ 139 w 631"/>
                  <a:gd name="T63" fmla="*/ 65 h 358"/>
                  <a:gd name="T64" fmla="*/ 126 w 631"/>
                  <a:gd name="T65" fmla="*/ 65 h 358"/>
                  <a:gd name="T66" fmla="*/ 117 w 631"/>
                  <a:gd name="T67" fmla="*/ 69 h 358"/>
                  <a:gd name="T68" fmla="*/ 111 w 631"/>
                  <a:gd name="T69" fmla="*/ 69 h 358"/>
                  <a:gd name="T70" fmla="*/ 108 w 631"/>
                  <a:gd name="T71" fmla="*/ 67 h 358"/>
                  <a:gd name="T72" fmla="*/ 100 w 631"/>
                  <a:gd name="T73" fmla="*/ 79 h 358"/>
                  <a:gd name="T74" fmla="*/ 87 w 631"/>
                  <a:gd name="T75" fmla="*/ 92 h 358"/>
                  <a:gd name="T76" fmla="*/ 70 w 631"/>
                  <a:gd name="T77" fmla="*/ 103 h 358"/>
                  <a:gd name="T78" fmla="*/ 53 w 631"/>
                  <a:gd name="T79" fmla="*/ 112 h 358"/>
                  <a:gd name="T80" fmla="*/ 35 w 631"/>
                  <a:gd name="T81" fmla="*/ 117 h 358"/>
                  <a:gd name="T82" fmla="*/ 23 w 631"/>
                  <a:gd name="T83" fmla="*/ 116 h 358"/>
                  <a:gd name="T84" fmla="*/ 18 w 631"/>
                  <a:gd name="T85" fmla="*/ 114 h 358"/>
                  <a:gd name="T86" fmla="*/ 11 w 631"/>
                  <a:gd name="T87" fmla="*/ 111 h 35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534" name="Freeform 76">
                <a:extLst>
                  <a:ext uri="{FF2B5EF4-FFF2-40B4-BE49-F238E27FC236}">
                    <a16:creationId xmlns:a16="http://schemas.microsoft.com/office/drawing/2014/main" xmlns="" id="{2F5C5A91-25E4-D372-84F9-0AE89E0F4F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19 w 359"/>
                  <a:gd name="T1" fmla="*/ 94 h 431"/>
                  <a:gd name="T2" fmla="*/ 31 w 359"/>
                  <a:gd name="T3" fmla="*/ 88 h 431"/>
                  <a:gd name="T4" fmla="*/ 53 w 359"/>
                  <a:gd name="T5" fmla="*/ 68 h 431"/>
                  <a:gd name="T6" fmla="*/ 56 w 359"/>
                  <a:gd name="T7" fmla="*/ 55 h 431"/>
                  <a:gd name="T8" fmla="*/ 58 w 359"/>
                  <a:gd name="T9" fmla="*/ 49 h 431"/>
                  <a:gd name="T10" fmla="*/ 62 w 359"/>
                  <a:gd name="T11" fmla="*/ 45 h 431"/>
                  <a:gd name="T12" fmla="*/ 61 w 359"/>
                  <a:gd name="T13" fmla="*/ 41 h 431"/>
                  <a:gd name="T14" fmla="*/ 58 w 359"/>
                  <a:gd name="T15" fmla="*/ 31 h 431"/>
                  <a:gd name="T16" fmla="*/ 56 w 359"/>
                  <a:gd name="T17" fmla="*/ 11 h 431"/>
                  <a:gd name="T18" fmla="*/ 59 w 359"/>
                  <a:gd name="T19" fmla="*/ 0 h 431"/>
                  <a:gd name="T20" fmla="*/ 63 w 359"/>
                  <a:gd name="T21" fmla="*/ 4 h 431"/>
                  <a:gd name="T22" fmla="*/ 67 w 359"/>
                  <a:gd name="T23" fmla="*/ 9 h 431"/>
                  <a:gd name="T24" fmla="*/ 75 w 359"/>
                  <a:gd name="T25" fmla="*/ 18 h 431"/>
                  <a:gd name="T26" fmla="*/ 77 w 359"/>
                  <a:gd name="T27" fmla="*/ 24 h 431"/>
                  <a:gd name="T28" fmla="*/ 77 w 359"/>
                  <a:gd name="T29" fmla="*/ 29 h 431"/>
                  <a:gd name="T30" fmla="*/ 73 w 359"/>
                  <a:gd name="T31" fmla="*/ 33 h 431"/>
                  <a:gd name="T32" fmla="*/ 66 w 359"/>
                  <a:gd name="T33" fmla="*/ 39 h 431"/>
                  <a:gd name="T34" fmla="*/ 64 w 359"/>
                  <a:gd name="T35" fmla="*/ 43 h 431"/>
                  <a:gd name="T36" fmla="*/ 64 w 359"/>
                  <a:gd name="T37" fmla="*/ 49 h 431"/>
                  <a:gd name="T38" fmla="*/ 66 w 359"/>
                  <a:gd name="T39" fmla="*/ 52 h 431"/>
                  <a:gd name="T40" fmla="*/ 73 w 359"/>
                  <a:gd name="T41" fmla="*/ 52 h 431"/>
                  <a:gd name="T42" fmla="*/ 75 w 359"/>
                  <a:gd name="T43" fmla="*/ 50 h 431"/>
                  <a:gd name="T44" fmla="*/ 75 w 359"/>
                  <a:gd name="T45" fmla="*/ 44 h 431"/>
                  <a:gd name="T46" fmla="*/ 84 w 359"/>
                  <a:gd name="T47" fmla="*/ 63 h 431"/>
                  <a:gd name="T48" fmla="*/ 88 w 359"/>
                  <a:gd name="T49" fmla="*/ 68 h 431"/>
                  <a:gd name="T50" fmla="*/ 94 w 359"/>
                  <a:gd name="T51" fmla="*/ 72 h 431"/>
                  <a:gd name="T52" fmla="*/ 97 w 359"/>
                  <a:gd name="T53" fmla="*/ 71 h 431"/>
                  <a:gd name="T54" fmla="*/ 101 w 359"/>
                  <a:gd name="T55" fmla="*/ 67 h 431"/>
                  <a:gd name="T56" fmla="*/ 110 w 359"/>
                  <a:gd name="T57" fmla="*/ 63 h 431"/>
                  <a:gd name="T58" fmla="*/ 115 w 359"/>
                  <a:gd name="T59" fmla="*/ 67 h 431"/>
                  <a:gd name="T60" fmla="*/ 111 w 359"/>
                  <a:gd name="T61" fmla="*/ 79 h 431"/>
                  <a:gd name="T62" fmla="*/ 104 w 359"/>
                  <a:gd name="T63" fmla="*/ 85 h 431"/>
                  <a:gd name="T64" fmla="*/ 95 w 359"/>
                  <a:gd name="T65" fmla="*/ 90 h 431"/>
                  <a:gd name="T66" fmla="*/ 80 w 359"/>
                  <a:gd name="T67" fmla="*/ 94 h 431"/>
                  <a:gd name="T68" fmla="*/ 67 w 359"/>
                  <a:gd name="T69" fmla="*/ 98 h 431"/>
                  <a:gd name="T70" fmla="*/ 62 w 359"/>
                  <a:gd name="T71" fmla="*/ 101 h 431"/>
                  <a:gd name="T72" fmla="*/ 58 w 359"/>
                  <a:gd name="T73" fmla="*/ 111 h 431"/>
                  <a:gd name="T74" fmla="*/ 53 w 359"/>
                  <a:gd name="T75" fmla="*/ 116 h 431"/>
                  <a:gd name="T76" fmla="*/ 35 w 359"/>
                  <a:gd name="T77" fmla="*/ 129 h 431"/>
                  <a:gd name="T78" fmla="*/ 16 w 359"/>
                  <a:gd name="T79" fmla="*/ 139 h 431"/>
                  <a:gd name="T80" fmla="*/ 6 w 359"/>
                  <a:gd name="T81" fmla="*/ 141 h 431"/>
                  <a:gd name="T82" fmla="*/ 2 w 359"/>
                  <a:gd name="T83" fmla="*/ 139 h 431"/>
                  <a:gd name="T84" fmla="*/ 0 w 359"/>
                  <a:gd name="T85" fmla="*/ 136 h 431"/>
                  <a:gd name="T86" fmla="*/ 0 w 359"/>
                  <a:gd name="T87" fmla="*/ 132 h 431"/>
                  <a:gd name="T88" fmla="*/ 3 w 359"/>
                  <a:gd name="T89" fmla="*/ 128 h 431"/>
                  <a:gd name="T90" fmla="*/ 18 w 359"/>
                  <a:gd name="T91" fmla="*/ 122 h 431"/>
                  <a:gd name="T92" fmla="*/ 24 w 359"/>
                  <a:gd name="T93" fmla="*/ 115 h 431"/>
                  <a:gd name="T94" fmla="*/ 23 w 359"/>
                  <a:gd name="T95" fmla="*/ 110 h 431"/>
                  <a:gd name="T96" fmla="*/ 21 w 359"/>
                  <a:gd name="T97" fmla="*/ 107 h 431"/>
                  <a:gd name="T98" fmla="*/ 16 w 359"/>
                  <a:gd name="T99" fmla="*/ 105 h 431"/>
                  <a:gd name="T100" fmla="*/ 6 w 359"/>
                  <a:gd name="T101" fmla="*/ 105 h 43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</p:grpSp>
        <p:sp>
          <p:nvSpPr>
            <p:cNvPr id="61" name="Freeform 77">
              <a:extLst>
                <a:ext uri="{FF2B5EF4-FFF2-40B4-BE49-F238E27FC236}">
                  <a16:creationId xmlns:a16="http://schemas.microsoft.com/office/drawing/2014/main" xmlns="" id="{4FF70164-DEF5-0BD6-4D96-FEC32677BD0E}"/>
                </a:ext>
              </a:extLst>
            </p:cNvPr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6931742" y="2310411"/>
              <a:ext cx="8240" cy="41835"/>
            </a:xfrm>
            <a:custGeom>
              <a:avLst/>
              <a:gdLst>
                <a:gd name="T0" fmla="*/ 0 w 21"/>
                <a:gd name="T1" fmla="*/ 39636 h 62"/>
                <a:gd name="T2" fmla="*/ 454 w 21"/>
                <a:gd name="T3" fmla="*/ 26731 h 62"/>
                <a:gd name="T4" fmla="*/ 1361 w 21"/>
                <a:gd name="T5" fmla="*/ 15670 h 62"/>
                <a:gd name="T6" fmla="*/ 1814 w 21"/>
                <a:gd name="T7" fmla="*/ 10140 h 62"/>
                <a:gd name="T8" fmla="*/ 2721 w 21"/>
                <a:gd name="T9" fmla="*/ 6452 h 62"/>
                <a:gd name="T10" fmla="*/ 4082 w 21"/>
                <a:gd name="T11" fmla="*/ 2765 h 62"/>
                <a:gd name="T12" fmla="*/ 6804 w 21"/>
                <a:gd name="T13" fmla="*/ 0 h 62"/>
                <a:gd name="T14" fmla="*/ 6804 w 21"/>
                <a:gd name="T15" fmla="*/ 13827 h 62"/>
                <a:gd name="T16" fmla="*/ 8164 w 21"/>
                <a:gd name="T17" fmla="*/ 28575 h 62"/>
                <a:gd name="T18" fmla="*/ 9071 w 21"/>
                <a:gd name="T19" fmla="*/ 40558 h 62"/>
                <a:gd name="T20" fmla="*/ 9525 w 21"/>
                <a:gd name="T21" fmla="*/ 45167 h 62"/>
                <a:gd name="T22" fmla="*/ 4536 w 21"/>
                <a:gd name="T23" fmla="*/ 50698 h 62"/>
                <a:gd name="T24" fmla="*/ 0 w 21"/>
                <a:gd name="T25" fmla="*/ 57150 h 62"/>
                <a:gd name="T26" fmla="*/ 0 w 21"/>
                <a:gd name="T27" fmla="*/ 39636 h 6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62" name="Freeform 78">
              <a:extLst>
                <a:ext uri="{FF2B5EF4-FFF2-40B4-BE49-F238E27FC236}">
                  <a16:creationId xmlns:a16="http://schemas.microsoft.com/office/drawing/2014/main" xmlns="" id="{3BF8783F-6DDC-76CD-B794-B9482619524C}"/>
                </a:ext>
              </a:extLst>
            </p:cNvPr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7560747" y="2970459"/>
              <a:ext cx="12361" cy="41835"/>
            </a:xfrm>
            <a:custGeom>
              <a:avLst/>
              <a:gdLst>
                <a:gd name="T0" fmla="*/ 0 w 33"/>
                <a:gd name="T1" fmla="*/ 0 h 24"/>
                <a:gd name="T2" fmla="*/ 2165 w 33"/>
                <a:gd name="T3" fmla="*/ 11906 h 24"/>
                <a:gd name="T4" fmla="*/ 4330 w 33"/>
                <a:gd name="T5" fmla="*/ 23813 h 24"/>
                <a:gd name="T6" fmla="*/ 4763 w 33"/>
                <a:gd name="T7" fmla="*/ 30956 h 24"/>
                <a:gd name="T8" fmla="*/ 5196 w 33"/>
                <a:gd name="T9" fmla="*/ 38100 h 24"/>
                <a:gd name="T10" fmla="*/ 5629 w 33"/>
                <a:gd name="T11" fmla="*/ 47625 h 24"/>
                <a:gd name="T12" fmla="*/ 5629 w 33"/>
                <a:gd name="T13" fmla="*/ 57150 h 24"/>
                <a:gd name="T14" fmla="*/ 14288 w 33"/>
                <a:gd name="T15" fmla="*/ 0 h 24"/>
                <a:gd name="T16" fmla="*/ 10391 w 33"/>
                <a:gd name="T17" fmla="*/ 0 h 24"/>
                <a:gd name="T18" fmla="*/ 6928 w 33"/>
                <a:gd name="T19" fmla="*/ 0 h 24"/>
                <a:gd name="T20" fmla="*/ 3897 w 33"/>
                <a:gd name="T21" fmla="*/ 0 h 24"/>
                <a:gd name="T22" fmla="*/ 0 w 33"/>
                <a:gd name="T23" fmla="*/ 0 h 2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63" name="Freeform 79">
              <a:extLst>
                <a:ext uri="{FF2B5EF4-FFF2-40B4-BE49-F238E27FC236}">
                  <a16:creationId xmlns:a16="http://schemas.microsoft.com/office/drawing/2014/main" xmlns="" id="{E5811CCF-9233-F403-E1F9-4A830E4CD6E4}"/>
                </a:ext>
              </a:extLst>
            </p:cNvPr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7579974" y="2977432"/>
              <a:ext cx="15108" cy="42996"/>
            </a:xfrm>
            <a:custGeom>
              <a:avLst/>
              <a:gdLst>
                <a:gd name="T0" fmla="*/ 13759 w 33"/>
                <a:gd name="T1" fmla="*/ 58737 h 25"/>
                <a:gd name="T2" fmla="*/ 15346 w 33"/>
                <a:gd name="T3" fmla="*/ 51689 h 25"/>
                <a:gd name="T4" fmla="*/ 17463 w 33"/>
                <a:gd name="T5" fmla="*/ 42291 h 25"/>
                <a:gd name="T6" fmla="*/ 17463 w 33"/>
                <a:gd name="T7" fmla="*/ 0 h 25"/>
                <a:gd name="T8" fmla="*/ 13230 w 33"/>
                <a:gd name="T9" fmla="*/ 0 h 25"/>
                <a:gd name="T10" fmla="*/ 8467 w 33"/>
                <a:gd name="T11" fmla="*/ 0 h 25"/>
                <a:gd name="T12" fmla="*/ 3175 w 33"/>
                <a:gd name="T13" fmla="*/ 0 h 25"/>
                <a:gd name="T14" fmla="*/ 0 w 33"/>
                <a:gd name="T15" fmla="*/ 0 h 25"/>
                <a:gd name="T16" fmla="*/ 13759 w 33"/>
                <a:gd name="T17" fmla="*/ 58737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64" name="Freeform 80">
              <a:extLst>
                <a:ext uri="{FF2B5EF4-FFF2-40B4-BE49-F238E27FC236}">
                  <a16:creationId xmlns:a16="http://schemas.microsoft.com/office/drawing/2014/main" xmlns="" id="{AE91896E-A7C1-ED2F-C49B-AD2668912075}"/>
                </a:ext>
              </a:extLst>
            </p:cNvPr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6986676" y="2302277"/>
              <a:ext cx="1374" cy="40672"/>
            </a:xfrm>
            <a:custGeom>
              <a:avLst/>
              <a:gdLst>
                <a:gd name="T0" fmla="*/ 0 w 7"/>
                <a:gd name="T1" fmla="*/ 0 h 55563"/>
                <a:gd name="T2" fmla="*/ 1588 w 7"/>
                <a:gd name="T3" fmla="*/ 0 h 55563"/>
                <a:gd name="T4" fmla="*/ 0 w 7"/>
                <a:gd name="T5" fmla="*/ 0 h 5556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55563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65" name="Freeform 81">
              <a:extLst>
                <a:ext uri="{FF2B5EF4-FFF2-40B4-BE49-F238E27FC236}">
                  <a16:creationId xmlns:a16="http://schemas.microsoft.com/office/drawing/2014/main" xmlns="" id="{ABDD169E-4E55-1EA2-0BFD-B6E162AAA6D7}"/>
                </a:ext>
              </a:extLst>
            </p:cNvPr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7037492" y="2261605"/>
              <a:ext cx="5493" cy="41835"/>
            </a:xfrm>
            <a:custGeom>
              <a:avLst/>
              <a:gdLst>
                <a:gd name="T0" fmla="*/ 6350 w 16"/>
                <a:gd name="T1" fmla="*/ 0 h 25"/>
                <a:gd name="T2" fmla="*/ 6350 w 16"/>
                <a:gd name="T3" fmla="*/ 13716 h 25"/>
                <a:gd name="T4" fmla="*/ 5556 w 16"/>
                <a:gd name="T5" fmla="*/ 29718 h 25"/>
                <a:gd name="T6" fmla="*/ 5159 w 16"/>
                <a:gd name="T7" fmla="*/ 36576 h 25"/>
                <a:gd name="T8" fmla="*/ 4366 w 16"/>
                <a:gd name="T9" fmla="*/ 45720 h 25"/>
                <a:gd name="T10" fmla="*/ 2778 w 16"/>
                <a:gd name="T11" fmla="*/ 52578 h 25"/>
                <a:gd name="T12" fmla="*/ 1191 w 16"/>
                <a:gd name="T13" fmla="*/ 57150 h 25"/>
                <a:gd name="T14" fmla="*/ 397 w 16"/>
                <a:gd name="T15" fmla="*/ 54864 h 25"/>
                <a:gd name="T16" fmla="*/ 0 w 16"/>
                <a:gd name="T17" fmla="*/ 48006 h 25"/>
                <a:gd name="T18" fmla="*/ 397 w 16"/>
                <a:gd name="T19" fmla="*/ 41148 h 25"/>
                <a:gd name="T20" fmla="*/ 794 w 16"/>
                <a:gd name="T21" fmla="*/ 29718 h 25"/>
                <a:gd name="T22" fmla="*/ 1588 w 16"/>
                <a:gd name="T23" fmla="*/ 20574 h 25"/>
                <a:gd name="T24" fmla="*/ 2778 w 16"/>
                <a:gd name="T25" fmla="*/ 9144 h 25"/>
                <a:gd name="T26" fmla="*/ 4366 w 16"/>
                <a:gd name="T27" fmla="*/ 2286 h 25"/>
                <a:gd name="T28" fmla="*/ 6350 w 16"/>
                <a:gd name="T29" fmla="*/ 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66" name="Freeform 82">
              <a:extLst>
                <a:ext uri="{FF2B5EF4-FFF2-40B4-BE49-F238E27FC236}">
                  <a16:creationId xmlns:a16="http://schemas.microsoft.com/office/drawing/2014/main" xmlns="" id="{E11C8A3C-ABE5-EF2C-D67C-DF4084D01A22}"/>
                </a:ext>
              </a:extLst>
            </p:cNvPr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7135002" y="2180261"/>
              <a:ext cx="4121" cy="41835"/>
            </a:xfrm>
            <a:custGeom>
              <a:avLst/>
              <a:gdLst>
                <a:gd name="T0" fmla="*/ 0 w 14"/>
                <a:gd name="T1" fmla="*/ 0 h 18"/>
                <a:gd name="T2" fmla="*/ 1021 w 14"/>
                <a:gd name="T3" fmla="*/ 3175 h 18"/>
                <a:gd name="T4" fmla="*/ 1701 w 14"/>
                <a:gd name="T5" fmla="*/ 6350 h 18"/>
                <a:gd name="T6" fmla="*/ 2382 w 14"/>
                <a:gd name="T7" fmla="*/ 12700 h 18"/>
                <a:gd name="T8" fmla="*/ 3062 w 14"/>
                <a:gd name="T9" fmla="*/ 22225 h 18"/>
                <a:gd name="T10" fmla="*/ 4423 w 14"/>
                <a:gd name="T11" fmla="*/ 41275 h 18"/>
                <a:gd name="T12" fmla="*/ 4763 w 14"/>
                <a:gd name="T13" fmla="*/ 57150 h 18"/>
                <a:gd name="T14" fmla="*/ 0 w 14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67" name="Freeform 83">
              <a:extLst>
                <a:ext uri="{FF2B5EF4-FFF2-40B4-BE49-F238E27FC236}">
                  <a16:creationId xmlns:a16="http://schemas.microsoft.com/office/drawing/2014/main" xmlns="" id="{8745D5D8-0531-61FA-C553-A8FF3D89A86F}"/>
                </a:ext>
              </a:extLst>
            </p:cNvPr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7266845" y="2691566"/>
              <a:ext cx="23348" cy="42996"/>
            </a:xfrm>
            <a:custGeom>
              <a:avLst/>
              <a:gdLst>
                <a:gd name="T0" fmla="*/ 0 w 67"/>
                <a:gd name="T1" fmla="*/ 0 h 74"/>
                <a:gd name="T2" fmla="*/ 403 w 67"/>
                <a:gd name="T3" fmla="*/ 13494 h 74"/>
                <a:gd name="T4" fmla="*/ 1208 w 67"/>
                <a:gd name="T5" fmla="*/ 23812 h 74"/>
                <a:gd name="T6" fmla="*/ 2820 w 67"/>
                <a:gd name="T7" fmla="*/ 32543 h 74"/>
                <a:gd name="T8" fmla="*/ 4834 w 67"/>
                <a:gd name="T9" fmla="*/ 39687 h 74"/>
                <a:gd name="T10" fmla="*/ 6848 w 67"/>
                <a:gd name="T11" fmla="*/ 46037 h 74"/>
                <a:gd name="T12" fmla="*/ 9265 w 67"/>
                <a:gd name="T13" fmla="*/ 50800 h 74"/>
                <a:gd name="T14" fmla="*/ 11279 w 67"/>
                <a:gd name="T15" fmla="*/ 54768 h 74"/>
                <a:gd name="T16" fmla="*/ 13293 w 67"/>
                <a:gd name="T17" fmla="*/ 58737 h 74"/>
                <a:gd name="T18" fmla="*/ 17723 w 67"/>
                <a:gd name="T19" fmla="*/ 51593 h 74"/>
                <a:gd name="T20" fmla="*/ 22154 w 67"/>
                <a:gd name="T21" fmla="*/ 43656 h 74"/>
                <a:gd name="T22" fmla="*/ 23766 w 67"/>
                <a:gd name="T23" fmla="*/ 38893 h 74"/>
                <a:gd name="T24" fmla="*/ 25377 w 67"/>
                <a:gd name="T25" fmla="*/ 34131 h 74"/>
                <a:gd name="T26" fmla="*/ 26585 w 67"/>
                <a:gd name="T27" fmla="*/ 29369 h 74"/>
                <a:gd name="T28" fmla="*/ 26988 w 67"/>
                <a:gd name="T29" fmla="*/ 23812 h 74"/>
                <a:gd name="T30" fmla="*/ 26988 w 67"/>
                <a:gd name="T31" fmla="*/ 19844 h 74"/>
                <a:gd name="T32" fmla="*/ 26988 w 67"/>
                <a:gd name="T33" fmla="*/ 14287 h 74"/>
                <a:gd name="T34" fmla="*/ 26988 w 67"/>
                <a:gd name="T35" fmla="*/ 7144 h 74"/>
                <a:gd name="T36" fmla="*/ 26988 w 67"/>
                <a:gd name="T37" fmla="*/ 0 h 74"/>
                <a:gd name="T38" fmla="*/ 19335 w 67"/>
                <a:gd name="T39" fmla="*/ 0 h 74"/>
                <a:gd name="T40" fmla="*/ 13293 w 67"/>
                <a:gd name="T41" fmla="*/ 0 h 74"/>
                <a:gd name="T42" fmla="*/ 6848 w 67"/>
                <a:gd name="T43" fmla="*/ 0 h 74"/>
                <a:gd name="T44" fmla="*/ 0 w 67"/>
                <a:gd name="T45" fmla="*/ 0 h 7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68" name="Freeform 84">
              <a:extLst>
                <a:ext uri="{FF2B5EF4-FFF2-40B4-BE49-F238E27FC236}">
                  <a16:creationId xmlns:a16="http://schemas.microsoft.com/office/drawing/2014/main" xmlns="" id="{8ACA4186-26E6-3706-22BF-3A4B9A6FED23}"/>
                </a:ext>
              </a:extLst>
            </p:cNvPr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7321780" y="2702024"/>
              <a:ext cx="10987" cy="41835"/>
            </a:xfrm>
            <a:custGeom>
              <a:avLst/>
              <a:gdLst>
                <a:gd name="T0" fmla="*/ 0 w 34"/>
                <a:gd name="T1" fmla="*/ 0 h 38"/>
                <a:gd name="T2" fmla="*/ 747 w 34"/>
                <a:gd name="T3" fmla="*/ 4512 h 38"/>
                <a:gd name="T4" fmla="*/ 1494 w 34"/>
                <a:gd name="T5" fmla="*/ 10528 h 38"/>
                <a:gd name="T6" fmla="*/ 1868 w 34"/>
                <a:gd name="T7" fmla="*/ 16543 h 38"/>
                <a:gd name="T8" fmla="*/ 2241 w 34"/>
                <a:gd name="T9" fmla="*/ 24063 h 38"/>
                <a:gd name="T10" fmla="*/ 3735 w 34"/>
                <a:gd name="T11" fmla="*/ 42111 h 38"/>
                <a:gd name="T12" fmla="*/ 4856 w 34"/>
                <a:gd name="T13" fmla="*/ 57150 h 38"/>
                <a:gd name="T14" fmla="*/ 5976 w 34"/>
                <a:gd name="T15" fmla="*/ 55646 h 38"/>
                <a:gd name="T16" fmla="*/ 7471 w 34"/>
                <a:gd name="T17" fmla="*/ 54142 h 38"/>
                <a:gd name="T18" fmla="*/ 8591 w 34"/>
                <a:gd name="T19" fmla="*/ 51134 h 38"/>
                <a:gd name="T20" fmla="*/ 9712 w 34"/>
                <a:gd name="T21" fmla="*/ 46622 h 38"/>
                <a:gd name="T22" fmla="*/ 10459 w 34"/>
                <a:gd name="T23" fmla="*/ 42111 h 38"/>
                <a:gd name="T24" fmla="*/ 11953 w 34"/>
                <a:gd name="T25" fmla="*/ 36095 h 38"/>
                <a:gd name="T26" fmla="*/ 12326 w 34"/>
                <a:gd name="T27" fmla="*/ 31583 h 38"/>
                <a:gd name="T28" fmla="*/ 12700 w 34"/>
                <a:gd name="T29" fmla="*/ 28575 h 38"/>
                <a:gd name="T30" fmla="*/ 11579 w 34"/>
                <a:gd name="T31" fmla="*/ 27071 h 38"/>
                <a:gd name="T32" fmla="*/ 10459 w 34"/>
                <a:gd name="T33" fmla="*/ 25567 h 38"/>
                <a:gd name="T34" fmla="*/ 9712 w 34"/>
                <a:gd name="T35" fmla="*/ 21055 h 38"/>
                <a:gd name="T36" fmla="*/ 8965 w 34"/>
                <a:gd name="T37" fmla="*/ 18047 h 38"/>
                <a:gd name="T38" fmla="*/ 7097 w 34"/>
                <a:gd name="T39" fmla="*/ 9024 h 38"/>
                <a:gd name="T40" fmla="*/ 4856 w 34"/>
                <a:gd name="T41" fmla="*/ 0 h 38"/>
                <a:gd name="T42" fmla="*/ 2241 w 34"/>
                <a:gd name="T43" fmla="*/ 0 h 38"/>
                <a:gd name="T44" fmla="*/ 0 w 34"/>
                <a:gd name="T45" fmla="*/ 0 h 3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69" name="Freeform 85">
              <a:extLst>
                <a:ext uri="{FF2B5EF4-FFF2-40B4-BE49-F238E27FC236}">
                  <a16:creationId xmlns:a16="http://schemas.microsoft.com/office/drawing/2014/main" xmlns="" id="{CE3EDB1D-5D97-08C5-B4AF-39771B60CF35}"/>
                </a:ext>
              </a:extLst>
            </p:cNvPr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7198176" y="2538175"/>
              <a:ext cx="21974" cy="40672"/>
            </a:xfrm>
            <a:custGeom>
              <a:avLst/>
              <a:gdLst>
                <a:gd name="T0" fmla="*/ 25400 w 53"/>
                <a:gd name="T1" fmla="*/ 55562 h 23"/>
                <a:gd name="T2" fmla="*/ 25400 w 53"/>
                <a:gd name="T3" fmla="*/ 9663 h 23"/>
                <a:gd name="T4" fmla="*/ 23483 w 53"/>
                <a:gd name="T5" fmla="*/ 4831 h 23"/>
                <a:gd name="T6" fmla="*/ 21566 w 53"/>
                <a:gd name="T7" fmla="*/ 2416 h 23"/>
                <a:gd name="T8" fmla="*/ 20128 w 53"/>
                <a:gd name="T9" fmla="*/ 0 h 23"/>
                <a:gd name="T10" fmla="*/ 18211 w 53"/>
                <a:gd name="T11" fmla="*/ 0 h 23"/>
                <a:gd name="T12" fmla="*/ 14857 w 53"/>
                <a:gd name="T13" fmla="*/ 2416 h 23"/>
                <a:gd name="T14" fmla="*/ 11502 w 53"/>
                <a:gd name="T15" fmla="*/ 9663 h 23"/>
                <a:gd name="T16" fmla="*/ 5272 w 53"/>
                <a:gd name="T17" fmla="*/ 31405 h 23"/>
                <a:gd name="T18" fmla="*/ 0 w 53"/>
                <a:gd name="T19" fmla="*/ 55562 h 23"/>
                <a:gd name="T20" fmla="*/ 25400 w 53"/>
                <a:gd name="T21" fmla="*/ 55562 h 2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70" name="Freeform 86">
              <a:extLst>
                <a:ext uri="{FF2B5EF4-FFF2-40B4-BE49-F238E27FC236}">
                  <a16:creationId xmlns:a16="http://schemas.microsoft.com/office/drawing/2014/main" xmlns="" id="{391383F7-C9FD-D9B9-F826-D93631DEC2BD}"/>
                </a:ext>
              </a:extLst>
            </p:cNvPr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7148736" y="2519582"/>
              <a:ext cx="9614" cy="41835"/>
            </a:xfrm>
            <a:custGeom>
              <a:avLst/>
              <a:gdLst>
                <a:gd name="T0" fmla="*/ 0 w 26"/>
                <a:gd name="T1" fmla="*/ 0 h 12"/>
                <a:gd name="T2" fmla="*/ 1710 w 26"/>
                <a:gd name="T3" fmla="*/ 19050 h 12"/>
                <a:gd name="T4" fmla="*/ 4702 w 26"/>
                <a:gd name="T5" fmla="*/ 38100 h 12"/>
                <a:gd name="T6" fmla="*/ 5984 w 26"/>
                <a:gd name="T7" fmla="*/ 42863 h 12"/>
                <a:gd name="T8" fmla="*/ 7694 w 26"/>
                <a:gd name="T9" fmla="*/ 52388 h 12"/>
                <a:gd name="T10" fmla="*/ 9403 w 26"/>
                <a:gd name="T11" fmla="*/ 52388 h 12"/>
                <a:gd name="T12" fmla="*/ 11113 w 26"/>
                <a:gd name="T13" fmla="*/ 57150 h 12"/>
                <a:gd name="T14" fmla="*/ 8976 w 26"/>
                <a:gd name="T15" fmla="*/ 33338 h 12"/>
                <a:gd name="T16" fmla="*/ 5557 w 26"/>
                <a:gd name="T17" fmla="*/ 14288 h 12"/>
                <a:gd name="T18" fmla="*/ 2137 w 26"/>
                <a:gd name="T19" fmla="*/ 4763 h 12"/>
                <a:gd name="T20" fmla="*/ 0 w 26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71" name="Freeform 87">
              <a:extLst>
                <a:ext uri="{FF2B5EF4-FFF2-40B4-BE49-F238E27FC236}">
                  <a16:creationId xmlns:a16="http://schemas.microsoft.com/office/drawing/2014/main" xmlns="" id="{0DB26E7C-0A27-BEFD-C8B5-0CEE6D73CD9A}"/>
                </a:ext>
              </a:extLst>
            </p:cNvPr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7321780" y="2762451"/>
              <a:ext cx="27467" cy="41835"/>
            </a:xfrm>
            <a:custGeom>
              <a:avLst/>
              <a:gdLst>
                <a:gd name="T0" fmla="*/ 0 w 73"/>
                <a:gd name="T1" fmla="*/ 0 h 57150"/>
                <a:gd name="T2" fmla="*/ 8699 w 73"/>
                <a:gd name="T3" fmla="*/ 0 h 57150"/>
                <a:gd name="T4" fmla="*/ 16092 w 73"/>
                <a:gd name="T5" fmla="*/ 0 h 57150"/>
                <a:gd name="T6" fmla="*/ 23921 w 73"/>
                <a:gd name="T7" fmla="*/ 0 h 57150"/>
                <a:gd name="T8" fmla="*/ 31750 w 73"/>
                <a:gd name="T9" fmla="*/ 0 h 571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3" h="57150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72" name="Freeform 88">
              <a:extLst>
                <a:ext uri="{FF2B5EF4-FFF2-40B4-BE49-F238E27FC236}">
                  <a16:creationId xmlns:a16="http://schemas.microsoft.com/office/drawing/2014/main" xmlns="" id="{B64F8035-1339-642B-4C68-91DCFBF0454C}"/>
                </a:ext>
              </a:extLst>
            </p:cNvPr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7283326" y="2754317"/>
              <a:ext cx="19227" cy="41835"/>
            </a:xfrm>
            <a:custGeom>
              <a:avLst/>
              <a:gdLst>
                <a:gd name="T0" fmla="*/ 0 w 53"/>
                <a:gd name="T1" fmla="*/ 0 h 3"/>
                <a:gd name="T2" fmla="*/ 5871 w 53"/>
                <a:gd name="T3" fmla="*/ 0 h 3"/>
                <a:gd name="T4" fmla="*/ 11322 w 53"/>
                <a:gd name="T5" fmla="*/ 57150 h 3"/>
                <a:gd name="T6" fmla="*/ 13419 w 53"/>
                <a:gd name="T7" fmla="*/ 57150 h 3"/>
                <a:gd name="T8" fmla="*/ 16354 w 53"/>
                <a:gd name="T9" fmla="*/ 57150 h 3"/>
                <a:gd name="T10" fmla="*/ 18870 w 53"/>
                <a:gd name="T11" fmla="*/ 19050 h 3"/>
                <a:gd name="T12" fmla="*/ 22225 w 53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73" name="Line 89">
              <a:extLst>
                <a:ext uri="{FF2B5EF4-FFF2-40B4-BE49-F238E27FC236}">
                  <a16:creationId xmlns:a16="http://schemas.microsoft.com/office/drawing/2014/main" xmlns="" id="{6E289535-FD6C-2406-B06D-F488B1179953}"/>
                </a:ext>
              </a:extLst>
            </p:cNvPr>
            <p:cNvSpPr>
              <a:spLocks noChangeShapeType="1"/>
            </p:cNvSpPr>
            <p:nvPr>
              <p:custDataLst>
                <p:tags r:id="rId69"/>
              </p:custDataLst>
            </p:nvPr>
          </p:nvSpPr>
          <p:spPr bwMode="auto">
            <a:xfrm>
              <a:off x="7312168" y="2743858"/>
              <a:ext cx="17853" cy="4649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74" name="Freeform 90">
              <a:extLst>
                <a:ext uri="{FF2B5EF4-FFF2-40B4-BE49-F238E27FC236}">
                  <a16:creationId xmlns:a16="http://schemas.microsoft.com/office/drawing/2014/main" xmlns="" id="{80A287D3-344D-46A3-0750-8E5FFBBEE954}"/>
                </a:ext>
              </a:extLst>
            </p:cNvPr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7330020" y="2748506"/>
              <a:ext cx="1374" cy="41835"/>
            </a:xfrm>
            <a:custGeom>
              <a:avLst/>
              <a:gdLst>
                <a:gd name="T0" fmla="*/ 0 w 1588"/>
                <a:gd name="T1" fmla="*/ 0 h 13"/>
                <a:gd name="T2" fmla="*/ 0 w 1588"/>
                <a:gd name="T3" fmla="*/ 26377 h 13"/>
                <a:gd name="T4" fmla="*/ 0 w 1588"/>
                <a:gd name="T5" fmla="*/ 57150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75" name="Freeform 91">
              <a:extLst>
                <a:ext uri="{FF2B5EF4-FFF2-40B4-BE49-F238E27FC236}">
                  <a16:creationId xmlns:a16="http://schemas.microsoft.com/office/drawing/2014/main" xmlns="" id="{4CE4A08A-274E-DB3D-6766-062E0E5AE439}"/>
                </a:ext>
              </a:extLst>
            </p:cNvPr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7290194" y="2743858"/>
              <a:ext cx="12360" cy="42997"/>
            </a:xfrm>
            <a:custGeom>
              <a:avLst/>
              <a:gdLst>
                <a:gd name="T0" fmla="*/ 0 w 26"/>
                <a:gd name="T1" fmla="*/ 0 h 58738"/>
                <a:gd name="T2" fmla="*/ 8243 w 26"/>
                <a:gd name="T3" fmla="*/ 0 h 58738"/>
                <a:gd name="T4" fmla="*/ 14287 w 26"/>
                <a:gd name="T5" fmla="*/ 0 h 5873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6" h="58738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76" name="Freeform 92">
              <a:extLst>
                <a:ext uri="{FF2B5EF4-FFF2-40B4-BE49-F238E27FC236}">
                  <a16:creationId xmlns:a16="http://schemas.microsoft.com/office/drawing/2014/main" xmlns="" id="{E2737D2B-6854-9B17-637B-E9BE0270CBDC}"/>
                </a:ext>
              </a:extLst>
            </p:cNvPr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7284699" y="2729914"/>
              <a:ext cx="5493" cy="44158"/>
            </a:xfrm>
            <a:custGeom>
              <a:avLst/>
              <a:gdLst>
                <a:gd name="T0" fmla="*/ 6350 w 20"/>
                <a:gd name="T1" fmla="*/ 0 h 25"/>
                <a:gd name="T2" fmla="*/ 0 w 20"/>
                <a:gd name="T3" fmla="*/ 31369 h 25"/>
                <a:gd name="T4" fmla="*/ 1270 w 20"/>
                <a:gd name="T5" fmla="*/ 43434 h 25"/>
                <a:gd name="T6" fmla="*/ 3175 w 20"/>
                <a:gd name="T7" fmla="*/ 50673 h 25"/>
                <a:gd name="T8" fmla="*/ 4445 w 20"/>
                <a:gd name="T9" fmla="*/ 57912 h 25"/>
                <a:gd name="T10" fmla="*/ 6350 w 20"/>
                <a:gd name="T11" fmla="*/ 60325 h 25"/>
                <a:gd name="T12" fmla="*/ 6350 w 20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77" name="Freeform 93">
              <a:extLst>
                <a:ext uri="{FF2B5EF4-FFF2-40B4-BE49-F238E27FC236}">
                  <a16:creationId xmlns:a16="http://schemas.microsoft.com/office/drawing/2014/main" xmlns="" id="{0F3CBEB5-48E2-E146-2D5C-BF4E0B0832C8}"/>
                </a:ext>
              </a:extLst>
            </p:cNvPr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7354741" y="2530040"/>
              <a:ext cx="1374" cy="41835"/>
            </a:xfrm>
            <a:custGeom>
              <a:avLst/>
              <a:gdLst>
                <a:gd name="T0" fmla="*/ 0 w 6"/>
                <a:gd name="T1" fmla="*/ 57150 h 24"/>
                <a:gd name="T2" fmla="*/ 0 w 6"/>
                <a:gd name="T3" fmla="*/ 0 h 24"/>
                <a:gd name="T4" fmla="*/ 1588 w 6"/>
                <a:gd name="T5" fmla="*/ 28575 h 24"/>
                <a:gd name="T6" fmla="*/ 0 w 6"/>
                <a:gd name="T7" fmla="*/ 5715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grpSp>
          <p:nvGrpSpPr>
            <p:cNvPr id="78" name="Group 94">
              <a:extLst>
                <a:ext uri="{FF2B5EF4-FFF2-40B4-BE49-F238E27FC236}">
                  <a16:creationId xmlns:a16="http://schemas.microsoft.com/office/drawing/2014/main" xmlns="" id="{E80445DC-80FB-693D-0E08-59123616ED81}"/>
                </a:ext>
              </a:extLst>
            </p:cNvPr>
            <p:cNvGrpSpPr>
              <a:grpSpLocks/>
            </p:cNvGrpSpPr>
            <p:nvPr>
              <p:custDataLst>
                <p:tags r:id="rId74"/>
              </p:custDataLst>
            </p:nvPr>
          </p:nvGrpSpPr>
          <p:grpSpPr bwMode="auto">
            <a:xfrm>
              <a:off x="7246245" y="2289494"/>
              <a:ext cx="141457" cy="83668"/>
              <a:chOff x="5379" y="2466"/>
              <a:chExt cx="122" cy="71"/>
            </a:xfrm>
          </p:grpSpPr>
          <p:sp>
            <p:nvSpPr>
              <p:cNvPr id="523" name="Freeform 95">
                <a:extLst>
                  <a:ext uri="{FF2B5EF4-FFF2-40B4-BE49-F238E27FC236}">
                    <a16:creationId xmlns:a16="http://schemas.microsoft.com/office/drawing/2014/main" xmlns="" id="{E3C49E54-80B3-D27D-9D82-D24519636B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6 w 19"/>
                  <a:gd name="T1" fmla="*/ 9 h 25"/>
                  <a:gd name="T2" fmla="*/ 6 w 19"/>
                  <a:gd name="T3" fmla="*/ 7 h 25"/>
                  <a:gd name="T4" fmla="*/ 5 w 19"/>
                  <a:gd name="T5" fmla="*/ 4 h 25"/>
                  <a:gd name="T6" fmla="*/ 5 w 19"/>
                  <a:gd name="T7" fmla="*/ 3 h 25"/>
                  <a:gd name="T8" fmla="*/ 5 w 19"/>
                  <a:gd name="T9" fmla="*/ 2 h 25"/>
                  <a:gd name="T10" fmla="*/ 5 w 19"/>
                  <a:gd name="T11" fmla="*/ 1 h 25"/>
                  <a:gd name="T12" fmla="*/ 6 w 19"/>
                  <a:gd name="T13" fmla="*/ 0 h 25"/>
                  <a:gd name="T14" fmla="*/ 0 w 19"/>
                  <a:gd name="T15" fmla="*/ 0 h 25"/>
                  <a:gd name="T16" fmla="*/ 0 w 19"/>
                  <a:gd name="T17" fmla="*/ 3 h 25"/>
                  <a:gd name="T18" fmla="*/ 2 w 19"/>
                  <a:gd name="T19" fmla="*/ 5 h 25"/>
                  <a:gd name="T20" fmla="*/ 2 w 19"/>
                  <a:gd name="T21" fmla="*/ 7 h 25"/>
                  <a:gd name="T22" fmla="*/ 3 w 19"/>
                  <a:gd name="T23" fmla="*/ 8 h 25"/>
                  <a:gd name="T24" fmla="*/ 5 w 19"/>
                  <a:gd name="T25" fmla="*/ 9 h 25"/>
                  <a:gd name="T26" fmla="*/ 6 w 19"/>
                  <a:gd name="T27" fmla="*/ 9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524" name="Freeform 96">
                <a:extLst>
                  <a:ext uri="{FF2B5EF4-FFF2-40B4-BE49-F238E27FC236}">
                    <a16:creationId xmlns:a16="http://schemas.microsoft.com/office/drawing/2014/main" xmlns="" id="{96D29C96-EDE6-20C0-D37D-77EEC74136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7 w 26"/>
                  <a:gd name="T1" fmla="*/ 6 h 18"/>
                  <a:gd name="T2" fmla="*/ 2 w 26"/>
                  <a:gd name="T3" fmla="*/ 6 h 18"/>
                  <a:gd name="T4" fmla="*/ 1 w 26"/>
                  <a:gd name="T5" fmla="*/ 3 h 18"/>
                  <a:gd name="T6" fmla="*/ 0 w 26"/>
                  <a:gd name="T7" fmla="*/ 0 h 18"/>
                  <a:gd name="T8" fmla="*/ 2 w 26"/>
                  <a:gd name="T9" fmla="*/ 1 h 18"/>
                  <a:gd name="T10" fmla="*/ 4 w 26"/>
                  <a:gd name="T11" fmla="*/ 2 h 18"/>
                  <a:gd name="T12" fmla="*/ 5 w 26"/>
                  <a:gd name="T13" fmla="*/ 4 h 18"/>
                  <a:gd name="T14" fmla="*/ 7 w 26"/>
                  <a:gd name="T15" fmla="*/ 6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525" name="Freeform 97">
                <a:extLst>
                  <a:ext uri="{FF2B5EF4-FFF2-40B4-BE49-F238E27FC236}">
                    <a16:creationId xmlns:a16="http://schemas.microsoft.com/office/drawing/2014/main" xmlns="" id="{177817F8-D9EF-42B3-4BC6-C2E2A5444F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6 h 18"/>
                  <a:gd name="T2" fmla="*/ 5 w 13"/>
                  <a:gd name="T3" fmla="*/ 0 h 18"/>
                  <a:gd name="T4" fmla="*/ 0 w 13"/>
                  <a:gd name="T5" fmla="*/ 6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526" name="Freeform 98">
                <a:extLst>
                  <a:ext uri="{FF2B5EF4-FFF2-40B4-BE49-F238E27FC236}">
                    <a16:creationId xmlns:a16="http://schemas.microsoft.com/office/drawing/2014/main" xmlns="" id="{0701E53E-3F4C-8003-7F6D-7F942B6C6C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8 h 24"/>
                  <a:gd name="T2" fmla="*/ 1 w 26"/>
                  <a:gd name="T3" fmla="*/ 8 h 24"/>
                  <a:gd name="T4" fmla="*/ 2 w 26"/>
                  <a:gd name="T5" fmla="*/ 7 h 24"/>
                  <a:gd name="T6" fmla="*/ 3 w 26"/>
                  <a:gd name="T7" fmla="*/ 6 h 24"/>
                  <a:gd name="T8" fmla="*/ 5 w 26"/>
                  <a:gd name="T9" fmla="*/ 5 h 24"/>
                  <a:gd name="T10" fmla="*/ 6 w 26"/>
                  <a:gd name="T11" fmla="*/ 4 h 24"/>
                  <a:gd name="T12" fmla="*/ 7 w 26"/>
                  <a:gd name="T13" fmla="*/ 3 h 24"/>
                  <a:gd name="T14" fmla="*/ 8 w 26"/>
                  <a:gd name="T15" fmla="*/ 1 h 24"/>
                  <a:gd name="T16" fmla="*/ 8 w 26"/>
                  <a:gd name="T17" fmla="*/ 0 h 24"/>
                  <a:gd name="T18" fmla="*/ 0 w 26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527" name="Freeform 99">
                <a:extLst>
                  <a:ext uri="{FF2B5EF4-FFF2-40B4-BE49-F238E27FC236}">
                    <a16:creationId xmlns:a16="http://schemas.microsoft.com/office/drawing/2014/main" xmlns="" id="{B398014B-A2C9-5F42-EC2B-6092F14D0F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2 h 6"/>
                  <a:gd name="T2" fmla="*/ 3 w 34"/>
                  <a:gd name="T3" fmla="*/ 2 h 6"/>
                  <a:gd name="T4" fmla="*/ 6 w 34"/>
                  <a:gd name="T5" fmla="*/ 2 h 6"/>
                  <a:gd name="T6" fmla="*/ 8 w 34"/>
                  <a:gd name="T7" fmla="*/ 1 h 6"/>
                  <a:gd name="T8" fmla="*/ 11 w 34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528" name="Line 100">
                <a:extLst>
                  <a:ext uri="{FF2B5EF4-FFF2-40B4-BE49-F238E27FC236}">
                    <a16:creationId xmlns:a16="http://schemas.microsoft.com/office/drawing/2014/main" xmlns="" id="{35C1CC23-5C1C-82B1-DD53-699D68DA3D0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529" name="Freeform 101">
                <a:extLst>
                  <a:ext uri="{FF2B5EF4-FFF2-40B4-BE49-F238E27FC236}">
                    <a16:creationId xmlns:a16="http://schemas.microsoft.com/office/drawing/2014/main" xmlns="" id="{183D5733-745A-33B7-6116-1AAD7B5AEF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0 w 1"/>
                  <a:gd name="T1" fmla="*/ 7 h 19"/>
                  <a:gd name="T2" fmla="*/ 0 w 1"/>
                  <a:gd name="T3" fmla="*/ 3 h 19"/>
                  <a:gd name="T4" fmla="*/ 0 w 1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530" name="Line 102">
                <a:extLst>
                  <a:ext uri="{FF2B5EF4-FFF2-40B4-BE49-F238E27FC236}">
                    <a16:creationId xmlns:a16="http://schemas.microsoft.com/office/drawing/2014/main" xmlns="" id="{EA89ED3C-2DC8-1505-8A2D-CB091C8B9AB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531" name="Freeform 103">
                <a:extLst>
                  <a:ext uri="{FF2B5EF4-FFF2-40B4-BE49-F238E27FC236}">
                    <a16:creationId xmlns:a16="http://schemas.microsoft.com/office/drawing/2014/main" xmlns="" id="{41EE54F9-1A92-624F-0A62-CDC007592D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4 w 14"/>
                  <a:gd name="T1" fmla="*/ 0 h 6"/>
                  <a:gd name="T2" fmla="*/ 2 w 14"/>
                  <a:gd name="T3" fmla="*/ 1 h 6"/>
                  <a:gd name="T4" fmla="*/ 0 w 14"/>
                  <a:gd name="T5" fmla="*/ 2 h 6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</p:grpSp>
        <p:sp>
          <p:nvSpPr>
            <p:cNvPr id="79" name="Freeform 104">
              <a:extLst>
                <a:ext uri="{FF2B5EF4-FFF2-40B4-BE49-F238E27FC236}">
                  <a16:creationId xmlns:a16="http://schemas.microsoft.com/office/drawing/2014/main" xmlns="" id="{DC3C28F7-9004-D941-8A45-8FDE8559819B}"/>
                </a:ext>
              </a:extLst>
            </p:cNvPr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6021194" y="2188395"/>
              <a:ext cx="5493" cy="41835"/>
            </a:xfrm>
            <a:custGeom>
              <a:avLst/>
              <a:gdLst>
                <a:gd name="T0" fmla="*/ 3175 w 26"/>
                <a:gd name="T1" fmla="*/ 57150 h 111"/>
                <a:gd name="T2" fmla="*/ 2198 w 26"/>
                <a:gd name="T3" fmla="*/ 53031 h 111"/>
                <a:gd name="T4" fmla="*/ 977 w 26"/>
                <a:gd name="T5" fmla="*/ 48912 h 111"/>
                <a:gd name="T6" fmla="*/ 488 w 26"/>
                <a:gd name="T7" fmla="*/ 46853 h 111"/>
                <a:gd name="T8" fmla="*/ 244 w 26"/>
                <a:gd name="T9" fmla="*/ 44793 h 111"/>
                <a:gd name="T10" fmla="*/ 0 w 26"/>
                <a:gd name="T11" fmla="*/ 41189 h 111"/>
                <a:gd name="T12" fmla="*/ 0 w 26"/>
                <a:gd name="T13" fmla="*/ 38100 h 111"/>
                <a:gd name="T14" fmla="*/ 0 w 26"/>
                <a:gd name="T15" fmla="*/ 31407 h 111"/>
                <a:gd name="T16" fmla="*/ 244 w 26"/>
                <a:gd name="T17" fmla="*/ 26258 h 111"/>
                <a:gd name="T18" fmla="*/ 733 w 26"/>
                <a:gd name="T19" fmla="*/ 21109 h 111"/>
                <a:gd name="T20" fmla="*/ 1221 w 26"/>
                <a:gd name="T21" fmla="*/ 16991 h 111"/>
                <a:gd name="T22" fmla="*/ 2198 w 26"/>
                <a:gd name="T23" fmla="*/ 12357 h 111"/>
                <a:gd name="T24" fmla="*/ 3419 w 26"/>
                <a:gd name="T25" fmla="*/ 8753 h 111"/>
                <a:gd name="T26" fmla="*/ 4885 w 26"/>
                <a:gd name="T27" fmla="*/ 4634 h 111"/>
                <a:gd name="T28" fmla="*/ 6350 w 26"/>
                <a:gd name="T29" fmla="*/ 0 h 111"/>
                <a:gd name="T30" fmla="*/ 6350 w 26"/>
                <a:gd name="T31" fmla="*/ 3089 h 111"/>
                <a:gd name="T32" fmla="*/ 6350 w 26"/>
                <a:gd name="T33" fmla="*/ 6693 h 111"/>
                <a:gd name="T34" fmla="*/ 6350 w 26"/>
                <a:gd name="T35" fmla="*/ 11327 h 111"/>
                <a:gd name="T36" fmla="*/ 6350 w 26"/>
                <a:gd name="T37" fmla="*/ 16476 h 111"/>
                <a:gd name="T38" fmla="*/ 6106 w 26"/>
                <a:gd name="T39" fmla="*/ 22654 h 111"/>
                <a:gd name="T40" fmla="*/ 5373 w 26"/>
                <a:gd name="T41" fmla="*/ 28832 h 111"/>
                <a:gd name="T42" fmla="*/ 4396 w 26"/>
                <a:gd name="T43" fmla="*/ 34496 h 111"/>
                <a:gd name="T44" fmla="*/ 3175 w 26"/>
                <a:gd name="T45" fmla="*/ 41189 h 111"/>
                <a:gd name="T46" fmla="*/ 3175 w 26"/>
                <a:gd name="T47" fmla="*/ 57150 h 11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80" name="Freeform 105">
              <a:extLst>
                <a:ext uri="{FF2B5EF4-FFF2-40B4-BE49-F238E27FC236}">
                  <a16:creationId xmlns:a16="http://schemas.microsoft.com/office/drawing/2014/main" xmlns="" id="{71B8C1A0-717A-01FD-5D85-C4534F1CF05F}"/>
                </a:ext>
              </a:extLst>
            </p:cNvPr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3338994" y="3754848"/>
              <a:ext cx="46695" cy="42997"/>
            </a:xfrm>
            <a:custGeom>
              <a:avLst/>
              <a:gdLst>
                <a:gd name="T0" fmla="*/ 0 w 126"/>
                <a:gd name="T1" fmla="*/ 18000 h 62"/>
                <a:gd name="T2" fmla="*/ 4712 w 126"/>
                <a:gd name="T3" fmla="*/ 18948 h 62"/>
                <a:gd name="T4" fmla="*/ 8996 w 126"/>
                <a:gd name="T5" fmla="*/ 19895 h 62"/>
                <a:gd name="T6" fmla="*/ 12423 w 126"/>
                <a:gd name="T7" fmla="*/ 21790 h 62"/>
                <a:gd name="T8" fmla="*/ 15421 w 126"/>
                <a:gd name="T9" fmla="*/ 24632 h 62"/>
                <a:gd name="T10" fmla="*/ 21419 w 126"/>
                <a:gd name="T11" fmla="*/ 31264 h 62"/>
                <a:gd name="T12" fmla="*/ 26131 w 126"/>
                <a:gd name="T13" fmla="*/ 37895 h 62"/>
                <a:gd name="T14" fmla="*/ 29986 w 126"/>
                <a:gd name="T15" fmla="*/ 45475 h 62"/>
                <a:gd name="T16" fmla="*/ 33841 w 126"/>
                <a:gd name="T17" fmla="*/ 52106 h 62"/>
                <a:gd name="T18" fmla="*/ 35983 w 126"/>
                <a:gd name="T19" fmla="*/ 54948 h 62"/>
                <a:gd name="T20" fmla="*/ 38125 w 126"/>
                <a:gd name="T21" fmla="*/ 56843 h 62"/>
                <a:gd name="T22" fmla="*/ 40695 w 126"/>
                <a:gd name="T23" fmla="*/ 57791 h 62"/>
                <a:gd name="T24" fmla="*/ 42837 w 126"/>
                <a:gd name="T25" fmla="*/ 58738 h 62"/>
                <a:gd name="T26" fmla="*/ 44979 w 126"/>
                <a:gd name="T27" fmla="*/ 57791 h 62"/>
                <a:gd name="T28" fmla="*/ 46693 w 126"/>
                <a:gd name="T29" fmla="*/ 56843 h 62"/>
                <a:gd name="T30" fmla="*/ 48406 w 126"/>
                <a:gd name="T31" fmla="*/ 54948 h 62"/>
                <a:gd name="T32" fmla="*/ 50120 w 126"/>
                <a:gd name="T33" fmla="*/ 53054 h 62"/>
                <a:gd name="T34" fmla="*/ 52262 w 126"/>
                <a:gd name="T35" fmla="*/ 48317 h 62"/>
                <a:gd name="T36" fmla="*/ 53975 w 126"/>
                <a:gd name="T37" fmla="*/ 46422 h 62"/>
                <a:gd name="T38" fmla="*/ 47121 w 126"/>
                <a:gd name="T39" fmla="*/ 31264 h 62"/>
                <a:gd name="T40" fmla="*/ 41124 w 126"/>
                <a:gd name="T41" fmla="*/ 19895 h 62"/>
                <a:gd name="T42" fmla="*/ 38125 w 126"/>
                <a:gd name="T43" fmla="*/ 14211 h 62"/>
                <a:gd name="T44" fmla="*/ 34698 w 126"/>
                <a:gd name="T45" fmla="*/ 8526 h 62"/>
                <a:gd name="T46" fmla="*/ 30843 w 126"/>
                <a:gd name="T47" fmla="*/ 4737 h 62"/>
                <a:gd name="T48" fmla="*/ 26131 w 126"/>
                <a:gd name="T49" fmla="*/ 0 h 62"/>
                <a:gd name="T50" fmla="*/ 0 w 126"/>
                <a:gd name="T51" fmla="*/ 0 h 62"/>
                <a:gd name="T52" fmla="*/ 0 w 126"/>
                <a:gd name="T53" fmla="*/ 8526 h 62"/>
                <a:gd name="T54" fmla="*/ 0 w 126"/>
                <a:gd name="T55" fmla="*/ 18000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81" name="Freeform 106">
              <a:extLst>
                <a:ext uri="{FF2B5EF4-FFF2-40B4-BE49-F238E27FC236}">
                  <a16:creationId xmlns:a16="http://schemas.microsoft.com/office/drawing/2014/main" xmlns="" id="{FAAF392D-308F-D884-CD09-32B95F4E29A7}"/>
                </a:ext>
              </a:extLst>
            </p:cNvPr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5330387" y="3636319"/>
              <a:ext cx="26095" cy="40672"/>
            </a:xfrm>
            <a:custGeom>
              <a:avLst/>
              <a:gdLst>
                <a:gd name="T0" fmla="*/ 0 w 66"/>
                <a:gd name="T1" fmla="*/ 0 h 44"/>
                <a:gd name="T2" fmla="*/ 5941 w 66"/>
                <a:gd name="T3" fmla="*/ 1263 h 44"/>
                <a:gd name="T4" fmla="*/ 10511 w 66"/>
                <a:gd name="T5" fmla="*/ 2526 h 44"/>
                <a:gd name="T6" fmla="*/ 14624 w 66"/>
                <a:gd name="T7" fmla="*/ 5051 h 44"/>
                <a:gd name="T8" fmla="*/ 17367 w 66"/>
                <a:gd name="T9" fmla="*/ 8840 h 44"/>
                <a:gd name="T10" fmla="*/ 20109 w 66"/>
                <a:gd name="T11" fmla="*/ 11365 h 44"/>
                <a:gd name="T12" fmla="*/ 22851 w 66"/>
                <a:gd name="T13" fmla="*/ 13891 h 44"/>
                <a:gd name="T14" fmla="*/ 26050 w 66"/>
                <a:gd name="T15" fmla="*/ 15154 h 44"/>
                <a:gd name="T16" fmla="*/ 30163 w 66"/>
                <a:gd name="T17" fmla="*/ 16416 h 44"/>
                <a:gd name="T18" fmla="*/ 29706 w 66"/>
                <a:gd name="T19" fmla="*/ 21468 h 44"/>
                <a:gd name="T20" fmla="*/ 28335 w 66"/>
                <a:gd name="T21" fmla="*/ 26519 h 44"/>
                <a:gd name="T22" fmla="*/ 27421 w 66"/>
                <a:gd name="T23" fmla="*/ 31570 h 44"/>
                <a:gd name="T24" fmla="*/ 26050 w 66"/>
                <a:gd name="T25" fmla="*/ 35358 h 44"/>
                <a:gd name="T26" fmla="*/ 22394 w 66"/>
                <a:gd name="T27" fmla="*/ 42935 h 44"/>
                <a:gd name="T28" fmla="*/ 18281 w 66"/>
                <a:gd name="T29" fmla="*/ 49249 h 44"/>
                <a:gd name="T30" fmla="*/ 14167 w 66"/>
                <a:gd name="T31" fmla="*/ 53037 h 44"/>
                <a:gd name="T32" fmla="*/ 9597 w 66"/>
                <a:gd name="T33" fmla="*/ 55563 h 44"/>
                <a:gd name="T34" fmla="*/ 4570 w 66"/>
                <a:gd name="T35" fmla="*/ 55563 h 44"/>
                <a:gd name="T36" fmla="*/ 0 w 66"/>
                <a:gd name="T37" fmla="*/ 54300 h 44"/>
                <a:gd name="T38" fmla="*/ 0 w 66"/>
                <a:gd name="T39" fmla="*/ 39147 h 44"/>
                <a:gd name="T40" fmla="*/ 0 w 66"/>
                <a:gd name="T41" fmla="*/ 27782 h 44"/>
                <a:gd name="T42" fmla="*/ 0 w 66"/>
                <a:gd name="T43" fmla="*/ 15154 h 44"/>
                <a:gd name="T44" fmla="*/ 0 w 66"/>
                <a:gd name="T45" fmla="*/ 0 h 4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82" name="Freeform 107">
              <a:extLst>
                <a:ext uri="{FF2B5EF4-FFF2-40B4-BE49-F238E27FC236}">
                  <a16:creationId xmlns:a16="http://schemas.microsoft.com/office/drawing/2014/main" xmlns="" id="{9E462B5C-DC69-8A2D-E11C-1064F580EF20}"/>
                </a:ext>
              </a:extLst>
            </p:cNvPr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7194057" y="1272694"/>
              <a:ext cx="17853" cy="41835"/>
            </a:xfrm>
            <a:custGeom>
              <a:avLst/>
              <a:gdLst>
                <a:gd name="T0" fmla="*/ 20637 w 46"/>
                <a:gd name="T1" fmla="*/ 0 h 16"/>
                <a:gd name="T2" fmla="*/ 17945 w 46"/>
                <a:gd name="T3" fmla="*/ 25003 h 16"/>
                <a:gd name="T4" fmla="*/ 15702 w 46"/>
                <a:gd name="T5" fmla="*/ 46434 h 16"/>
                <a:gd name="T6" fmla="*/ 13908 w 46"/>
                <a:gd name="T7" fmla="*/ 50006 h 16"/>
                <a:gd name="T8" fmla="*/ 13010 w 46"/>
                <a:gd name="T9" fmla="*/ 53578 h 16"/>
                <a:gd name="T10" fmla="*/ 11664 w 46"/>
                <a:gd name="T11" fmla="*/ 57150 h 16"/>
                <a:gd name="T12" fmla="*/ 10319 w 46"/>
                <a:gd name="T13" fmla="*/ 57150 h 16"/>
                <a:gd name="T14" fmla="*/ 7178 w 46"/>
                <a:gd name="T15" fmla="*/ 50006 h 16"/>
                <a:gd name="T16" fmla="*/ 4935 w 46"/>
                <a:gd name="T17" fmla="*/ 39291 h 16"/>
                <a:gd name="T18" fmla="*/ 2243 w 46"/>
                <a:gd name="T19" fmla="*/ 21431 h 16"/>
                <a:gd name="T20" fmla="*/ 0 w 46"/>
                <a:gd name="T21" fmla="*/ 0 h 16"/>
                <a:gd name="T22" fmla="*/ 20637 w 46"/>
                <a:gd name="T23" fmla="*/ 0 h 1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83" name="Freeform 108">
              <a:extLst>
                <a:ext uri="{FF2B5EF4-FFF2-40B4-BE49-F238E27FC236}">
                  <a16:creationId xmlns:a16="http://schemas.microsoft.com/office/drawing/2014/main" xmlns="" id="{CC6866CE-7E94-5A62-1271-1944A3D24775}"/>
                </a:ext>
              </a:extLst>
            </p:cNvPr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7346502" y="1297098"/>
              <a:ext cx="13734" cy="41835"/>
            </a:xfrm>
            <a:custGeom>
              <a:avLst/>
              <a:gdLst>
                <a:gd name="T0" fmla="*/ 15875 w 39"/>
                <a:gd name="T1" fmla="*/ 54952 h 26"/>
                <a:gd name="T2" fmla="*/ 14654 w 39"/>
                <a:gd name="T3" fmla="*/ 57150 h 26"/>
                <a:gd name="T4" fmla="*/ 13026 w 39"/>
                <a:gd name="T5" fmla="*/ 57150 h 26"/>
                <a:gd name="T6" fmla="*/ 11397 w 39"/>
                <a:gd name="T7" fmla="*/ 57150 h 26"/>
                <a:gd name="T8" fmla="*/ 10176 w 39"/>
                <a:gd name="T9" fmla="*/ 54952 h 26"/>
                <a:gd name="T10" fmla="*/ 7327 w 39"/>
                <a:gd name="T11" fmla="*/ 48358 h 26"/>
                <a:gd name="T12" fmla="*/ 4885 w 39"/>
                <a:gd name="T13" fmla="*/ 39565 h 26"/>
                <a:gd name="T14" fmla="*/ 2849 w 39"/>
                <a:gd name="T15" fmla="*/ 28575 h 26"/>
                <a:gd name="T16" fmla="*/ 1221 w 39"/>
                <a:gd name="T17" fmla="*/ 15387 h 26"/>
                <a:gd name="T18" fmla="*/ 407 w 39"/>
                <a:gd name="T19" fmla="*/ 6594 h 26"/>
                <a:gd name="T20" fmla="*/ 0 w 39"/>
                <a:gd name="T21" fmla="*/ 0 h 26"/>
                <a:gd name="T22" fmla="*/ 4478 w 39"/>
                <a:gd name="T23" fmla="*/ 13188 h 26"/>
                <a:gd name="T24" fmla="*/ 8955 w 39"/>
                <a:gd name="T25" fmla="*/ 28575 h 26"/>
                <a:gd name="T26" fmla="*/ 13433 w 39"/>
                <a:gd name="T27" fmla="*/ 43962 h 26"/>
                <a:gd name="T28" fmla="*/ 15875 w 39"/>
                <a:gd name="T29" fmla="*/ 54952 h 2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84" name="Freeform 109">
              <a:extLst>
                <a:ext uri="{FF2B5EF4-FFF2-40B4-BE49-F238E27FC236}">
                  <a16:creationId xmlns:a16="http://schemas.microsoft.com/office/drawing/2014/main" xmlns="" id="{4AAF2DA6-C8B7-D279-BD47-A39F855F438F}"/>
                </a:ext>
              </a:extLst>
            </p:cNvPr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6869940" y="1465595"/>
              <a:ext cx="4120" cy="42997"/>
            </a:xfrm>
            <a:custGeom>
              <a:avLst/>
              <a:gdLst>
                <a:gd name="T0" fmla="*/ 4762 w 11"/>
                <a:gd name="T1" fmla="*/ 0 h 25"/>
                <a:gd name="T2" fmla="*/ 4762 w 11"/>
                <a:gd name="T3" fmla="*/ 11748 h 25"/>
                <a:gd name="T4" fmla="*/ 4329 w 11"/>
                <a:gd name="T5" fmla="*/ 28194 h 25"/>
                <a:gd name="T6" fmla="*/ 3896 w 11"/>
                <a:gd name="T7" fmla="*/ 46990 h 25"/>
                <a:gd name="T8" fmla="*/ 1732 w 11"/>
                <a:gd name="T9" fmla="*/ 58738 h 25"/>
                <a:gd name="T10" fmla="*/ 866 w 11"/>
                <a:gd name="T11" fmla="*/ 54039 h 25"/>
                <a:gd name="T12" fmla="*/ 433 w 11"/>
                <a:gd name="T13" fmla="*/ 46990 h 25"/>
                <a:gd name="T14" fmla="*/ 0 w 11"/>
                <a:gd name="T15" fmla="*/ 35243 h 25"/>
                <a:gd name="T16" fmla="*/ 0 w 11"/>
                <a:gd name="T17" fmla="*/ 28194 h 25"/>
                <a:gd name="T18" fmla="*/ 433 w 11"/>
                <a:gd name="T19" fmla="*/ 21146 h 25"/>
                <a:gd name="T20" fmla="*/ 1299 w 11"/>
                <a:gd name="T21" fmla="*/ 11748 h 25"/>
                <a:gd name="T22" fmla="*/ 2597 w 11"/>
                <a:gd name="T23" fmla="*/ 4699 h 25"/>
                <a:gd name="T24" fmla="*/ 4762 w 11"/>
                <a:gd name="T25" fmla="*/ 0 h 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85" name="Freeform 110">
              <a:extLst>
                <a:ext uri="{FF2B5EF4-FFF2-40B4-BE49-F238E27FC236}">
                  <a16:creationId xmlns:a16="http://schemas.microsoft.com/office/drawing/2014/main" xmlns="" id="{F76F62A4-44C1-7C6F-EB89-133DC365E6D7}"/>
                </a:ext>
              </a:extLst>
            </p:cNvPr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6709255" y="1876964"/>
              <a:ext cx="12361" cy="42997"/>
            </a:xfrm>
            <a:custGeom>
              <a:avLst/>
              <a:gdLst>
                <a:gd name="T0" fmla="*/ 14288 w 20"/>
                <a:gd name="T1" fmla="*/ 0 h 31"/>
                <a:gd name="T2" fmla="*/ 11430 w 20"/>
                <a:gd name="T3" fmla="*/ 22737 h 31"/>
                <a:gd name="T4" fmla="*/ 7144 w 20"/>
                <a:gd name="T5" fmla="*/ 37895 h 31"/>
                <a:gd name="T6" fmla="*/ 3572 w 20"/>
                <a:gd name="T7" fmla="*/ 49264 h 31"/>
                <a:gd name="T8" fmla="*/ 0 w 20"/>
                <a:gd name="T9" fmla="*/ 58738 h 31"/>
                <a:gd name="T10" fmla="*/ 0 w 20"/>
                <a:gd name="T11" fmla="*/ 47369 h 31"/>
                <a:gd name="T12" fmla="*/ 714 w 20"/>
                <a:gd name="T13" fmla="*/ 36001 h 31"/>
                <a:gd name="T14" fmla="*/ 1429 w 20"/>
                <a:gd name="T15" fmla="*/ 24632 h 31"/>
                <a:gd name="T16" fmla="*/ 3572 w 20"/>
                <a:gd name="T17" fmla="*/ 17053 h 31"/>
                <a:gd name="T18" fmla="*/ 5715 w 20"/>
                <a:gd name="T19" fmla="*/ 11369 h 31"/>
                <a:gd name="T20" fmla="*/ 7858 w 20"/>
                <a:gd name="T21" fmla="*/ 5684 h 31"/>
                <a:gd name="T22" fmla="*/ 11430 w 20"/>
                <a:gd name="T23" fmla="*/ 0 h 31"/>
                <a:gd name="T24" fmla="*/ 14288 w 20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86" name="Freeform 111">
              <a:extLst>
                <a:ext uri="{FF2B5EF4-FFF2-40B4-BE49-F238E27FC236}">
                  <a16:creationId xmlns:a16="http://schemas.microsoft.com/office/drawing/2014/main" xmlns="" id="{59D720CB-6D1A-619D-9056-2EBBF96F8892}"/>
                </a:ext>
              </a:extLst>
            </p:cNvPr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6724363" y="1829319"/>
              <a:ext cx="13734" cy="41835"/>
            </a:xfrm>
            <a:custGeom>
              <a:avLst/>
              <a:gdLst>
                <a:gd name="T0" fmla="*/ 7938 w 26"/>
                <a:gd name="T1" fmla="*/ 57150 h 37"/>
                <a:gd name="T2" fmla="*/ 0 w 26"/>
                <a:gd name="T3" fmla="*/ 18535 h 37"/>
                <a:gd name="T4" fmla="*/ 3663 w 26"/>
                <a:gd name="T5" fmla="*/ 10812 h 37"/>
                <a:gd name="T6" fmla="*/ 7938 w 26"/>
                <a:gd name="T7" fmla="*/ 6178 h 37"/>
                <a:gd name="T8" fmla="*/ 12822 w 26"/>
                <a:gd name="T9" fmla="*/ 1545 h 37"/>
                <a:gd name="T10" fmla="*/ 15875 w 26"/>
                <a:gd name="T11" fmla="*/ 0 h 37"/>
                <a:gd name="T12" fmla="*/ 15875 w 26"/>
                <a:gd name="T13" fmla="*/ 9268 h 37"/>
                <a:gd name="T14" fmla="*/ 15264 w 26"/>
                <a:gd name="T15" fmla="*/ 16991 h 37"/>
                <a:gd name="T16" fmla="*/ 14654 w 26"/>
                <a:gd name="T17" fmla="*/ 26258 h 37"/>
                <a:gd name="T18" fmla="*/ 14043 w 26"/>
                <a:gd name="T19" fmla="*/ 32436 h 37"/>
                <a:gd name="T20" fmla="*/ 10990 w 26"/>
                <a:gd name="T21" fmla="*/ 44793 h 37"/>
                <a:gd name="T22" fmla="*/ 7938 w 26"/>
                <a:gd name="T23" fmla="*/ 57150 h 3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87" name="Freeform 112">
              <a:extLst>
                <a:ext uri="{FF2B5EF4-FFF2-40B4-BE49-F238E27FC236}">
                  <a16:creationId xmlns:a16="http://schemas.microsoft.com/office/drawing/2014/main" xmlns="" id="{F4C482D7-B4D9-52B0-F275-033315827844}"/>
                </a:ext>
              </a:extLst>
            </p:cNvPr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6628227" y="1718924"/>
              <a:ext cx="1373" cy="44158"/>
            </a:xfrm>
            <a:custGeom>
              <a:avLst/>
              <a:gdLst>
                <a:gd name="T0" fmla="*/ 0 w 7"/>
                <a:gd name="T1" fmla="*/ 60325 h 18"/>
                <a:gd name="T2" fmla="*/ 0 w 7"/>
                <a:gd name="T3" fmla="*/ 0 h 18"/>
                <a:gd name="T4" fmla="*/ 1587 w 7"/>
                <a:gd name="T5" fmla="*/ 40217 h 18"/>
                <a:gd name="T6" fmla="*/ 0 w 7"/>
                <a:gd name="T7" fmla="*/ 60325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88" name="Freeform 113">
              <a:extLst>
                <a:ext uri="{FF2B5EF4-FFF2-40B4-BE49-F238E27FC236}">
                  <a16:creationId xmlns:a16="http://schemas.microsoft.com/office/drawing/2014/main" xmlns="" id="{331EA6A9-FAA9-D848-D9CC-FE787EC7702A}"/>
                </a:ext>
              </a:extLst>
            </p:cNvPr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3904824" y="1079793"/>
              <a:ext cx="8240" cy="41835"/>
            </a:xfrm>
            <a:custGeom>
              <a:avLst/>
              <a:gdLst>
                <a:gd name="T0" fmla="*/ 0 w 33"/>
                <a:gd name="T1" fmla="*/ 22123 h 31"/>
                <a:gd name="T2" fmla="*/ 5484 w 33"/>
                <a:gd name="T3" fmla="*/ 0 h 31"/>
                <a:gd name="T4" fmla="*/ 6927 w 33"/>
                <a:gd name="T5" fmla="*/ 9218 h 31"/>
                <a:gd name="T6" fmla="*/ 8082 w 33"/>
                <a:gd name="T7" fmla="*/ 22123 h 31"/>
                <a:gd name="T8" fmla="*/ 9236 w 33"/>
                <a:gd name="T9" fmla="*/ 40558 h 31"/>
                <a:gd name="T10" fmla="*/ 9525 w 33"/>
                <a:gd name="T11" fmla="*/ 57150 h 31"/>
                <a:gd name="T12" fmla="*/ 7793 w 33"/>
                <a:gd name="T13" fmla="*/ 55306 h 31"/>
                <a:gd name="T14" fmla="*/ 6350 w 33"/>
                <a:gd name="T15" fmla="*/ 51619 h 31"/>
                <a:gd name="T16" fmla="*/ 4618 w 33"/>
                <a:gd name="T17" fmla="*/ 46089 h 31"/>
                <a:gd name="T18" fmla="*/ 3175 w 33"/>
                <a:gd name="T19" fmla="*/ 40558 h 31"/>
                <a:gd name="T20" fmla="*/ 866 w 33"/>
                <a:gd name="T21" fmla="*/ 27653 h 31"/>
                <a:gd name="T22" fmla="*/ 0 w 33"/>
                <a:gd name="T23" fmla="*/ 22123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89" name="Freeform 114">
              <a:extLst>
                <a:ext uri="{FF2B5EF4-FFF2-40B4-BE49-F238E27FC236}">
                  <a16:creationId xmlns:a16="http://schemas.microsoft.com/office/drawing/2014/main" xmlns="" id="{480FF3FA-A99C-664B-B751-5E09F84A605F}"/>
                </a:ext>
              </a:extLst>
            </p:cNvPr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3892464" y="910133"/>
              <a:ext cx="2747" cy="41835"/>
            </a:xfrm>
            <a:custGeom>
              <a:avLst/>
              <a:gdLst>
                <a:gd name="T0" fmla="*/ 3175 w 14"/>
                <a:gd name="T1" fmla="*/ 0 h 6"/>
                <a:gd name="T2" fmla="*/ 0 w 14"/>
                <a:gd name="T3" fmla="*/ 57150 h 6"/>
                <a:gd name="T4" fmla="*/ 3175 w 14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90" name="Freeform 115">
              <a:extLst>
                <a:ext uri="{FF2B5EF4-FFF2-40B4-BE49-F238E27FC236}">
                  <a16:creationId xmlns:a16="http://schemas.microsoft.com/office/drawing/2014/main" xmlns="" id="{FA80B11D-99CA-B033-F25A-0CF079896DDD}"/>
                </a:ext>
              </a:extLst>
            </p:cNvPr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5173822" y="2211636"/>
              <a:ext cx="21974" cy="40672"/>
            </a:xfrm>
            <a:custGeom>
              <a:avLst/>
              <a:gdLst>
                <a:gd name="T0" fmla="*/ 25400 w 59"/>
                <a:gd name="T1" fmla="*/ 10754 h 31"/>
                <a:gd name="T2" fmla="*/ 24539 w 59"/>
                <a:gd name="T3" fmla="*/ 19716 h 31"/>
                <a:gd name="T4" fmla="*/ 22817 w 59"/>
                <a:gd name="T5" fmla="*/ 26885 h 31"/>
                <a:gd name="T6" fmla="*/ 21095 w 59"/>
                <a:gd name="T7" fmla="*/ 34055 h 31"/>
                <a:gd name="T8" fmla="*/ 19373 w 59"/>
                <a:gd name="T9" fmla="*/ 43017 h 31"/>
                <a:gd name="T10" fmla="*/ 17220 w 59"/>
                <a:gd name="T11" fmla="*/ 48394 h 31"/>
                <a:gd name="T12" fmla="*/ 15498 w 59"/>
                <a:gd name="T13" fmla="*/ 51978 h 31"/>
                <a:gd name="T14" fmla="*/ 12915 w 59"/>
                <a:gd name="T15" fmla="*/ 55563 h 31"/>
                <a:gd name="T16" fmla="*/ 11193 w 59"/>
                <a:gd name="T17" fmla="*/ 55563 h 31"/>
                <a:gd name="T18" fmla="*/ 9041 w 59"/>
                <a:gd name="T19" fmla="*/ 55563 h 31"/>
                <a:gd name="T20" fmla="*/ 7319 w 59"/>
                <a:gd name="T21" fmla="*/ 53771 h 31"/>
                <a:gd name="T22" fmla="*/ 6027 w 59"/>
                <a:gd name="T23" fmla="*/ 51978 h 31"/>
                <a:gd name="T24" fmla="*/ 4736 w 59"/>
                <a:gd name="T25" fmla="*/ 48394 h 31"/>
                <a:gd name="T26" fmla="*/ 1722 w 59"/>
                <a:gd name="T27" fmla="*/ 35847 h 31"/>
                <a:gd name="T28" fmla="*/ 0 w 59"/>
                <a:gd name="T29" fmla="*/ 21508 h 31"/>
                <a:gd name="T30" fmla="*/ 431 w 59"/>
                <a:gd name="T31" fmla="*/ 16131 h 31"/>
                <a:gd name="T32" fmla="*/ 1292 w 59"/>
                <a:gd name="T33" fmla="*/ 10754 h 31"/>
                <a:gd name="T34" fmla="*/ 2153 w 59"/>
                <a:gd name="T35" fmla="*/ 7169 h 31"/>
                <a:gd name="T36" fmla="*/ 3444 w 59"/>
                <a:gd name="T37" fmla="*/ 5377 h 31"/>
                <a:gd name="T38" fmla="*/ 6888 w 59"/>
                <a:gd name="T39" fmla="*/ 1792 h 31"/>
                <a:gd name="T40" fmla="*/ 10332 w 59"/>
                <a:gd name="T41" fmla="*/ 0 h 31"/>
                <a:gd name="T42" fmla="*/ 14637 w 59"/>
                <a:gd name="T43" fmla="*/ 0 h 31"/>
                <a:gd name="T44" fmla="*/ 18081 w 59"/>
                <a:gd name="T45" fmla="*/ 3585 h 31"/>
                <a:gd name="T46" fmla="*/ 21956 w 59"/>
                <a:gd name="T47" fmla="*/ 7169 h 31"/>
                <a:gd name="T48" fmla="*/ 25400 w 59"/>
                <a:gd name="T49" fmla="*/ 10754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91" name="Freeform 116">
              <a:extLst>
                <a:ext uri="{FF2B5EF4-FFF2-40B4-BE49-F238E27FC236}">
                  <a16:creationId xmlns:a16="http://schemas.microsoft.com/office/drawing/2014/main" xmlns="" id="{986F1544-FF45-79BA-F55E-CE1AAA6CDADF}"/>
                </a:ext>
              </a:extLst>
            </p:cNvPr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4917001" y="2110538"/>
              <a:ext cx="16480" cy="42996"/>
            </a:xfrm>
            <a:custGeom>
              <a:avLst/>
              <a:gdLst>
                <a:gd name="T0" fmla="*/ 5674 w 47"/>
                <a:gd name="T1" fmla="*/ 0 h 68"/>
                <a:gd name="T2" fmla="*/ 3243 w 47"/>
                <a:gd name="T3" fmla="*/ 8638 h 68"/>
                <a:gd name="T4" fmla="*/ 1621 w 47"/>
                <a:gd name="T5" fmla="*/ 16412 h 68"/>
                <a:gd name="T6" fmla="*/ 811 w 47"/>
                <a:gd name="T7" fmla="*/ 24186 h 68"/>
                <a:gd name="T8" fmla="*/ 0 w 47"/>
                <a:gd name="T9" fmla="*/ 31960 h 68"/>
                <a:gd name="T10" fmla="*/ 0 w 47"/>
                <a:gd name="T11" fmla="*/ 36279 h 68"/>
                <a:gd name="T12" fmla="*/ 811 w 47"/>
                <a:gd name="T13" fmla="*/ 40598 h 68"/>
                <a:gd name="T14" fmla="*/ 1216 w 47"/>
                <a:gd name="T15" fmla="*/ 44053 h 68"/>
                <a:gd name="T16" fmla="*/ 2027 w 47"/>
                <a:gd name="T17" fmla="*/ 47508 h 68"/>
                <a:gd name="T18" fmla="*/ 2837 w 47"/>
                <a:gd name="T19" fmla="*/ 50099 h 68"/>
                <a:gd name="T20" fmla="*/ 3648 w 47"/>
                <a:gd name="T21" fmla="*/ 51827 h 68"/>
                <a:gd name="T22" fmla="*/ 5269 w 47"/>
                <a:gd name="T23" fmla="*/ 53554 h 68"/>
                <a:gd name="T24" fmla="*/ 6485 w 47"/>
                <a:gd name="T25" fmla="*/ 55282 h 68"/>
                <a:gd name="T26" fmla="*/ 8917 w 47"/>
                <a:gd name="T27" fmla="*/ 57873 h 68"/>
                <a:gd name="T28" fmla="*/ 12565 w 47"/>
                <a:gd name="T29" fmla="*/ 58737 h 68"/>
                <a:gd name="T30" fmla="*/ 15807 w 47"/>
                <a:gd name="T31" fmla="*/ 58737 h 68"/>
                <a:gd name="T32" fmla="*/ 19050 w 47"/>
                <a:gd name="T33" fmla="*/ 58737 h 68"/>
                <a:gd name="T34" fmla="*/ 16618 w 47"/>
                <a:gd name="T35" fmla="*/ 50099 h 68"/>
                <a:gd name="T36" fmla="*/ 15402 w 47"/>
                <a:gd name="T37" fmla="*/ 41461 h 68"/>
                <a:gd name="T38" fmla="*/ 14591 w 47"/>
                <a:gd name="T39" fmla="*/ 37143 h 68"/>
                <a:gd name="T40" fmla="*/ 14186 w 47"/>
                <a:gd name="T41" fmla="*/ 32824 h 68"/>
                <a:gd name="T42" fmla="*/ 13376 w 47"/>
                <a:gd name="T43" fmla="*/ 26777 h 68"/>
                <a:gd name="T44" fmla="*/ 13376 w 47"/>
                <a:gd name="T45" fmla="*/ 21594 h 68"/>
                <a:gd name="T46" fmla="*/ 9728 w 47"/>
                <a:gd name="T47" fmla="*/ 11229 h 68"/>
                <a:gd name="T48" fmla="*/ 5674 w 47"/>
                <a:gd name="T49" fmla="*/ 0 h 6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grpSp>
          <p:nvGrpSpPr>
            <p:cNvPr id="92" name="Group 117">
              <a:extLst>
                <a:ext uri="{FF2B5EF4-FFF2-40B4-BE49-F238E27FC236}">
                  <a16:creationId xmlns:a16="http://schemas.microsoft.com/office/drawing/2014/main" xmlns="" id="{2D7806D0-1D43-D043-902D-EE7B938C0DD4}"/>
                </a:ext>
              </a:extLst>
            </p:cNvPr>
            <p:cNvGrpSpPr>
              <a:grpSpLocks/>
            </p:cNvGrpSpPr>
            <p:nvPr>
              <p:custDataLst>
                <p:tags r:id="rId88"/>
              </p:custDataLst>
            </p:nvPr>
          </p:nvGrpSpPr>
          <p:grpSpPr bwMode="auto">
            <a:xfrm>
              <a:off x="5584462" y="2247660"/>
              <a:ext cx="39827" cy="274246"/>
              <a:chOff x="3950" y="2430"/>
              <a:chExt cx="36" cy="234"/>
            </a:xfrm>
          </p:grpSpPr>
          <p:sp>
            <p:nvSpPr>
              <p:cNvPr id="492" name="Freeform 118">
                <a:extLst>
                  <a:ext uri="{FF2B5EF4-FFF2-40B4-BE49-F238E27FC236}">
                    <a16:creationId xmlns:a16="http://schemas.microsoft.com/office/drawing/2014/main" xmlns="" id="{3E8E2F38-3CE1-0F30-A1F5-CCF0E7B144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93" name="Freeform 119">
                <a:extLst>
                  <a:ext uri="{FF2B5EF4-FFF2-40B4-BE49-F238E27FC236}">
                    <a16:creationId xmlns:a16="http://schemas.microsoft.com/office/drawing/2014/main" xmlns="" id="{DB3C194C-BD72-DAF0-3387-B28685C3F9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94" name="Freeform 120">
                <a:extLst>
                  <a:ext uri="{FF2B5EF4-FFF2-40B4-BE49-F238E27FC236}">
                    <a16:creationId xmlns:a16="http://schemas.microsoft.com/office/drawing/2014/main" xmlns="" id="{7A9A170F-40F3-3758-F495-E8623DA584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95" name="Rectangle 121">
                <a:extLst>
                  <a:ext uri="{FF2B5EF4-FFF2-40B4-BE49-F238E27FC236}">
                    <a16:creationId xmlns:a16="http://schemas.microsoft.com/office/drawing/2014/main" xmlns="" id="{C9E27919-7196-7CBF-74D7-9CAE519E86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s-ES_tradnl"/>
              </a:p>
            </p:txBody>
          </p:sp>
          <p:sp>
            <p:nvSpPr>
              <p:cNvPr id="496" name="Line 122">
                <a:extLst>
                  <a:ext uri="{FF2B5EF4-FFF2-40B4-BE49-F238E27FC236}">
                    <a16:creationId xmlns:a16="http://schemas.microsoft.com/office/drawing/2014/main" xmlns="" id="{35CB3DAE-A63A-33CC-7D6D-C6D6822C3CC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97" name="Freeform 123">
                <a:extLst>
                  <a:ext uri="{FF2B5EF4-FFF2-40B4-BE49-F238E27FC236}">
                    <a16:creationId xmlns:a16="http://schemas.microsoft.com/office/drawing/2014/main" xmlns="" id="{E1CAEE63-5227-96C9-484E-12A29D4622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98" name="Freeform 124">
                <a:extLst>
                  <a:ext uri="{FF2B5EF4-FFF2-40B4-BE49-F238E27FC236}">
                    <a16:creationId xmlns:a16="http://schemas.microsoft.com/office/drawing/2014/main" xmlns="" id="{6FC3A00A-6AB8-A47F-4BBD-D50F7538A2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99" name="Line 125">
                <a:extLst>
                  <a:ext uri="{FF2B5EF4-FFF2-40B4-BE49-F238E27FC236}">
                    <a16:creationId xmlns:a16="http://schemas.microsoft.com/office/drawing/2014/main" xmlns="" id="{A0B04501-6CF2-4B5D-0387-533B8C76FF1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500" name="Freeform 126">
                <a:extLst>
                  <a:ext uri="{FF2B5EF4-FFF2-40B4-BE49-F238E27FC236}">
                    <a16:creationId xmlns:a16="http://schemas.microsoft.com/office/drawing/2014/main" xmlns="" id="{813B71E5-E262-2267-64E7-4C50EA128C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501" name="Freeform 127">
                <a:extLst>
                  <a:ext uri="{FF2B5EF4-FFF2-40B4-BE49-F238E27FC236}">
                    <a16:creationId xmlns:a16="http://schemas.microsoft.com/office/drawing/2014/main" xmlns="" id="{5121FD19-2895-8815-110E-30734DBF6C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502" name="Line 128">
                <a:extLst>
                  <a:ext uri="{FF2B5EF4-FFF2-40B4-BE49-F238E27FC236}">
                    <a16:creationId xmlns:a16="http://schemas.microsoft.com/office/drawing/2014/main" xmlns="" id="{3E24B894-127C-6574-905A-B309BD9F659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503" name="Freeform 129">
                <a:extLst>
                  <a:ext uri="{FF2B5EF4-FFF2-40B4-BE49-F238E27FC236}">
                    <a16:creationId xmlns:a16="http://schemas.microsoft.com/office/drawing/2014/main" xmlns="" id="{20E901B9-F689-13CE-3B60-AFE59460D5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504" name="Freeform 130">
                <a:extLst>
                  <a:ext uri="{FF2B5EF4-FFF2-40B4-BE49-F238E27FC236}">
                    <a16:creationId xmlns:a16="http://schemas.microsoft.com/office/drawing/2014/main" xmlns="" id="{02FCD8BB-C241-56C2-123D-12E92B33E8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505" name="Freeform 131">
                <a:extLst>
                  <a:ext uri="{FF2B5EF4-FFF2-40B4-BE49-F238E27FC236}">
                    <a16:creationId xmlns:a16="http://schemas.microsoft.com/office/drawing/2014/main" xmlns="" id="{666FE193-4A2C-321D-3A38-1B6ECD4EC8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506" name="Freeform 132">
                <a:extLst>
                  <a:ext uri="{FF2B5EF4-FFF2-40B4-BE49-F238E27FC236}">
                    <a16:creationId xmlns:a16="http://schemas.microsoft.com/office/drawing/2014/main" xmlns="" id="{B75BCD2E-E5E9-845A-24D9-114377A5A6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507" name="Freeform 133">
                <a:extLst>
                  <a:ext uri="{FF2B5EF4-FFF2-40B4-BE49-F238E27FC236}">
                    <a16:creationId xmlns:a16="http://schemas.microsoft.com/office/drawing/2014/main" xmlns="" id="{6AE09411-BD1C-0534-0D03-3057F7C191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508" name="Freeform 134">
                <a:extLst>
                  <a:ext uri="{FF2B5EF4-FFF2-40B4-BE49-F238E27FC236}">
                    <a16:creationId xmlns:a16="http://schemas.microsoft.com/office/drawing/2014/main" xmlns="" id="{79FFBB86-AFE3-FAFE-EF53-42578481F8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509" name="Freeform 135">
                <a:extLst>
                  <a:ext uri="{FF2B5EF4-FFF2-40B4-BE49-F238E27FC236}">
                    <a16:creationId xmlns:a16="http://schemas.microsoft.com/office/drawing/2014/main" xmlns="" id="{84C6B43A-CF1E-3D7E-59AE-9513B578FA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510" name="Rectangle 136">
                <a:extLst>
                  <a:ext uri="{FF2B5EF4-FFF2-40B4-BE49-F238E27FC236}">
                    <a16:creationId xmlns:a16="http://schemas.microsoft.com/office/drawing/2014/main" xmlns="" id="{6085900A-9950-7E0D-480B-A4803AC719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endParaRPr lang="en-US" altLang="es-ES_tradnl"/>
              </a:p>
            </p:txBody>
          </p:sp>
          <p:sp>
            <p:nvSpPr>
              <p:cNvPr id="511" name="Line 137">
                <a:extLst>
                  <a:ext uri="{FF2B5EF4-FFF2-40B4-BE49-F238E27FC236}">
                    <a16:creationId xmlns:a16="http://schemas.microsoft.com/office/drawing/2014/main" xmlns="" id="{EE30C07B-4BE6-AE74-FAF5-B154F8C2343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512" name="Freeform 138">
                <a:extLst>
                  <a:ext uri="{FF2B5EF4-FFF2-40B4-BE49-F238E27FC236}">
                    <a16:creationId xmlns:a16="http://schemas.microsoft.com/office/drawing/2014/main" xmlns="" id="{D47259D8-093C-2753-582F-ECB81E3A75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513" name="Freeform 139">
                <a:extLst>
                  <a:ext uri="{FF2B5EF4-FFF2-40B4-BE49-F238E27FC236}">
                    <a16:creationId xmlns:a16="http://schemas.microsoft.com/office/drawing/2014/main" xmlns="" id="{B9E1C8E1-5B39-267D-1929-553FC1D695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514" name="Line 140">
                <a:extLst>
                  <a:ext uri="{FF2B5EF4-FFF2-40B4-BE49-F238E27FC236}">
                    <a16:creationId xmlns:a16="http://schemas.microsoft.com/office/drawing/2014/main" xmlns="" id="{BD61BF9C-7307-2850-9A32-29E6CFFFF98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515" name="Freeform 141">
                <a:extLst>
                  <a:ext uri="{FF2B5EF4-FFF2-40B4-BE49-F238E27FC236}">
                    <a16:creationId xmlns:a16="http://schemas.microsoft.com/office/drawing/2014/main" xmlns="" id="{DE6DC7DC-6250-A233-A30C-9ACFABF839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516" name="Freeform 142">
                <a:extLst>
                  <a:ext uri="{FF2B5EF4-FFF2-40B4-BE49-F238E27FC236}">
                    <a16:creationId xmlns:a16="http://schemas.microsoft.com/office/drawing/2014/main" xmlns="" id="{DE4C23BD-59A5-FD98-7FFE-0CD3F55DC0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517" name="Line 143">
                <a:extLst>
                  <a:ext uri="{FF2B5EF4-FFF2-40B4-BE49-F238E27FC236}">
                    <a16:creationId xmlns:a16="http://schemas.microsoft.com/office/drawing/2014/main" xmlns="" id="{6C3EC2CC-623A-3A19-D0B5-21842CC2E02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518" name="Freeform 144">
                <a:extLst>
                  <a:ext uri="{FF2B5EF4-FFF2-40B4-BE49-F238E27FC236}">
                    <a16:creationId xmlns:a16="http://schemas.microsoft.com/office/drawing/2014/main" xmlns="" id="{49464B1C-D29A-D6E4-BEC3-2CA0E149C0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519" name="Freeform 145">
                <a:extLst>
                  <a:ext uri="{FF2B5EF4-FFF2-40B4-BE49-F238E27FC236}">
                    <a16:creationId xmlns:a16="http://schemas.microsoft.com/office/drawing/2014/main" xmlns="" id="{23B9A43B-B18B-C714-99D7-D5F5DDDD6C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520" name="Freeform 146">
                <a:extLst>
                  <a:ext uri="{FF2B5EF4-FFF2-40B4-BE49-F238E27FC236}">
                    <a16:creationId xmlns:a16="http://schemas.microsoft.com/office/drawing/2014/main" xmlns="" id="{70247B1B-2E02-5B8D-BF22-98CEE9BE6B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521" name="Freeform 147">
                <a:extLst>
                  <a:ext uri="{FF2B5EF4-FFF2-40B4-BE49-F238E27FC236}">
                    <a16:creationId xmlns:a16="http://schemas.microsoft.com/office/drawing/2014/main" xmlns="" id="{FCE58380-E17A-F365-F8BC-77572651FA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522" name="Freeform 148">
                <a:extLst>
                  <a:ext uri="{FF2B5EF4-FFF2-40B4-BE49-F238E27FC236}">
                    <a16:creationId xmlns:a16="http://schemas.microsoft.com/office/drawing/2014/main" xmlns="" id="{C7191D29-33EF-9B89-77C5-7BDFEDF51F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5 w 20"/>
                  <a:gd name="T1" fmla="*/ 6 h 18"/>
                  <a:gd name="T2" fmla="*/ 7 w 20"/>
                  <a:gd name="T3" fmla="*/ 0 h 18"/>
                  <a:gd name="T4" fmla="*/ 0 w 20"/>
                  <a:gd name="T5" fmla="*/ 0 h 18"/>
                  <a:gd name="T6" fmla="*/ 5 w 20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</p:grpSp>
        <p:grpSp>
          <p:nvGrpSpPr>
            <p:cNvPr id="93" name="Group 149">
              <a:extLst>
                <a:ext uri="{FF2B5EF4-FFF2-40B4-BE49-F238E27FC236}">
                  <a16:creationId xmlns:a16="http://schemas.microsoft.com/office/drawing/2014/main" xmlns="" id="{17EA7D8D-D2BD-8221-A043-9866E4C3BBE8}"/>
                </a:ext>
              </a:extLst>
            </p:cNvPr>
            <p:cNvGrpSpPr>
              <a:grpSpLocks/>
            </p:cNvGrpSpPr>
            <p:nvPr>
              <p:custDataLst>
                <p:tags r:id="rId89"/>
              </p:custDataLst>
            </p:nvPr>
          </p:nvGrpSpPr>
          <p:grpSpPr bwMode="auto">
            <a:xfrm>
              <a:off x="7371221" y="2613708"/>
              <a:ext cx="160685" cy="156878"/>
              <a:chOff x="5486" y="2743"/>
              <a:chExt cx="137" cy="132"/>
            </a:xfrm>
          </p:grpSpPr>
          <p:sp>
            <p:nvSpPr>
              <p:cNvPr id="483" name="Freeform 150">
                <a:extLst>
                  <a:ext uri="{FF2B5EF4-FFF2-40B4-BE49-F238E27FC236}">
                    <a16:creationId xmlns:a16="http://schemas.microsoft.com/office/drawing/2014/main" xmlns="" id="{F4B5AF39-1AC4-42C7-EAE9-D6E5611100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10 h 87"/>
                  <a:gd name="T2" fmla="*/ 0 w 40"/>
                  <a:gd name="T3" fmla="*/ 14 h 87"/>
                  <a:gd name="T4" fmla="*/ 1 w 40"/>
                  <a:gd name="T5" fmla="*/ 16 h 87"/>
                  <a:gd name="T6" fmla="*/ 2 w 40"/>
                  <a:gd name="T7" fmla="*/ 19 h 87"/>
                  <a:gd name="T8" fmla="*/ 3 w 40"/>
                  <a:gd name="T9" fmla="*/ 21 h 87"/>
                  <a:gd name="T10" fmla="*/ 5 w 40"/>
                  <a:gd name="T11" fmla="*/ 23 h 87"/>
                  <a:gd name="T12" fmla="*/ 7 w 40"/>
                  <a:gd name="T13" fmla="*/ 25 h 87"/>
                  <a:gd name="T14" fmla="*/ 10 w 40"/>
                  <a:gd name="T15" fmla="*/ 26 h 87"/>
                  <a:gd name="T16" fmla="*/ 13 w 40"/>
                  <a:gd name="T17" fmla="*/ 28 h 87"/>
                  <a:gd name="T18" fmla="*/ 11 w 40"/>
                  <a:gd name="T19" fmla="*/ 26 h 87"/>
                  <a:gd name="T20" fmla="*/ 10 w 40"/>
                  <a:gd name="T21" fmla="*/ 25 h 87"/>
                  <a:gd name="T22" fmla="*/ 9 w 40"/>
                  <a:gd name="T23" fmla="*/ 23 h 87"/>
                  <a:gd name="T24" fmla="*/ 8 w 40"/>
                  <a:gd name="T25" fmla="*/ 21 h 87"/>
                  <a:gd name="T26" fmla="*/ 7 w 40"/>
                  <a:gd name="T27" fmla="*/ 17 h 87"/>
                  <a:gd name="T28" fmla="*/ 7 w 40"/>
                  <a:gd name="T29" fmla="*/ 13 h 87"/>
                  <a:gd name="T30" fmla="*/ 6 w 40"/>
                  <a:gd name="T31" fmla="*/ 9 h 87"/>
                  <a:gd name="T32" fmla="*/ 4 w 40"/>
                  <a:gd name="T33" fmla="*/ 5 h 87"/>
                  <a:gd name="T34" fmla="*/ 4 w 40"/>
                  <a:gd name="T35" fmla="*/ 4 h 87"/>
                  <a:gd name="T36" fmla="*/ 3 w 40"/>
                  <a:gd name="T37" fmla="*/ 2 h 87"/>
                  <a:gd name="T38" fmla="*/ 1 w 40"/>
                  <a:gd name="T39" fmla="*/ 1 h 87"/>
                  <a:gd name="T40" fmla="*/ 0 w 40"/>
                  <a:gd name="T41" fmla="*/ 0 h 87"/>
                  <a:gd name="T42" fmla="*/ 0 w 40"/>
                  <a:gd name="T43" fmla="*/ 3 h 87"/>
                  <a:gd name="T44" fmla="*/ 0 w 40"/>
                  <a:gd name="T45" fmla="*/ 5 h 87"/>
                  <a:gd name="T46" fmla="*/ 0 w 40"/>
                  <a:gd name="T47" fmla="*/ 7 h 87"/>
                  <a:gd name="T48" fmla="*/ 0 w 40"/>
                  <a:gd name="T49" fmla="*/ 10 h 8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84" name="Freeform 151">
                <a:extLst>
                  <a:ext uri="{FF2B5EF4-FFF2-40B4-BE49-F238E27FC236}">
                    <a16:creationId xmlns:a16="http://schemas.microsoft.com/office/drawing/2014/main" xmlns="" id="{3E3039F4-AC92-8E5A-3786-E684AFAFAF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10 h 37"/>
                  <a:gd name="T2" fmla="*/ 6 w 61"/>
                  <a:gd name="T3" fmla="*/ 10 h 37"/>
                  <a:gd name="T4" fmla="*/ 11 w 61"/>
                  <a:gd name="T5" fmla="*/ 11 h 37"/>
                  <a:gd name="T6" fmla="*/ 16 w 61"/>
                  <a:gd name="T7" fmla="*/ 12 h 37"/>
                  <a:gd name="T8" fmla="*/ 20 w 61"/>
                  <a:gd name="T9" fmla="*/ 12 h 37"/>
                  <a:gd name="T10" fmla="*/ 18 w 61"/>
                  <a:gd name="T11" fmla="*/ 9 h 37"/>
                  <a:gd name="T12" fmla="*/ 16 w 61"/>
                  <a:gd name="T13" fmla="*/ 7 h 37"/>
                  <a:gd name="T14" fmla="*/ 14 w 61"/>
                  <a:gd name="T15" fmla="*/ 6 h 37"/>
                  <a:gd name="T16" fmla="*/ 11 w 61"/>
                  <a:gd name="T17" fmla="*/ 4 h 37"/>
                  <a:gd name="T18" fmla="*/ 9 w 61"/>
                  <a:gd name="T19" fmla="*/ 3 h 37"/>
                  <a:gd name="T20" fmla="*/ 6 w 61"/>
                  <a:gd name="T21" fmla="*/ 2 h 37"/>
                  <a:gd name="T22" fmla="*/ 3 w 61"/>
                  <a:gd name="T23" fmla="*/ 1 h 37"/>
                  <a:gd name="T24" fmla="*/ 0 w 61"/>
                  <a:gd name="T25" fmla="*/ 0 h 37"/>
                  <a:gd name="T26" fmla="*/ 0 w 61"/>
                  <a:gd name="T27" fmla="*/ 10 h 3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85" name="Freeform 152">
                <a:extLst>
                  <a:ext uri="{FF2B5EF4-FFF2-40B4-BE49-F238E27FC236}">
                    <a16:creationId xmlns:a16="http://schemas.microsoft.com/office/drawing/2014/main" xmlns="" id="{98AB8094-AEF3-4C0F-87E1-09B5CD1890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13 w 40"/>
                  <a:gd name="T1" fmla="*/ 10 h 30"/>
                  <a:gd name="T2" fmla="*/ 11 w 40"/>
                  <a:gd name="T3" fmla="*/ 9 h 30"/>
                  <a:gd name="T4" fmla="*/ 8 w 40"/>
                  <a:gd name="T5" fmla="*/ 8 h 30"/>
                  <a:gd name="T6" fmla="*/ 7 w 40"/>
                  <a:gd name="T7" fmla="*/ 7 h 30"/>
                  <a:gd name="T8" fmla="*/ 5 w 40"/>
                  <a:gd name="T9" fmla="*/ 6 h 30"/>
                  <a:gd name="T10" fmla="*/ 4 w 40"/>
                  <a:gd name="T11" fmla="*/ 5 h 30"/>
                  <a:gd name="T12" fmla="*/ 2 w 40"/>
                  <a:gd name="T13" fmla="*/ 4 h 30"/>
                  <a:gd name="T14" fmla="*/ 1 w 40"/>
                  <a:gd name="T15" fmla="*/ 2 h 30"/>
                  <a:gd name="T16" fmla="*/ 0 w 40"/>
                  <a:gd name="T17" fmla="*/ 0 h 30"/>
                  <a:gd name="T18" fmla="*/ 3 w 40"/>
                  <a:gd name="T19" fmla="*/ 1 h 30"/>
                  <a:gd name="T20" fmla="*/ 5 w 40"/>
                  <a:gd name="T21" fmla="*/ 2 h 30"/>
                  <a:gd name="T22" fmla="*/ 7 w 40"/>
                  <a:gd name="T23" fmla="*/ 3 h 30"/>
                  <a:gd name="T24" fmla="*/ 9 w 40"/>
                  <a:gd name="T25" fmla="*/ 5 h 30"/>
                  <a:gd name="T26" fmla="*/ 11 w 40"/>
                  <a:gd name="T27" fmla="*/ 6 h 30"/>
                  <a:gd name="T28" fmla="*/ 12 w 40"/>
                  <a:gd name="T29" fmla="*/ 8 h 30"/>
                  <a:gd name="T30" fmla="*/ 13 w 40"/>
                  <a:gd name="T31" fmla="*/ 9 h 30"/>
                  <a:gd name="T32" fmla="*/ 13 w 40"/>
                  <a:gd name="T33" fmla="*/ 10 h 3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86" name="Freeform 153">
                <a:extLst>
                  <a:ext uri="{FF2B5EF4-FFF2-40B4-BE49-F238E27FC236}">
                    <a16:creationId xmlns:a16="http://schemas.microsoft.com/office/drawing/2014/main" xmlns="" id="{6B90CB35-4314-8800-62FF-F740F2818B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24 w 74"/>
                  <a:gd name="T1" fmla="*/ 26 h 80"/>
                  <a:gd name="T2" fmla="*/ 23 w 74"/>
                  <a:gd name="T3" fmla="*/ 24 h 80"/>
                  <a:gd name="T4" fmla="*/ 23 w 74"/>
                  <a:gd name="T5" fmla="*/ 21 h 80"/>
                  <a:gd name="T6" fmla="*/ 22 w 74"/>
                  <a:gd name="T7" fmla="*/ 20 h 80"/>
                  <a:gd name="T8" fmla="*/ 21 w 74"/>
                  <a:gd name="T9" fmla="*/ 17 h 80"/>
                  <a:gd name="T10" fmla="*/ 19 w 74"/>
                  <a:gd name="T11" fmla="*/ 14 h 80"/>
                  <a:gd name="T12" fmla="*/ 16 w 74"/>
                  <a:gd name="T13" fmla="*/ 11 h 80"/>
                  <a:gd name="T14" fmla="*/ 12 w 74"/>
                  <a:gd name="T15" fmla="*/ 8 h 80"/>
                  <a:gd name="T16" fmla="*/ 9 w 74"/>
                  <a:gd name="T17" fmla="*/ 6 h 80"/>
                  <a:gd name="T18" fmla="*/ 6 w 74"/>
                  <a:gd name="T19" fmla="*/ 3 h 80"/>
                  <a:gd name="T20" fmla="*/ 4 w 74"/>
                  <a:gd name="T21" fmla="*/ 0 h 80"/>
                  <a:gd name="T22" fmla="*/ 3 w 74"/>
                  <a:gd name="T23" fmla="*/ 2 h 80"/>
                  <a:gd name="T24" fmla="*/ 1 w 74"/>
                  <a:gd name="T25" fmla="*/ 3 h 80"/>
                  <a:gd name="T26" fmla="*/ 0 w 74"/>
                  <a:gd name="T27" fmla="*/ 5 h 80"/>
                  <a:gd name="T28" fmla="*/ 0 w 74"/>
                  <a:gd name="T29" fmla="*/ 6 h 80"/>
                  <a:gd name="T30" fmla="*/ 0 w 74"/>
                  <a:gd name="T31" fmla="*/ 8 h 80"/>
                  <a:gd name="T32" fmla="*/ 1 w 74"/>
                  <a:gd name="T33" fmla="*/ 10 h 80"/>
                  <a:gd name="T34" fmla="*/ 1 w 74"/>
                  <a:gd name="T35" fmla="*/ 12 h 80"/>
                  <a:gd name="T36" fmla="*/ 2 w 74"/>
                  <a:gd name="T37" fmla="*/ 13 h 80"/>
                  <a:gd name="T38" fmla="*/ 3 w 74"/>
                  <a:gd name="T39" fmla="*/ 15 h 80"/>
                  <a:gd name="T40" fmla="*/ 5 w 74"/>
                  <a:gd name="T41" fmla="*/ 17 h 80"/>
                  <a:gd name="T42" fmla="*/ 6 w 74"/>
                  <a:gd name="T43" fmla="*/ 18 h 80"/>
                  <a:gd name="T44" fmla="*/ 8 w 74"/>
                  <a:gd name="T45" fmla="*/ 20 h 80"/>
                  <a:gd name="T46" fmla="*/ 10 w 74"/>
                  <a:gd name="T47" fmla="*/ 21 h 80"/>
                  <a:gd name="T48" fmla="*/ 11 w 74"/>
                  <a:gd name="T49" fmla="*/ 22 h 80"/>
                  <a:gd name="T50" fmla="*/ 14 w 74"/>
                  <a:gd name="T51" fmla="*/ 23 h 80"/>
                  <a:gd name="T52" fmla="*/ 15 w 74"/>
                  <a:gd name="T53" fmla="*/ 24 h 80"/>
                  <a:gd name="T54" fmla="*/ 18 w 74"/>
                  <a:gd name="T55" fmla="*/ 25 h 80"/>
                  <a:gd name="T56" fmla="*/ 19 w 74"/>
                  <a:gd name="T57" fmla="*/ 26 h 80"/>
                  <a:gd name="T58" fmla="*/ 22 w 74"/>
                  <a:gd name="T59" fmla="*/ 26 h 80"/>
                  <a:gd name="T60" fmla="*/ 24 w 74"/>
                  <a:gd name="T61" fmla="*/ 26 h 8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87" name="Freeform 154">
                <a:extLst>
                  <a:ext uri="{FF2B5EF4-FFF2-40B4-BE49-F238E27FC236}">
                    <a16:creationId xmlns:a16="http://schemas.microsoft.com/office/drawing/2014/main" xmlns="" id="{75A479F8-A0B7-F47C-E61F-E72C1AE397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16 w 86"/>
                  <a:gd name="T1" fmla="*/ 27 h 80"/>
                  <a:gd name="T2" fmla="*/ 26 w 86"/>
                  <a:gd name="T3" fmla="*/ 27 h 80"/>
                  <a:gd name="T4" fmla="*/ 26 w 86"/>
                  <a:gd name="T5" fmla="*/ 21 h 80"/>
                  <a:gd name="T6" fmla="*/ 24 w 86"/>
                  <a:gd name="T7" fmla="*/ 20 h 80"/>
                  <a:gd name="T8" fmla="*/ 22 w 86"/>
                  <a:gd name="T9" fmla="*/ 19 h 80"/>
                  <a:gd name="T10" fmla="*/ 20 w 86"/>
                  <a:gd name="T11" fmla="*/ 18 h 80"/>
                  <a:gd name="T12" fmla="*/ 18 w 86"/>
                  <a:gd name="T13" fmla="*/ 17 h 80"/>
                  <a:gd name="T14" fmla="*/ 15 w 86"/>
                  <a:gd name="T15" fmla="*/ 14 h 80"/>
                  <a:gd name="T16" fmla="*/ 13 w 86"/>
                  <a:gd name="T17" fmla="*/ 11 h 80"/>
                  <a:gd name="T18" fmla="*/ 10 w 86"/>
                  <a:gd name="T19" fmla="*/ 8 h 80"/>
                  <a:gd name="T20" fmla="*/ 7 w 86"/>
                  <a:gd name="T21" fmla="*/ 5 h 80"/>
                  <a:gd name="T22" fmla="*/ 4 w 86"/>
                  <a:gd name="T23" fmla="*/ 2 h 80"/>
                  <a:gd name="T24" fmla="*/ 0 w 86"/>
                  <a:gd name="T25" fmla="*/ 0 h 80"/>
                  <a:gd name="T26" fmla="*/ 0 w 86"/>
                  <a:gd name="T27" fmla="*/ 3 h 80"/>
                  <a:gd name="T28" fmla="*/ 2 w 86"/>
                  <a:gd name="T29" fmla="*/ 7 h 80"/>
                  <a:gd name="T30" fmla="*/ 3 w 86"/>
                  <a:gd name="T31" fmla="*/ 11 h 80"/>
                  <a:gd name="T32" fmla="*/ 5 w 86"/>
                  <a:gd name="T33" fmla="*/ 15 h 80"/>
                  <a:gd name="T34" fmla="*/ 8 w 86"/>
                  <a:gd name="T35" fmla="*/ 19 h 80"/>
                  <a:gd name="T36" fmla="*/ 11 w 86"/>
                  <a:gd name="T37" fmla="*/ 23 h 80"/>
                  <a:gd name="T38" fmla="*/ 12 w 86"/>
                  <a:gd name="T39" fmla="*/ 24 h 80"/>
                  <a:gd name="T40" fmla="*/ 14 w 86"/>
                  <a:gd name="T41" fmla="*/ 26 h 80"/>
                  <a:gd name="T42" fmla="*/ 15 w 86"/>
                  <a:gd name="T43" fmla="*/ 27 h 80"/>
                  <a:gd name="T44" fmla="*/ 16 w 86"/>
                  <a:gd name="T45" fmla="*/ 27 h 8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88" name="Freeform 155">
                <a:extLst>
                  <a:ext uri="{FF2B5EF4-FFF2-40B4-BE49-F238E27FC236}">
                    <a16:creationId xmlns:a16="http://schemas.microsoft.com/office/drawing/2014/main" xmlns="" id="{E6B47699-94C5-446D-9760-CBA0915AAE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2 h 31"/>
                  <a:gd name="T2" fmla="*/ 1 w 74"/>
                  <a:gd name="T3" fmla="*/ 4 h 31"/>
                  <a:gd name="T4" fmla="*/ 2 w 74"/>
                  <a:gd name="T5" fmla="*/ 5 h 31"/>
                  <a:gd name="T6" fmla="*/ 3 w 74"/>
                  <a:gd name="T7" fmla="*/ 6 h 31"/>
                  <a:gd name="T8" fmla="*/ 5 w 74"/>
                  <a:gd name="T9" fmla="*/ 7 h 31"/>
                  <a:gd name="T10" fmla="*/ 6 w 74"/>
                  <a:gd name="T11" fmla="*/ 9 h 31"/>
                  <a:gd name="T12" fmla="*/ 8 w 74"/>
                  <a:gd name="T13" fmla="*/ 9 h 31"/>
                  <a:gd name="T14" fmla="*/ 10 w 74"/>
                  <a:gd name="T15" fmla="*/ 10 h 31"/>
                  <a:gd name="T16" fmla="*/ 11 w 74"/>
                  <a:gd name="T17" fmla="*/ 10 h 31"/>
                  <a:gd name="T18" fmla="*/ 16 w 74"/>
                  <a:gd name="T19" fmla="*/ 11 h 31"/>
                  <a:gd name="T20" fmla="*/ 20 w 74"/>
                  <a:gd name="T21" fmla="*/ 11 h 31"/>
                  <a:gd name="T22" fmla="*/ 21 w 74"/>
                  <a:gd name="T23" fmla="*/ 11 h 31"/>
                  <a:gd name="T24" fmla="*/ 23 w 74"/>
                  <a:gd name="T25" fmla="*/ 10 h 31"/>
                  <a:gd name="T26" fmla="*/ 24 w 74"/>
                  <a:gd name="T27" fmla="*/ 10 h 31"/>
                  <a:gd name="T28" fmla="*/ 25 w 74"/>
                  <a:gd name="T29" fmla="*/ 9 h 31"/>
                  <a:gd name="T30" fmla="*/ 22 w 74"/>
                  <a:gd name="T31" fmla="*/ 6 h 31"/>
                  <a:gd name="T32" fmla="*/ 19 w 74"/>
                  <a:gd name="T33" fmla="*/ 5 h 31"/>
                  <a:gd name="T34" fmla="*/ 17 w 74"/>
                  <a:gd name="T35" fmla="*/ 4 h 31"/>
                  <a:gd name="T36" fmla="*/ 16 w 74"/>
                  <a:gd name="T37" fmla="*/ 3 h 31"/>
                  <a:gd name="T38" fmla="*/ 15 w 74"/>
                  <a:gd name="T39" fmla="*/ 2 h 31"/>
                  <a:gd name="T40" fmla="*/ 14 w 74"/>
                  <a:gd name="T41" fmla="*/ 0 h 31"/>
                  <a:gd name="T42" fmla="*/ 11 w 74"/>
                  <a:gd name="T43" fmla="*/ 0 h 31"/>
                  <a:gd name="T44" fmla="*/ 9 w 74"/>
                  <a:gd name="T45" fmla="*/ 0 h 31"/>
                  <a:gd name="T46" fmla="*/ 7 w 74"/>
                  <a:gd name="T47" fmla="*/ 0 h 31"/>
                  <a:gd name="T48" fmla="*/ 6 w 74"/>
                  <a:gd name="T49" fmla="*/ 0 h 31"/>
                  <a:gd name="T50" fmla="*/ 5 w 74"/>
                  <a:gd name="T51" fmla="*/ 0 h 31"/>
                  <a:gd name="T52" fmla="*/ 3 w 74"/>
                  <a:gd name="T53" fmla="*/ 0 h 31"/>
                  <a:gd name="T54" fmla="*/ 2 w 74"/>
                  <a:gd name="T55" fmla="*/ 1 h 31"/>
                  <a:gd name="T56" fmla="*/ 0 w 74"/>
                  <a:gd name="T57" fmla="*/ 2 h 31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89" name="Freeform 156">
                <a:extLst>
                  <a:ext uri="{FF2B5EF4-FFF2-40B4-BE49-F238E27FC236}">
                    <a16:creationId xmlns:a16="http://schemas.microsoft.com/office/drawing/2014/main" xmlns="" id="{B7A2739D-A69E-5827-B122-87F32E33A7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6 w 20"/>
                  <a:gd name="T1" fmla="*/ 0 h 1"/>
                  <a:gd name="T2" fmla="*/ 0 w 20"/>
                  <a:gd name="T3" fmla="*/ 0 h 1"/>
                  <a:gd name="T4" fmla="*/ 3 w 20"/>
                  <a:gd name="T5" fmla="*/ 0 h 1"/>
                  <a:gd name="T6" fmla="*/ 6 w 20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90" name="Freeform 157">
                <a:extLst>
                  <a:ext uri="{FF2B5EF4-FFF2-40B4-BE49-F238E27FC236}">
                    <a16:creationId xmlns:a16="http://schemas.microsoft.com/office/drawing/2014/main" xmlns="" id="{13E4A16E-0B47-E091-EA5A-1190E0B403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2 w 100"/>
                  <a:gd name="T1" fmla="*/ 8 h 65"/>
                  <a:gd name="T2" fmla="*/ 11 w 100"/>
                  <a:gd name="T3" fmla="*/ 13 h 65"/>
                  <a:gd name="T4" fmla="*/ 20 w 100"/>
                  <a:gd name="T5" fmla="*/ 18 h 65"/>
                  <a:gd name="T6" fmla="*/ 23 w 100"/>
                  <a:gd name="T7" fmla="*/ 19 h 65"/>
                  <a:gd name="T8" fmla="*/ 27 w 100"/>
                  <a:gd name="T9" fmla="*/ 21 h 65"/>
                  <a:gd name="T10" fmla="*/ 28 w 100"/>
                  <a:gd name="T11" fmla="*/ 21 h 65"/>
                  <a:gd name="T12" fmla="*/ 29 w 100"/>
                  <a:gd name="T13" fmla="*/ 21 h 65"/>
                  <a:gd name="T14" fmla="*/ 31 w 100"/>
                  <a:gd name="T15" fmla="*/ 21 h 65"/>
                  <a:gd name="T16" fmla="*/ 32 w 100"/>
                  <a:gd name="T17" fmla="*/ 20 h 65"/>
                  <a:gd name="T18" fmla="*/ 30 w 100"/>
                  <a:gd name="T19" fmla="*/ 19 h 65"/>
                  <a:gd name="T20" fmla="*/ 28 w 100"/>
                  <a:gd name="T21" fmla="*/ 18 h 65"/>
                  <a:gd name="T22" fmla="*/ 27 w 100"/>
                  <a:gd name="T23" fmla="*/ 17 h 65"/>
                  <a:gd name="T24" fmla="*/ 25 w 100"/>
                  <a:gd name="T25" fmla="*/ 15 h 65"/>
                  <a:gd name="T26" fmla="*/ 21 w 100"/>
                  <a:gd name="T27" fmla="*/ 11 h 65"/>
                  <a:gd name="T28" fmla="*/ 18 w 100"/>
                  <a:gd name="T29" fmla="*/ 7 h 65"/>
                  <a:gd name="T30" fmla="*/ 17 w 100"/>
                  <a:gd name="T31" fmla="*/ 5 h 65"/>
                  <a:gd name="T32" fmla="*/ 15 w 100"/>
                  <a:gd name="T33" fmla="*/ 3 h 65"/>
                  <a:gd name="T34" fmla="*/ 13 w 100"/>
                  <a:gd name="T35" fmla="*/ 1 h 65"/>
                  <a:gd name="T36" fmla="*/ 11 w 100"/>
                  <a:gd name="T37" fmla="*/ 0 h 65"/>
                  <a:gd name="T38" fmla="*/ 9 w 100"/>
                  <a:gd name="T39" fmla="*/ 0 h 65"/>
                  <a:gd name="T40" fmla="*/ 6 w 100"/>
                  <a:gd name="T41" fmla="*/ 0 h 65"/>
                  <a:gd name="T42" fmla="*/ 3 w 100"/>
                  <a:gd name="T43" fmla="*/ 1 h 65"/>
                  <a:gd name="T44" fmla="*/ 0 w 100"/>
                  <a:gd name="T45" fmla="*/ 2 h 65"/>
                  <a:gd name="T46" fmla="*/ 2 w 100"/>
                  <a:gd name="T47" fmla="*/ 8 h 6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91" name="Freeform 158">
                <a:extLst>
                  <a:ext uri="{FF2B5EF4-FFF2-40B4-BE49-F238E27FC236}">
                    <a16:creationId xmlns:a16="http://schemas.microsoft.com/office/drawing/2014/main" xmlns="" id="{190AB49C-0766-E0B1-575A-0571789BE6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22 w 79"/>
                  <a:gd name="T1" fmla="*/ 28 h 104"/>
                  <a:gd name="T2" fmla="*/ 17 w 79"/>
                  <a:gd name="T3" fmla="*/ 20 h 104"/>
                  <a:gd name="T4" fmla="*/ 13 w 79"/>
                  <a:gd name="T5" fmla="*/ 13 h 104"/>
                  <a:gd name="T6" fmla="*/ 9 w 79"/>
                  <a:gd name="T7" fmla="*/ 7 h 104"/>
                  <a:gd name="T8" fmla="*/ 4 w 79"/>
                  <a:gd name="T9" fmla="*/ 0 h 104"/>
                  <a:gd name="T10" fmla="*/ 2 w 79"/>
                  <a:gd name="T11" fmla="*/ 5 h 104"/>
                  <a:gd name="T12" fmla="*/ 1 w 79"/>
                  <a:gd name="T13" fmla="*/ 11 h 104"/>
                  <a:gd name="T14" fmla="*/ 0 w 79"/>
                  <a:gd name="T15" fmla="*/ 13 h 104"/>
                  <a:gd name="T16" fmla="*/ 0 w 79"/>
                  <a:gd name="T17" fmla="*/ 16 h 104"/>
                  <a:gd name="T18" fmla="*/ 0 w 79"/>
                  <a:gd name="T19" fmla="*/ 18 h 104"/>
                  <a:gd name="T20" fmla="*/ 0 w 79"/>
                  <a:gd name="T21" fmla="*/ 20 h 104"/>
                  <a:gd name="T22" fmla="*/ 0 w 79"/>
                  <a:gd name="T23" fmla="*/ 22 h 104"/>
                  <a:gd name="T24" fmla="*/ 1 w 79"/>
                  <a:gd name="T25" fmla="*/ 24 h 104"/>
                  <a:gd name="T26" fmla="*/ 2 w 79"/>
                  <a:gd name="T27" fmla="*/ 26 h 104"/>
                  <a:gd name="T28" fmla="*/ 3 w 79"/>
                  <a:gd name="T29" fmla="*/ 27 h 104"/>
                  <a:gd name="T30" fmla="*/ 4 w 79"/>
                  <a:gd name="T31" fmla="*/ 29 h 104"/>
                  <a:gd name="T32" fmla="*/ 6 w 79"/>
                  <a:gd name="T33" fmla="*/ 29 h 104"/>
                  <a:gd name="T34" fmla="*/ 8 w 79"/>
                  <a:gd name="T35" fmla="*/ 30 h 104"/>
                  <a:gd name="T36" fmla="*/ 10 w 79"/>
                  <a:gd name="T37" fmla="*/ 30 h 104"/>
                  <a:gd name="T38" fmla="*/ 13 w 79"/>
                  <a:gd name="T39" fmla="*/ 30 h 104"/>
                  <a:gd name="T40" fmla="*/ 16 w 79"/>
                  <a:gd name="T41" fmla="*/ 31 h 104"/>
                  <a:gd name="T42" fmla="*/ 20 w 79"/>
                  <a:gd name="T43" fmla="*/ 33 h 104"/>
                  <a:gd name="T44" fmla="*/ 24 w 79"/>
                  <a:gd name="T45" fmla="*/ 34 h 104"/>
                  <a:gd name="T46" fmla="*/ 22 w 79"/>
                  <a:gd name="T47" fmla="*/ 28 h 10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</p:grpSp>
        <p:sp>
          <p:nvSpPr>
            <p:cNvPr id="94" name="Freeform 159">
              <a:extLst>
                <a:ext uri="{FF2B5EF4-FFF2-40B4-BE49-F238E27FC236}">
                  <a16:creationId xmlns:a16="http://schemas.microsoft.com/office/drawing/2014/main" xmlns="" id="{3F3B7570-6D88-053D-25A8-139BCDD34E81}"/>
                </a:ext>
              </a:extLst>
            </p:cNvPr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4209713" y="2421969"/>
              <a:ext cx="9614" cy="40672"/>
            </a:xfrm>
            <a:custGeom>
              <a:avLst/>
              <a:gdLst>
                <a:gd name="T0" fmla="*/ 11113 w 27"/>
                <a:gd name="T1" fmla="*/ 0 h 19"/>
                <a:gd name="T2" fmla="*/ 11113 w 27"/>
                <a:gd name="T3" fmla="*/ 35092 h 19"/>
                <a:gd name="T4" fmla="*/ 11113 w 27"/>
                <a:gd name="T5" fmla="*/ 55562 h 19"/>
                <a:gd name="T6" fmla="*/ 3704 w 27"/>
                <a:gd name="T7" fmla="*/ 55562 h 19"/>
                <a:gd name="T8" fmla="*/ 0 w 27"/>
                <a:gd name="T9" fmla="*/ 55562 h 19"/>
                <a:gd name="T10" fmla="*/ 3704 w 27"/>
                <a:gd name="T11" fmla="*/ 35092 h 19"/>
                <a:gd name="T12" fmla="*/ 11113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95" name="Freeform 160">
              <a:extLst>
                <a:ext uri="{FF2B5EF4-FFF2-40B4-BE49-F238E27FC236}">
                  <a16:creationId xmlns:a16="http://schemas.microsoft.com/office/drawing/2014/main" xmlns="" id="{EE0CC12A-55D5-17FF-1591-991260595744}"/>
                </a:ext>
              </a:extLst>
            </p:cNvPr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4143790" y="2524230"/>
              <a:ext cx="12361" cy="41835"/>
            </a:xfrm>
            <a:custGeom>
              <a:avLst/>
              <a:gdLst>
                <a:gd name="T0" fmla="*/ 0 w 39"/>
                <a:gd name="T1" fmla="*/ 0 h 35"/>
                <a:gd name="T2" fmla="*/ 14288 w 39"/>
                <a:gd name="T3" fmla="*/ 0 h 35"/>
                <a:gd name="T4" fmla="*/ 13189 w 39"/>
                <a:gd name="T5" fmla="*/ 14696 h 35"/>
                <a:gd name="T6" fmla="*/ 12090 w 39"/>
                <a:gd name="T7" fmla="*/ 31024 h 35"/>
                <a:gd name="T8" fmla="*/ 9892 w 39"/>
                <a:gd name="T9" fmla="*/ 45720 h 35"/>
                <a:gd name="T10" fmla="*/ 8060 w 39"/>
                <a:gd name="T11" fmla="*/ 55517 h 35"/>
                <a:gd name="T12" fmla="*/ 6961 w 39"/>
                <a:gd name="T13" fmla="*/ 57150 h 35"/>
                <a:gd name="T14" fmla="*/ 5862 w 39"/>
                <a:gd name="T15" fmla="*/ 57150 h 35"/>
                <a:gd name="T16" fmla="*/ 4763 w 39"/>
                <a:gd name="T17" fmla="*/ 55517 h 35"/>
                <a:gd name="T18" fmla="*/ 4030 w 39"/>
                <a:gd name="T19" fmla="*/ 50619 h 35"/>
                <a:gd name="T20" fmla="*/ 2565 w 39"/>
                <a:gd name="T21" fmla="*/ 42454 h 35"/>
                <a:gd name="T22" fmla="*/ 1832 w 39"/>
                <a:gd name="T23" fmla="*/ 32657 h 35"/>
                <a:gd name="T24" fmla="*/ 733 w 39"/>
                <a:gd name="T25" fmla="*/ 17961 h 35"/>
                <a:gd name="T26" fmla="*/ 0 w 39"/>
                <a:gd name="T27" fmla="*/ 0 h 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96" name="Freeform 161">
              <a:extLst>
                <a:ext uri="{FF2B5EF4-FFF2-40B4-BE49-F238E27FC236}">
                  <a16:creationId xmlns:a16="http://schemas.microsoft.com/office/drawing/2014/main" xmlns="" id="{223B65F3-507B-CAD5-A14D-D85EA3B73254}"/>
                </a:ext>
              </a:extLst>
            </p:cNvPr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5699825" y="1299422"/>
              <a:ext cx="630379" cy="242869"/>
            </a:xfrm>
            <a:custGeom>
              <a:avLst/>
              <a:gdLst>
                <a:gd name="T0" fmla="*/ 13813 w 1688"/>
                <a:gd name="T1" fmla="*/ 113756 h 630"/>
                <a:gd name="T2" fmla="*/ 37124 w 1688"/>
                <a:gd name="T3" fmla="*/ 131135 h 630"/>
                <a:gd name="T4" fmla="*/ 66909 w 1688"/>
                <a:gd name="T5" fmla="*/ 139035 h 630"/>
                <a:gd name="T6" fmla="*/ 82449 w 1688"/>
                <a:gd name="T7" fmla="*/ 147988 h 630"/>
                <a:gd name="T8" fmla="*/ 102738 w 1688"/>
                <a:gd name="T9" fmla="*/ 174320 h 630"/>
                <a:gd name="T10" fmla="*/ 109213 w 1688"/>
                <a:gd name="T11" fmla="*/ 183799 h 630"/>
                <a:gd name="T12" fmla="*/ 109645 w 1688"/>
                <a:gd name="T13" fmla="*/ 203285 h 630"/>
                <a:gd name="T14" fmla="*/ 117846 w 1688"/>
                <a:gd name="T15" fmla="*/ 214872 h 630"/>
                <a:gd name="T16" fmla="*/ 147200 w 1688"/>
                <a:gd name="T17" fmla="*/ 219085 h 630"/>
                <a:gd name="T18" fmla="*/ 199864 w 1688"/>
                <a:gd name="T19" fmla="*/ 238044 h 630"/>
                <a:gd name="T20" fmla="*/ 235693 w 1688"/>
                <a:gd name="T21" fmla="*/ 246997 h 630"/>
                <a:gd name="T22" fmla="*/ 248211 w 1688"/>
                <a:gd name="T23" fmla="*/ 268589 h 630"/>
                <a:gd name="T24" fmla="*/ 268500 w 1688"/>
                <a:gd name="T25" fmla="*/ 285442 h 630"/>
                <a:gd name="T26" fmla="*/ 289220 w 1688"/>
                <a:gd name="T27" fmla="*/ 292289 h 630"/>
                <a:gd name="T28" fmla="*/ 395843 w 1688"/>
                <a:gd name="T29" fmla="*/ 303348 h 630"/>
                <a:gd name="T30" fmla="*/ 447644 w 1688"/>
                <a:gd name="T31" fmla="*/ 323361 h 630"/>
                <a:gd name="T32" fmla="*/ 482177 w 1688"/>
                <a:gd name="T33" fmla="*/ 331787 h 630"/>
                <a:gd name="T34" fmla="*/ 499444 w 1688"/>
                <a:gd name="T35" fmla="*/ 322834 h 630"/>
                <a:gd name="T36" fmla="*/ 580167 w 1688"/>
                <a:gd name="T37" fmla="*/ 297028 h 630"/>
                <a:gd name="T38" fmla="*/ 602182 w 1688"/>
                <a:gd name="T39" fmla="*/ 268589 h 630"/>
                <a:gd name="T40" fmla="*/ 605636 w 1688"/>
                <a:gd name="T41" fmla="*/ 254370 h 630"/>
                <a:gd name="T42" fmla="*/ 598297 w 1688"/>
                <a:gd name="T43" fmla="*/ 239624 h 630"/>
                <a:gd name="T44" fmla="*/ 591390 w 1688"/>
                <a:gd name="T45" fmla="*/ 218558 h 630"/>
                <a:gd name="T46" fmla="*/ 647076 w 1688"/>
                <a:gd name="T47" fmla="*/ 207499 h 630"/>
                <a:gd name="T48" fmla="*/ 688085 w 1688"/>
                <a:gd name="T49" fmla="*/ 180640 h 630"/>
                <a:gd name="T50" fmla="*/ 712690 w 1688"/>
                <a:gd name="T51" fmla="*/ 171160 h 630"/>
                <a:gd name="T52" fmla="*/ 728662 w 1688"/>
                <a:gd name="T53" fmla="*/ 156414 h 630"/>
                <a:gd name="T54" fmla="*/ 714849 w 1688"/>
                <a:gd name="T55" fmla="*/ 146934 h 630"/>
                <a:gd name="T56" fmla="*/ 698877 w 1688"/>
                <a:gd name="T57" fmla="*/ 132715 h 630"/>
                <a:gd name="T58" fmla="*/ 683336 w 1688"/>
                <a:gd name="T59" fmla="*/ 130608 h 630"/>
                <a:gd name="T60" fmla="*/ 670386 w 1688"/>
                <a:gd name="T61" fmla="*/ 135875 h 630"/>
                <a:gd name="T62" fmla="*/ 646213 w 1688"/>
                <a:gd name="T63" fmla="*/ 134821 h 630"/>
                <a:gd name="T64" fmla="*/ 628946 w 1688"/>
                <a:gd name="T65" fmla="*/ 123762 h 630"/>
                <a:gd name="T66" fmla="*/ 619017 w 1688"/>
                <a:gd name="T67" fmla="*/ 98483 h 630"/>
                <a:gd name="T68" fmla="*/ 590095 w 1688"/>
                <a:gd name="T69" fmla="*/ 65304 h 630"/>
                <a:gd name="T70" fmla="*/ 555130 w 1688"/>
                <a:gd name="T71" fmla="*/ 63198 h 630"/>
                <a:gd name="T72" fmla="*/ 543906 w 1688"/>
                <a:gd name="T73" fmla="*/ 77417 h 630"/>
                <a:gd name="T74" fmla="*/ 533546 w 1688"/>
                <a:gd name="T75" fmla="*/ 86897 h 630"/>
                <a:gd name="T76" fmla="*/ 504193 w 1688"/>
                <a:gd name="T77" fmla="*/ 87950 h 630"/>
                <a:gd name="T78" fmla="*/ 450665 w 1688"/>
                <a:gd name="T79" fmla="*/ 87950 h 630"/>
                <a:gd name="T80" fmla="*/ 425628 w 1688"/>
                <a:gd name="T81" fmla="*/ 73730 h 630"/>
                <a:gd name="T82" fmla="*/ 398001 w 1688"/>
                <a:gd name="T83" fmla="*/ 56878 h 630"/>
                <a:gd name="T84" fmla="*/ 367784 w 1688"/>
                <a:gd name="T85" fmla="*/ 52665 h 630"/>
                <a:gd name="T86" fmla="*/ 345769 w 1688"/>
                <a:gd name="T87" fmla="*/ 60038 h 630"/>
                <a:gd name="T88" fmla="*/ 319437 w 1688"/>
                <a:gd name="T89" fmla="*/ 61091 h 630"/>
                <a:gd name="T90" fmla="*/ 298717 w 1688"/>
                <a:gd name="T91" fmla="*/ 53191 h 630"/>
                <a:gd name="T92" fmla="*/ 285767 w 1688"/>
                <a:gd name="T93" fmla="*/ 35812 h 630"/>
                <a:gd name="T94" fmla="*/ 192526 w 1688"/>
                <a:gd name="T95" fmla="*/ 3687 h 630"/>
                <a:gd name="T96" fmla="*/ 192526 w 1688"/>
                <a:gd name="T97" fmla="*/ 23172 h 630"/>
                <a:gd name="T98" fmla="*/ 203317 w 1688"/>
                <a:gd name="T99" fmla="*/ 41605 h 630"/>
                <a:gd name="T100" fmla="*/ 211519 w 1688"/>
                <a:gd name="T101" fmla="*/ 55824 h 630"/>
                <a:gd name="T102" fmla="*/ 132523 w 1688"/>
                <a:gd name="T103" fmla="*/ 64251 h 630"/>
                <a:gd name="T104" fmla="*/ 126912 w 1688"/>
                <a:gd name="T105" fmla="*/ 45818 h 630"/>
                <a:gd name="T106" fmla="*/ 97126 w 1688"/>
                <a:gd name="T107" fmla="*/ 51085 h 630"/>
                <a:gd name="T108" fmla="*/ 79859 w 1688"/>
                <a:gd name="T109" fmla="*/ 46345 h 630"/>
                <a:gd name="T110" fmla="*/ 59571 w 1688"/>
                <a:gd name="T111" fmla="*/ 51085 h 630"/>
                <a:gd name="T112" fmla="*/ 29354 w 1688"/>
                <a:gd name="T113" fmla="*/ 75310 h 630"/>
                <a:gd name="T114" fmla="*/ 13382 w 1688"/>
                <a:gd name="T115" fmla="*/ 79524 h 630"/>
                <a:gd name="T116" fmla="*/ 1727 w 1688"/>
                <a:gd name="T117" fmla="*/ 89003 h 6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97" name="Freeform 162">
              <a:extLst>
                <a:ext uri="{FF2B5EF4-FFF2-40B4-BE49-F238E27FC236}">
                  <a16:creationId xmlns:a16="http://schemas.microsoft.com/office/drawing/2014/main" xmlns="" id="{B6F645EA-E3DF-8A9D-CAE1-B140A11D0AF1}"/>
                </a:ext>
              </a:extLst>
            </p:cNvPr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2521835" y="2739210"/>
              <a:ext cx="284288" cy="304459"/>
            </a:xfrm>
            <a:custGeom>
              <a:avLst/>
              <a:gdLst>
                <a:gd name="T0" fmla="*/ 11272 w 758"/>
                <a:gd name="T1" fmla="*/ 41854 h 795"/>
                <a:gd name="T2" fmla="*/ 21243 w 758"/>
                <a:gd name="T3" fmla="*/ 46039 h 795"/>
                <a:gd name="T4" fmla="*/ 31214 w 758"/>
                <a:gd name="T5" fmla="*/ 56503 h 795"/>
                <a:gd name="T6" fmla="*/ 38150 w 758"/>
                <a:gd name="T7" fmla="*/ 70106 h 795"/>
                <a:gd name="T8" fmla="*/ 40318 w 758"/>
                <a:gd name="T9" fmla="*/ 88417 h 795"/>
                <a:gd name="T10" fmla="*/ 36416 w 758"/>
                <a:gd name="T11" fmla="*/ 97311 h 795"/>
                <a:gd name="T12" fmla="*/ 35116 w 758"/>
                <a:gd name="T13" fmla="*/ 107251 h 795"/>
                <a:gd name="T14" fmla="*/ 38150 w 758"/>
                <a:gd name="T15" fmla="*/ 125562 h 795"/>
                <a:gd name="T16" fmla="*/ 41185 w 758"/>
                <a:gd name="T17" fmla="*/ 145443 h 795"/>
                <a:gd name="T18" fmla="*/ 35983 w 758"/>
                <a:gd name="T19" fmla="*/ 161138 h 795"/>
                <a:gd name="T20" fmla="*/ 35116 w 758"/>
                <a:gd name="T21" fmla="*/ 184158 h 795"/>
                <a:gd name="T22" fmla="*/ 40318 w 758"/>
                <a:gd name="T23" fmla="*/ 204039 h 795"/>
                <a:gd name="T24" fmla="*/ 42919 w 758"/>
                <a:gd name="T25" fmla="*/ 217118 h 795"/>
                <a:gd name="T26" fmla="*/ 33815 w 758"/>
                <a:gd name="T27" fmla="*/ 239091 h 795"/>
                <a:gd name="T28" fmla="*/ 48988 w 758"/>
                <a:gd name="T29" fmla="*/ 276760 h 795"/>
                <a:gd name="T30" fmla="*/ 59826 w 758"/>
                <a:gd name="T31" fmla="*/ 301873 h 795"/>
                <a:gd name="T32" fmla="*/ 63295 w 758"/>
                <a:gd name="T33" fmla="*/ 325416 h 795"/>
                <a:gd name="T34" fmla="*/ 65896 w 758"/>
                <a:gd name="T35" fmla="*/ 344773 h 795"/>
                <a:gd name="T36" fmla="*/ 81069 w 758"/>
                <a:gd name="T37" fmla="*/ 386104 h 795"/>
                <a:gd name="T38" fmla="*/ 92774 w 758"/>
                <a:gd name="T39" fmla="*/ 409124 h 795"/>
                <a:gd name="T40" fmla="*/ 99711 w 758"/>
                <a:gd name="T41" fmla="*/ 415402 h 795"/>
                <a:gd name="T42" fmla="*/ 108815 w 758"/>
                <a:gd name="T43" fmla="*/ 413309 h 795"/>
                <a:gd name="T44" fmla="*/ 125289 w 758"/>
                <a:gd name="T45" fmla="*/ 398137 h 795"/>
                <a:gd name="T46" fmla="*/ 140462 w 758"/>
                <a:gd name="T47" fmla="*/ 390289 h 795"/>
                <a:gd name="T48" fmla="*/ 153901 w 758"/>
                <a:gd name="T49" fmla="*/ 391336 h 795"/>
                <a:gd name="T50" fmla="*/ 168208 w 758"/>
                <a:gd name="T51" fmla="*/ 402846 h 795"/>
                <a:gd name="T52" fmla="*/ 181213 w 758"/>
                <a:gd name="T53" fmla="*/ 408077 h 795"/>
                <a:gd name="T54" fmla="*/ 189450 w 758"/>
                <a:gd name="T55" fmla="*/ 396567 h 795"/>
                <a:gd name="T56" fmla="*/ 207225 w 758"/>
                <a:gd name="T57" fmla="*/ 389766 h 795"/>
                <a:gd name="T58" fmla="*/ 227601 w 758"/>
                <a:gd name="T59" fmla="*/ 325416 h 795"/>
                <a:gd name="T60" fmla="*/ 233670 w 758"/>
                <a:gd name="T61" fmla="*/ 313906 h 795"/>
                <a:gd name="T62" fmla="*/ 249277 w 758"/>
                <a:gd name="T63" fmla="*/ 305535 h 795"/>
                <a:gd name="T64" fmla="*/ 288294 w 758"/>
                <a:gd name="T65" fmla="*/ 299780 h 795"/>
                <a:gd name="T66" fmla="*/ 297832 w 758"/>
                <a:gd name="T67" fmla="*/ 302919 h 795"/>
                <a:gd name="T68" fmla="*/ 305202 w 758"/>
                <a:gd name="T69" fmla="*/ 306058 h 795"/>
                <a:gd name="T70" fmla="*/ 322543 w 758"/>
                <a:gd name="T71" fmla="*/ 299780 h 795"/>
                <a:gd name="T72" fmla="*/ 328178 w 758"/>
                <a:gd name="T73" fmla="*/ 283038 h 795"/>
                <a:gd name="T74" fmla="*/ 326011 w 758"/>
                <a:gd name="T75" fmla="*/ 261065 h 795"/>
                <a:gd name="T76" fmla="*/ 314739 w 758"/>
                <a:gd name="T77" fmla="*/ 241707 h 795"/>
                <a:gd name="T78" fmla="*/ 307803 w 758"/>
                <a:gd name="T79" fmla="*/ 227582 h 795"/>
                <a:gd name="T80" fmla="*/ 290895 w 758"/>
                <a:gd name="T81" fmla="*/ 209794 h 795"/>
                <a:gd name="T82" fmla="*/ 274421 w 758"/>
                <a:gd name="T83" fmla="*/ 208747 h 795"/>
                <a:gd name="T84" fmla="*/ 262283 w 758"/>
                <a:gd name="T85" fmla="*/ 197761 h 795"/>
                <a:gd name="T86" fmla="*/ 255780 w 758"/>
                <a:gd name="T87" fmla="*/ 182588 h 795"/>
                <a:gd name="T88" fmla="*/ 253612 w 758"/>
                <a:gd name="T89" fmla="*/ 162708 h 795"/>
                <a:gd name="T90" fmla="*/ 252745 w 758"/>
                <a:gd name="T91" fmla="*/ 140734 h 795"/>
                <a:gd name="T92" fmla="*/ 242774 w 758"/>
                <a:gd name="T93" fmla="*/ 126609 h 795"/>
                <a:gd name="T94" fmla="*/ 218063 w 758"/>
                <a:gd name="T95" fmla="*/ 107251 h 795"/>
                <a:gd name="T96" fmla="*/ 190751 w 758"/>
                <a:gd name="T97" fmla="*/ 93125 h 795"/>
                <a:gd name="T98" fmla="*/ 169942 w 758"/>
                <a:gd name="T99" fmla="*/ 87370 h 795"/>
                <a:gd name="T100" fmla="*/ 155635 w 758"/>
                <a:gd name="T101" fmla="*/ 84231 h 795"/>
                <a:gd name="T102" fmla="*/ 143063 w 758"/>
                <a:gd name="T103" fmla="*/ 75861 h 795"/>
                <a:gd name="T104" fmla="*/ 133092 w 758"/>
                <a:gd name="T105" fmla="*/ 63827 h 795"/>
                <a:gd name="T106" fmla="*/ 126589 w 758"/>
                <a:gd name="T107" fmla="*/ 48132 h 795"/>
                <a:gd name="T108" fmla="*/ 120953 w 758"/>
                <a:gd name="T109" fmla="*/ 9940 h 795"/>
                <a:gd name="T110" fmla="*/ 113150 w 758"/>
                <a:gd name="T111" fmla="*/ 1570 h 795"/>
                <a:gd name="T112" fmla="*/ 98410 w 758"/>
                <a:gd name="T113" fmla="*/ 1570 h 795"/>
                <a:gd name="T114" fmla="*/ 75000 w 758"/>
                <a:gd name="T115" fmla="*/ 15695 h 795"/>
                <a:gd name="T116" fmla="*/ 51589 w 758"/>
                <a:gd name="T117" fmla="*/ 34530 h 795"/>
                <a:gd name="T118" fmla="*/ 0 w 758"/>
                <a:gd name="T119" fmla="*/ 41854 h 7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98" name="Freeform 163">
              <a:extLst>
                <a:ext uri="{FF2B5EF4-FFF2-40B4-BE49-F238E27FC236}">
                  <a16:creationId xmlns:a16="http://schemas.microsoft.com/office/drawing/2014/main" xmlns="" id="{5B49BB47-D161-0B84-66E8-8B456CA14E75}"/>
                </a:ext>
              </a:extLst>
            </p:cNvPr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2707241" y="2322031"/>
              <a:ext cx="103004" cy="158040"/>
            </a:xfrm>
            <a:custGeom>
              <a:avLst/>
              <a:gdLst>
                <a:gd name="T0" fmla="*/ 98129 w 273"/>
                <a:gd name="T1" fmla="*/ 73010 h 414"/>
                <a:gd name="T2" fmla="*/ 92895 w 273"/>
                <a:gd name="T3" fmla="*/ 69359 h 414"/>
                <a:gd name="T4" fmla="*/ 87662 w 273"/>
                <a:gd name="T5" fmla="*/ 63101 h 414"/>
                <a:gd name="T6" fmla="*/ 82864 w 273"/>
                <a:gd name="T7" fmla="*/ 54757 h 414"/>
                <a:gd name="T8" fmla="*/ 79811 w 273"/>
                <a:gd name="T9" fmla="*/ 50064 h 414"/>
                <a:gd name="T10" fmla="*/ 76759 w 273"/>
                <a:gd name="T11" fmla="*/ 48499 h 414"/>
                <a:gd name="T12" fmla="*/ 72833 w 273"/>
                <a:gd name="T13" fmla="*/ 49021 h 414"/>
                <a:gd name="T14" fmla="*/ 70217 w 273"/>
                <a:gd name="T15" fmla="*/ 52671 h 414"/>
                <a:gd name="T16" fmla="*/ 66728 w 273"/>
                <a:gd name="T17" fmla="*/ 44849 h 414"/>
                <a:gd name="T18" fmla="*/ 61930 w 273"/>
                <a:gd name="T19" fmla="*/ 28161 h 414"/>
                <a:gd name="T20" fmla="*/ 57569 w 273"/>
                <a:gd name="T21" fmla="*/ 18774 h 414"/>
                <a:gd name="T22" fmla="*/ 53644 w 273"/>
                <a:gd name="T23" fmla="*/ 13037 h 414"/>
                <a:gd name="T24" fmla="*/ 48410 w 273"/>
                <a:gd name="T25" fmla="*/ 7301 h 414"/>
                <a:gd name="T26" fmla="*/ 41868 w 273"/>
                <a:gd name="T27" fmla="*/ 2607 h 414"/>
                <a:gd name="T28" fmla="*/ 34890 w 273"/>
                <a:gd name="T29" fmla="*/ 3650 h 414"/>
                <a:gd name="T30" fmla="*/ 30093 w 273"/>
                <a:gd name="T31" fmla="*/ 9908 h 414"/>
                <a:gd name="T32" fmla="*/ 27476 w 273"/>
                <a:gd name="T33" fmla="*/ 13037 h 414"/>
                <a:gd name="T34" fmla="*/ 24859 w 273"/>
                <a:gd name="T35" fmla="*/ 16688 h 414"/>
                <a:gd name="T36" fmla="*/ 24423 w 273"/>
                <a:gd name="T37" fmla="*/ 21903 h 414"/>
                <a:gd name="T38" fmla="*/ 25295 w 273"/>
                <a:gd name="T39" fmla="*/ 30768 h 414"/>
                <a:gd name="T40" fmla="*/ 22679 w 273"/>
                <a:gd name="T41" fmla="*/ 40677 h 414"/>
                <a:gd name="T42" fmla="*/ 14392 w 273"/>
                <a:gd name="T43" fmla="*/ 46935 h 414"/>
                <a:gd name="T44" fmla="*/ 7414 w 273"/>
                <a:gd name="T45" fmla="*/ 54236 h 414"/>
                <a:gd name="T46" fmla="*/ 1745 w 273"/>
                <a:gd name="T47" fmla="*/ 61537 h 414"/>
                <a:gd name="T48" fmla="*/ 17445 w 273"/>
                <a:gd name="T49" fmla="*/ 103257 h 414"/>
                <a:gd name="T50" fmla="*/ 31837 w 273"/>
                <a:gd name="T51" fmla="*/ 106907 h 414"/>
                <a:gd name="T52" fmla="*/ 36635 w 273"/>
                <a:gd name="T53" fmla="*/ 109514 h 414"/>
                <a:gd name="T54" fmla="*/ 40560 w 273"/>
                <a:gd name="T55" fmla="*/ 113686 h 414"/>
                <a:gd name="T56" fmla="*/ 43177 w 273"/>
                <a:gd name="T57" fmla="*/ 117858 h 414"/>
                <a:gd name="T58" fmla="*/ 44921 w 273"/>
                <a:gd name="T59" fmla="*/ 123595 h 414"/>
                <a:gd name="T60" fmla="*/ 46230 w 273"/>
                <a:gd name="T61" fmla="*/ 138197 h 414"/>
                <a:gd name="T62" fmla="*/ 44921 w 273"/>
                <a:gd name="T63" fmla="*/ 145498 h 414"/>
                <a:gd name="T64" fmla="*/ 41868 w 273"/>
                <a:gd name="T65" fmla="*/ 152799 h 414"/>
                <a:gd name="T66" fmla="*/ 38815 w 273"/>
                <a:gd name="T67" fmla="*/ 160100 h 414"/>
                <a:gd name="T68" fmla="*/ 37507 w 273"/>
                <a:gd name="T69" fmla="*/ 167401 h 414"/>
                <a:gd name="T70" fmla="*/ 39688 w 273"/>
                <a:gd name="T71" fmla="*/ 178874 h 414"/>
                <a:gd name="T72" fmla="*/ 46666 w 273"/>
                <a:gd name="T73" fmla="*/ 195040 h 414"/>
                <a:gd name="T74" fmla="*/ 51027 w 273"/>
                <a:gd name="T75" fmla="*/ 202863 h 414"/>
                <a:gd name="T76" fmla="*/ 56261 w 273"/>
                <a:gd name="T77" fmla="*/ 209121 h 414"/>
                <a:gd name="T78" fmla="*/ 61494 w 273"/>
                <a:gd name="T79" fmla="*/ 214336 h 414"/>
                <a:gd name="T80" fmla="*/ 66728 w 273"/>
                <a:gd name="T81" fmla="*/ 215900 h 414"/>
                <a:gd name="T82" fmla="*/ 93768 w 273"/>
                <a:gd name="T83" fmla="*/ 207556 h 414"/>
                <a:gd name="T84" fmla="*/ 111213 w 273"/>
                <a:gd name="T85" fmla="*/ 200777 h 414"/>
                <a:gd name="T86" fmla="*/ 116446 w 273"/>
                <a:gd name="T87" fmla="*/ 196605 h 414"/>
                <a:gd name="T88" fmla="*/ 119063 w 273"/>
                <a:gd name="T89" fmla="*/ 192954 h 414"/>
                <a:gd name="T90" fmla="*/ 117318 w 273"/>
                <a:gd name="T91" fmla="*/ 183567 h 414"/>
                <a:gd name="T92" fmla="*/ 114702 w 273"/>
                <a:gd name="T93" fmla="*/ 174702 h 414"/>
                <a:gd name="T94" fmla="*/ 105543 w 273"/>
                <a:gd name="T95" fmla="*/ 161143 h 414"/>
                <a:gd name="T96" fmla="*/ 96820 w 273"/>
                <a:gd name="T97" fmla="*/ 147062 h 414"/>
                <a:gd name="T98" fmla="*/ 93768 w 273"/>
                <a:gd name="T99" fmla="*/ 138718 h 414"/>
                <a:gd name="T100" fmla="*/ 92459 w 273"/>
                <a:gd name="T101" fmla="*/ 128810 h 414"/>
                <a:gd name="T102" fmla="*/ 93768 w 273"/>
                <a:gd name="T103" fmla="*/ 112122 h 414"/>
                <a:gd name="T104" fmla="*/ 96820 w 273"/>
                <a:gd name="T105" fmla="*/ 99085 h 414"/>
                <a:gd name="T106" fmla="*/ 100309 w 273"/>
                <a:gd name="T107" fmla="*/ 87090 h 414"/>
                <a:gd name="T108" fmla="*/ 101182 w 273"/>
                <a:gd name="T109" fmla="*/ 74053 h 41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grpSp>
          <p:nvGrpSpPr>
            <p:cNvPr id="99" name="Group 164">
              <a:extLst>
                <a:ext uri="{FF2B5EF4-FFF2-40B4-BE49-F238E27FC236}">
                  <a16:creationId xmlns:a16="http://schemas.microsoft.com/office/drawing/2014/main" xmlns="" id="{E2129056-3196-6638-4E42-ED5F672E925D}"/>
                </a:ext>
              </a:extLst>
            </p:cNvPr>
            <p:cNvGrpSpPr>
              <a:grpSpLocks/>
            </p:cNvGrpSpPr>
            <p:nvPr>
              <p:custDataLst>
                <p:tags r:id="rId95"/>
              </p:custDataLst>
            </p:nvPr>
          </p:nvGrpSpPr>
          <p:grpSpPr bwMode="auto">
            <a:xfrm>
              <a:off x="2460033" y="2201178"/>
              <a:ext cx="280168" cy="294000"/>
              <a:chOff x="1486" y="2412"/>
              <a:chExt cx="244" cy="256"/>
            </a:xfrm>
            <a:solidFill>
              <a:schemeClr val="accent2"/>
            </a:solidFill>
          </p:grpSpPr>
          <p:sp>
            <p:nvSpPr>
              <p:cNvPr id="479" name="Freeform 165">
                <a:extLst>
                  <a:ext uri="{FF2B5EF4-FFF2-40B4-BE49-F238E27FC236}">
                    <a16:creationId xmlns:a16="http://schemas.microsoft.com/office/drawing/2014/main" xmlns="" id="{D1506A2D-95E2-14D6-FA41-8AD886A548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6 h 22"/>
                  <a:gd name="T4" fmla="*/ 2 w 54"/>
                  <a:gd name="T5" fmla="*/ 6 h 22"/>
                  <a:gd name="T6" fmla="*/ 3 w 54"/>
                  <a:gd name="T7" fmla="*/ 7 h 22"/>
                  <a:gd name="T8" fmla="*/ 5 w 54"/>
                  <a:gd name="T9" fmla="*/ 7 h 22"/>
                  <a:gd name="T10" fmla="*/ 7 w 54"/>
                  <a:gd name="T11" fmla="*/ 7 h 22"/>
                  <a:gd name="T12" fmla="*/ 8 w 54"/>
                  <a:gd name="T13" fmla="*/ 7 h 22"/>
                  <a:gd name="T14" fmla="*/ 9 w 54"/>
                  <a:gd name="T15" fmla="*/ 7 h 22"/>
                  <a:gd name="T16" fmla="*/ 10 w 54"/>
                  <a:gd name="T17" fmla="*/ 6 h 22"/>
                  <a:gd name="T18" fmla="*/ 11 w 54"/>
                  <a:gd name="T19" fmla="*/ 6 h 22"/>
                  <a:gd name="T20" fmla="*/ 12 w 54"/>
                  <a:gd name="T21" fmla="*/ 5 h 22"/>
                  <a:gd name="T22" fmla="*/ 14 w 54"/>
                  <a:gd name="T23" fmla="*/ 4 h 22"/>
                  <a:gd name="T24" fmla="*/ 16 w 54"/>
                  <a:gd name="T25" fmla="*/ 3 h 22"/>
                  <a:gd name="T26" fmla="*/ 18 w 54"/>
                  <a:gd name="T27" fmla="*/ 2 h 22"/>
                  <a:gd name="T28" fmla="*/ 12 w 54"/>
                  <a:gd name="T29" fmla="*/ 2 h 22"/>
                  <a:gd name="T30" fmla="*/ 7 w 54"/>
                  <a:gd name="T31" fmla="*/ 1 h 22"/>
                  <a:gd name="T32" fmla="*/ 2 w 54"/>
                  <a:gd name="T33" fmla="*/ 0 h 22"/>
                  <a:gd name="T34" fmla="*/ 0 w 54"/>
                  <a:gd name="T35" fmla="*/ 0 h 2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80" name="Freeform 166">
                <a:extLst>
                  <a:ext uri="{FF2B5EF4-FFF2-40B4-BE49-F238E27FC236}">
                    <a16:creationId xmlns:a16="http://schemas.microsoft.com/office/drawing/2014/main" xmlns="" id="{D33BF1AE-188F-353A-89D3-C97448FDE4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2 w 6"/>
                  <a:gd name="T1" fmla="*/ 8 h 24"/>
                  <a:gd name="T2" fmla="*/ 2 w 6"/>
                  <a:gd name="T3" fmla="*/ 0 h 24"/>
                  <a:gd name="T4" fmla="*/ 1 w 6"/>
                  <a:gd name="T5" fmla="*/ 0 h 24"/>
                  <a:gd name="T6" fmla="*/ 0 w 6"/>
                  <a:gd name="T7" fmla="*/ 1 h 24"/>
                  <a:gd name="T8" fmla="*/ 0 w 6"/>
                  <a:gd name="T9" fmla="*/ 2 h 24"/>
                  <a:gd name="T10" fmla="*/ 0 w 6"/>
                  <a:gd name="T11" fmla="*/ 4 h 24"/>
                  <a:gd name="T12" fmla="*/ 0 w 6"/>
                  <a:gd name="T13" fmla="*/ 5 h 24"/>
                  <a:gd name="T14" fmla="*/ 0 w 6"/>
                  <a:gd name="T15" fmla="*/ 7 h 24"/>
                  <a:gd name="T16" fmla="*/ 1 w 6"/>
                  <a:gd name="T17" fmla="*/ 8 h 24"/>
                  <a:gd name="T18" fmla="*/ 2 w 6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81" name="Freeform 167">
                <a:extLst>
                  <a:ext uri="{FF2B5EF4-FFF2-40B4-BE49-F238E27FC236}">
                    <a16:creationId xmlns:a16="http://schemas.microsoft.com/office/drawing/2014/main" xmlns="" id="{79E6733B-A113-7BFC-C1F6-29978DE3EE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4 h 12"/>
                  <a:gd name="T2" fmla="*/ 8 w 27"/>
                  <a:gd name="T3" fmla="*/ 4 h 12"/>
                  <a:gd name="T4" fmla="*/ 4 w 27"/>
                  <a:gd name="T5" fmla="*/ 0 h 12"/>
                  <a:gd name="T6" fmla="*/ 0 w 27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82" name="Freeform 168">
                <a:extLst>
                  <a:ext uri="{FF2B5EF4-FFF2-40B4-BE49-F238E27FC236}">
                    <a16:creationId xmlns:a16="http://schemas.microsoft.com/office/drawing/2014/main" xmlns="" id="{79E70DB0-CAC6-6B4F-A9C5-41F34D2E70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3 w 743"/>
                  <a:gd name="T1" fmla="*/ 69 h 672"/>
                  <a:gd name="T2" fmla="*/ 16 w 743"/>
                  <a:gd name="T3" fmla="*/ 89 h 672"/>
                  <a:gd name="T4" fmla="*/ 40 w 743"/>
                  <a:gd name="T5" fmla="*/ 98 h 672"/>
                  <a:gd name="T6" fmla="*/ 55 w 743"/>
                  <a:gd name="T7" fmla="*/ 105 h 672"/>
                  <a:gd name="T8" fmla="*/ 65 w 743"/>
                  <a:gd name="T9" fmla="*/ 115 h 672"/>
                  <a:gd name="T10" fmla="*/ 97 w 743"/>
                  <a:gd name="T11" fmla="*/ 126 h 672"/>
                  <a:gd name="T12" fmla="*/ 94 w 743"/>
                  <a:gd name="T13" fmla="*/ 140 h 672"/>
                  <a:gd name="T14" fmla="*/ 102 w 743"/>
                  <a:gd name="T15" fmla="*/ 171 h 672"/>
                  <a:gd name="T16" fmla="*/ 100 w 743"/>
                  <a:gd name="T17" fmla="*/ 178 h 672"/>
                  <a:gd name="T18" fmla="*/ 99 w 743"/>
                  <a:gd name="T19" fmla="*/ 189 h 672"/>
                  <a:gd name="T20" fmla="*/ 108 w 743"/>
                  <a:gd name="T21" fmla="*/ 206 h 672"/>
                  <a:gd name="T22" fmla="*/ 122 w 743"/>
                  <a:gd name="T23" fmla="*/ 220 h 672"/>
                  <a:gd name="T24" fmla="*/ 136 w 743"/>
                  <a:gd name="T25" fmla="*/ 224 h 672"/>
                  <a:gd name="T26" fmla="*/ 153 w 743"/>
                  <a:gd name="T27" fmla="*/ 218 h 672"/>
                  <a:gd name="T28" fmla="*/ 166 w 743"/>
                  <a:gd name="T29" fmla="*/ 206 h 672"/>
                  <a:gd name="T30" fmla="*/ 172 w 743"/>
                  <a:gd name="T31" fmla="*/ 195 h 672"/>
                  <a:gd name="T32" fmla="*/ 157 w 743"/>
                  <a:gd name="T33" fmla="*/ 156 h 672"/>
                  <a:gd name="T34" fmla="*/ 189 w 743"/>
                  <a:gd name="T35" fmla="*/ 167 h 672"/>
                  <a:gd name="T36" fmla="*/ 197 w 743"/>
                  <a:gd name="T37" fmla="*/ 159 h 672"/>
                  <a:gd name="T38" fmla="*/ 214 w 743"/>
                  <a:gd name="T39" fmla="*/ 148 h 672"/>
                  <a:gd name="T40" fmla="*/ 220 w 743"/>
                  <a:gd name="T41" fmla="*/ 147 h 672"/>
                  <a:gd name="T42" fmla="*/ 225 w 743"/>
                  <a:gd name="T43" fmla="*/ 145 h 672"/>
                  <a:gd name="T44" fmla="*/ 219 w 743"/>
                  <a:gd name="T45" fmla="*/ 109 h 672"/>
                  <a:gd name="T46" fmla="*/ 233 w 743"/>
                  <a:gd name="T47" fmla="*/ 98 h 672"/>
                  <a:gd name="T48" fmla="*/ 234 w 743"/>
                  <a:gd name="T49" fmla="*/ 84 h 672"/>
                  <a:gd name="T50" fmla="*/ 238 w 743"/>
                  <a:gd name="T51" fmla="*/ 78 h 672"/>
                  <a:gd name="T52" fmla="*/ 239 w 743"/>
                  <a:gd name="T53" fmla="*/ 71 h 672"/>
                  <a:gd name="T54" fmla="*/ 230 w 743"/>
                  <a:gd name="T55" fmla="*/ 65 h 672"/>
                  <a:gd name="T56" fmla="*/ 225 w 743"/>
                  <a:gd name="T57" fmla="*/ 56 h 672"/>
                  <a:gd name="T58" fmla="*/ 220 w 743"/>
                  <a:gd name="T59" fmla="*/ 48 h 672"/>
                  <a:gd name="T60" fmla="*/ 210 w 743"/>
                  <a:gd name="T61" fmla="*/ 51 h 672"/>
                  <a:gd name="T62" fmla="*/ 207 w 743"/>
                  <a:gd name="T63" fmla="*/ 45 h 672"/>
                  <a:gd name="T64" fmla="*/ 198 w 743"/>
                  <a:gd name="T65" fmla="*/ 38 h 672"/>
                  <a:gd name="T66" fmla="*/ 192 w 743"/>
                  <a:gd name="T67" fmla="*/ 32 h 672"/>
                  <a:gd name="T68" fmla="*/ 176 w 743"/>
                  <a:gd name="T69" fmla="*/ 25 h 672"/>
                  <a:gd name="T70" fmla="*/ 161 w 743"/>
                  <a:gd name="T71" fmla="*/ 29 h 672"/>
                  <a:gd name="T72" fmla="*/ 155 w 743"/>
                  <a:gd name="T73" fmla="*/ 34 h 672"/>
                  <a:gd name="T74" fmla="*/ 143 w 743"/>
                  <a:gd name="T75" fmla="*/ 39 h 672"/>
                  <a:gd name="T76" fmla="*/ 137 w 743"/>
                  <a:gd name="T77" fmla="*/ 35 h 672"/>
                  <a:gd name="T78" fmla="*/ 129 w 743"/>
                  <a:gd name="T79" fmla="*/ 34 h 672"/>
                  <a:gd name="T80" fmla="*/ 118 w 743"/>
                  <a:gd name="T81" fmla="*/ 28 h 672"/>
                  <a:gd name="T82" fmla="*/ 104 w 743"/>
                  <a:gd name="T83" fmla="*/ 28 h 672"/>
                  <a:gd name="T84" fmla="*/ 96 w 743"/>
                  <a:gd name="T85" fmla="*/ 31 h 672"/>
                  <a:gd name="T86" fmla="*/ 83 w 743"/>
                  <a:gd name="T87" fmla="*/ 31 h 672"/>
                  <a:gd name="T88" fmla="*/ 77 w 743"/>
                  <a:gd name="T89" fmla="*/ 17 h 672"/>
                  <a:gd name="T90" fmla="*/ 59 w 743"/>
                  <a:gd name="T91" fmla="*/ 7 h 672"/>
                  <a:gd name="T92" fmla="*/ 49 w 743"/>
                  <a:gd name="T93" fmla="*/ 3 h 672"/>
                  <a:gd name="T94" fmla="*/ 45 w 743"/>
                  <a:gd name="T95" fmla="*/ 15 h 672"/>
                  <a:gd name="T96" fmla="*/ 39 w 743"/>
                  <a:gd name="T97" fmla="*/ 23 h 672"/>
                  <a:gd name="T98" fmla="*/ 39 w 743"/>
                  <a:gd name="T99" fmla="*/ 46 h 672"/>
                  <a:gd name="T100" fmla="*/ 34 w 743"/>
                  <a:gd name="T101" fmla="*/ 65 h 672"/>
                  <a:gd name="T102" fmla="*/ 29 w 743"/>
                  <a:gd name="T103" fmla="*/ 63 h 672"/>
                  <a:gd name="T104" fmla="*/ 23 w 743"/>
                  <a:gd name="T105" fmla="*/ 61 h 672"/>
                  <a:gd name="T106" fmla="*/ 19 w 743"/>
                  <a:gd name="T107" fmla="*/ 56 h 672"/>
                  <a:gd name="T108" fmla="*/ 17 w 743"/>
                  <a:gd name="T109" fmla="*/ 40 h 672"/>
                  <a:gd name="T110" fmla="*/ 24 w 743"/>
                  <a:gd name="T111" fmla="*/ 20 h 672"/>
                  <a:gd name="T112" fmla="*/ 32 w 743"/>
                  <a:gd name="T113" fmla="*/ 5 h 672"/>
                  <a:gd name="T114" fmla="*/ 17 w 743"/>
                  <a:gd name="T115" fmla="*/ 10 h 672"/>
                  <a:gd name="T116" fmla="*/ 5 w 743"/>
                  <a:gd name="T117" fmla="*/ 23 h 672"/>
                  <a:gd name="T118" fmla="*/ 0 w 743"/>
                  <a:gd name="T119" fmla="*/ 40 h 67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</p:grpSp>
        <p:sp>
          <p:nvSpPr>
            <p:cNvPr id="100" name="Freeform 169">
              <a:extLst>
                <a:ext uri="{FF2B5EF4-FFF2-40B4-BE49-F238E27FC236}">
                  <a16:creationId xmlns:a16="http://schemas.microsoft.com/office/drawing/2014/main" xmlns="" id="{336A2850-AEFF-C34E-54A8-D3E63330D403}"/>
                </a:ext>
              </a:extLst>
            </p:cNvPr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6804018" y="3328373"/>
              <a:ext cx="27467" cy="8134"/>
            </a:xfrm>
            <a:custGeom>
              <a:avLst/>
              <a:gdLst>
                <a:gd name="T0" fmla="*/ 0 w 79"/>
                <a:gd name="T1" fmla="*/ 11112 h 23"/>
                <a:gd name="T2" fmla="*/ 8842 w 79"/>
                <a:gd name="T3" fmla="*/ 6281 h 23"/>
                <a:gd name="T4" fmla="*/ 18085 w 79"/>
                <a:gd name="T5" fmla="*/ 1933 h 23"/>
                <a:gd name="T6" fmla="*/ 22506 w 79"/>
                <a:gd name="T7" fmla="*/ 483 h 23"/>
                <a:gd name="T8" fmla="*/ 26123 w 79"/>
                <a:gd name="T9" fmla="*/ 0 h 23"/>
                <a:gd name="T10" fmla="*/ 27731 w 79"/>
                <a:gd name="T11" fmla="*/ 0 h 23"/>
                <a:gd name="T12" fmla="*/ 29741 w 79"/>
                <a:gd name="T13" fmla="*/ 483 h 23"/>
                <a:gd name="T14" fmla="*/ 30946 w 79"/>
                <a:gd name="T15" fmla="*/ 966 h 23"/>
                <a:gd name="T16" fmla="*/ 31750 w 79"/>
                <a:gd name="T17" fmla="*/ 1933 h 23"/>
                <a:gd name="T18" fmla="*/ 30946 w 79"/>
                <a:gd name="T19" fmla="*/ 3865 h 23"/>
                <a:gd name="T20" fmla="*/ 30142 w 79"/>
                <a:gd name="T21" fmla="*/ 6281 h 23"/>
                <a:gd name="T22" fmla="*/ 28937 w 79"/>
                <a:gd name="T23" fmla="*/ 7730 h 23"/>
                <a:gd name="T24" fmla="*/ 27329 w 79"/>
                <a:gd name="T25" fmla="*/ 9179 h 23"/>
                <a:gd name="T26" fmla="*/ 25722 w 79"/>
                <a:gd name="T27" fmla="*/ 10146 h 23"/>
                <a:gd name="T28" fmla="*/ 23712 w 79"/>
                <a:gd name="T29" fmla="*/ 10629 h 23"/>
                <a:gd name="T30" fmla="*/ 21301 w 79"/>
                <a:gd name="T31" fmla="*/ 11112 h 23"/>
                <a:gd name="T32" fmla="*/ 18487 w 79"/>
                <a:gd name="T33" fmla="*/ 11112 h 23"/>
                <a:gd name="T34" fmla="*/ 14870 w 79"/>
                <a:gd name="T35" fmla="*/ 11112 h 23"/>
                <a:gd name="T36" fmla="*/ 12861 w 79"/>
                <a:gd name="T37" fmla="*/ 10146 h 23"/>
                <a:gd name="T38" fmla="*/ 10449 w 79"/>
                <a:gd name="T39" fmla="*/ 9663 h 23"/>
                <a:gd name="T40" fmla="*/ 9244 w 79"/>
                <a:gd name="T41" fmla="*/ 9179 h 23"/>
                <a:gd name="T42" fmla="*/ 7636 w 79"/>
                <a:gd name="T43" fmla="*/ 8696 h 23"/>
                <a:gd name="T44" fmla="*/ 5627 w 79"/>
                <a:gd name="T45" fmla="*/ 8696 h 23"/>
                <a:gd name="T46" fmla="*/ 3617 w 79"/>
                <a:gd name="T47" fmla="*/ 9663 h 23"/>
                <a:gd name="T48" fmla="*/ 0 w 79"/>
                <a:gd name="T49" fmla="*/ 11112 h 2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01" name="Freeform 170">
              <a:extLst>
                <a:ext uri="{FF2B5EF4-FFF2-40B4-BE49-F238E27FC236}">
                  <a16:creationId xmlns:a16="http://schemas.microsoft.com/office/drawing/2014/main" xmlns="" id="{DD53DE70-B6FE-3AB5-6969-F2E3F0F82AC7}"/>
                </a:ext>
              </a:extLst>
            </p:cNvPr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6904274" y="3425986"/>
              <a:ext cx="1374" cy="3486"/>
            </a:xfrm>
            <a:custGeom>
              <a:avLst/>
              <a:gdLst>
                <a:gd name="T0" fmla="*/ 0 w 1588"/>
                <a:gd name="T1" fmla="*/ 0 h 6"/>
                <a:gd name="T2" fmla="*/ 0 w 1588"/>
                <a:gd name="T3" fmla="*/ 4762 h 6"/>
                <a:gd name="T4" fmla="*/ 0 w 1588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02" name="Line 171">
              <a:extLst>
                <a:ext uri="{FF2B5EF4-FFF2-40B4-BE49-F238E27FC236}">
                  <a16:creationId xmlns:a16="http://schemas.microsoft.com/office/drawing/2014/main" xmlns="" id="{402ABD7B-6EB7-CA95-E3C5-9DB553287C3D}"/>
                </a:ext>
              </a:extLst>
            </p:cNvPr>
            <p:cNvSpPr>
              <a:spLocks noChangeShapeType="1"/>
            </p:cNvSpPr>
            <p:nvPr>
              <p:custDataLst>
                <p:tags r:id="rId98"/>
              </p:custDataLst>
            </p:nvPr>
          </p:nvSpPr>
          <p:spPr bwMode="auto">
            <a:xfrm flipV="1">
              <a:off x="6982558" y="3424823"/>
              <a:ext cx="1373" cy="9296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03" name="Freeform 172">
              <a:extLst>
                <a:ext uri="{FF2B5EF4-FFF2-40B4-BE49-F238E27FC236}">
                  <a16:creationId xmlns:a16="http://schemas.microsoft.com/office/drawing/2014/main" xmlns="" id="{A133FB4B-CC07-7737-F47D-28245A639497}"/>
                </a:ext>
              </a:extLst>
            </p:cNvPr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6982558" y="3424824"/>
              <a:ext cx="2747" cy="11620"/>
            </a:xfrm>
            <a:custGeom>
              <a:avLst/>
              <a:gdLst>
                <a:gd name="T0" fmla="*/ 0 w 5"/>
                <a:gd name="T1" fmla="*/ 0 h 30"/>
                <a:gd name="T2" fmla="*/ 1270 w 5"/>
                <a:gd name="T3" fmla="*/ 529 h 30"/>
                <a:gd name="T4" fmla="*/ 2540 w 5"/>
                <a:gd name="T5" fmla="*/ 2117 h 30"/>
                <a:gd name="T6" fmla="*/ 3175 w 5"/>
                <a:gd name="T7" fmla="*/ 4233 h 30"/>
                <a:gd name="T8" fmla="*/ 3175 w 5"/>
                <a:gd name="T9" fmla="*/ 6879 h 30"/>
                <a:gd name="T10" fmla="*/ 3175 w 5"/>
                <a:gd name="T11" fmla="*/ 9525 h 30"/>
                <a:gd name="T12" fmla="*/ 2540 w 5"/>
                <a:gd name="T13" fmla="*/ 12171 h 30"/>
                <a:gd name="T14" fmla="*/ 1270 w 5"/>
                <a:gd name="T15" fmla="*/ 14287 h 30"/>
                <a:gd name="T16" fmla="*/ 0 w 5"/>
                <a:gd name="T17" fmla="*/ 15875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04" name="Freeform 173">
              <a:extLst>
                <a:ext uri="{FF2B5EF4-FFF2-40B4-BE49-F238E27FC236}">
                  <a16:creationId xmlns:a16="http://schemas.microsoft.com/office/drawing/2014/main" xmlns="" id="{37110FC2-6E20-852B-1CD9-851A3C445D47}"/>
                </a:ext>
              </a:extLst>
            </p:cNvPr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7240752" y="3036697"/>
              <a:ext cx="19227" cy="20917"/>
            </a:xfrm>
            <a:custGeom>
              <a:avLst/>
              <a:gdLst>
                <a:gd name="T0" fmla="*/ 0 w 53"/>
                <a:gd name="T1" fmla="*/ 6235 h 55"/>
                <a:gd name="T2" fmla="*/ 419 w 53"/>
                <a:gd name="T3" fmla="*/ 8832 h 55"/>
                <a:gd name="T4" fmla="*/ 2097 w 53"/>
                <a:gd name="T5" fmla="*/ 11430 h 55"/>
                <a:gd name="T6" fmla="*/ 3774 w 53"/>
                <a:gd name="T7" fmla="*/ 14028 h 55"/>
                <a:gd name="T8" fmla="*/ 6290 w 53"/>
                <a:gd name="T9" fmla="*/ 17145 h 55"/>
                <a:gd name="T10" fmla="*/ 10903 w 53"/>
                <a:gd name="T11" fmla="*/ 22860 h 55"/>
                <a:gd name="T12" fmla="*/ 13838 w 53"/>
                <a:gd name="T13" fmla="*/ 28575 h 55"/>
                <a:gd name="T14" fmla="*/ 22225 w 53"/>
                <a:gd name="T15" fmla="*/ 28575 h 55"/>
                <a:gd name="T16" fmla="*/ 16774 w 53"/>
                <a:gd name="T17" fmla="*/ 21301 h 55"/>
                <a:gd name="T18" fmla="*/ 11742 w 53"/>
                <a:gd name="T19" fmla="*/ 15067 h 55"/>
                <a:gd name="T20" fmla="*/ 9645 w 53"/>
                <a:gd name="T21" fmla="*/ 11950 h 55"/>
                <a:gd name="T22" fmla="*/ 7967 w 53"/>
                <a:gd name="T23" fmla="*/ 8313 h 55"/>
                <a:gd name="T24" fmla="*/ 6709 w 53"/>
                <a:gd name="T25" fmla="*/ 4156 h 55"/>
                <a:gd name="T26" fmla="*/ 5871 w 53"/>
                <a:gd name="T27" fmla="*/ 0 h 55"/>
                <a:gd name="T28" fmla="*/ 2935 w 53"/>
                <a:gd name="T29" fmla="*/ 3117 h 55"/>
                <a:gd name="T30" fmla="*/ 0 w 53"/>
                <a:gd name="T31" fmla="*/ 6235 h 5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05" name="Freeform 174">
              <a:extLst>
                <a:ext uri="{FF2B5EF4-FFF2-40B4-BE49-F238E27FC236}">
                  <a16:creationId xmlns:a16="http://schemas.microsoft.com/office/drawing/2014/main" xmlns="" id="{BF79AEB3-10CC-1E4D-A63E-ECF029E6AEFA}"/>
                </a:ext>
              </a:extLst>
            </p:cNvPr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7246246" y="2983242"/>
              <a:ext cx="23347" cy="29052"/>
            </a:xfrm>
            <a:custGeom>
              <a:avLst/>
              <a:gdLst>
                <a:gd name="T0" fmla="*/ 0 w 65"/>
                <a:gd name="T1" fmla="*/ 16934 h 75"/>
                <a:gd name="T2" fmla="*/ 3737 w 65"/>
                <a:gd name="T3" fmla="*/ 22754 h 75"/>
                <a:gd name="T4" fmla="*/ 8304 w 65"/>
                <a:gd name="T5" fmla="*/ 29105 h 75"/>
                <a:gd name="T6" fmla="*/ 10795 w 65"/>
                <a:gd name="T7" fmla="*/ 32280 h 75"/>
                <a:gd name="T8" fmla="*/ 13286 w 65"/>
                <a:gd name="T9" fmla="*/ 35455 h 75"/>
                <a:gd name="T10" fmla="*/ 16192 w 65"/>
                <a:gd name="T11" fmla="*/ 37571 h 75"/>
                <a:gd name="T12" fmla="*/ 19098 w 65"/>
                <a:gd name="T13" fmla="*/ 39688 h 75"/>
                <a:gd name="T14" fmla="*/ 21174 w 65"/>
                <a:gd name="T15" fmla="*/ 32280 h 75"/>
                <a:gd name="T16" fmla="*/ 24081 w 65"/>
                <a:gd name="T17" fmla="*/ 25400 h 75"/>
                <a:gd name="T18" fmla="*/ 25326 w 65"/>
                <a:gd name="T19" fmla="*/ 22225 h 75"/>
                <a:gd name="T20" fmla="*/ 26157 w 65"/>
                <a:gd name="T21" fmla="*/ 19050 h 75"/>
                <a:gd name="T22" fmla="*/ 26987 w 65"/>
                <a:gd name="T23" fmla="*/ 16404 h 75"/>
                <a:gd name="T24" fmla="*/ 26987 w 65"/>
                <a:gd name="T25" fmla="*/ 13759 h 75"/>
                <a:gd name="T26" fmla="*/ 26987 w 65"/>
                <a:gd name="T27" fmla="*/ 11113 h 75"/>
                <a:gd name="T28" fmla="*/ 26157 w 65"/>
                <a:gd name="T29" fmla="*/ 9525 h 75"/>
                <a:gd name="T30" fmla="*/ 25326 w 65"/>
                <a:gd name="T31" fmla="*/ 6879 h 75"/>
                <a:gd name="T32" fmla="*/ 24081 w 65"/>
                <a:gd name="T33" fmla="*/ 5292 h 75"/>
                <a:gd name="T34" fmla="*/ 21174 w 65"/>
                <a:gd name="T35" fmla="*/ 2646 h 75"/>
                <a:gd name="T36" fmla="*/ 19098 w 65"/>
                <a:gd name="T37" fmla="*/ 0 h 75"/>
                <a:gd name="T38" fmla="*/ 14116 w 65"/>
                <a:gd name="T39" fmla="*/ 0 h 75"/>
                <a:gd name="T40" fmla="*/ 10795 w 65"/>
                <a:gd name="T41" fmla="*/ 0 h 75"/>
                <a:gd name="T42" fmla="*/ 10380 w 65"/>
                <a:gd name="T43" fmla="*/ 1058 h 75"/>
                <a:gd name="T44" fmla="*/ 9964 w 65"/>
                <a:gd name="T45" fmla="*/ 3704 h 75"/>
                <a:gd name="T46" fmla="*/ 9549 w 65"/>
                <a:gd name="T47" fmla="*/ 4763 h 75"/>
                <a:gd name="T48" fmla="*/ 9549 w 65"/>
                <a:gd name="T49" fmla="*/ 5821 h 75"/>
                <a:gd name="T50" fmla="*/ 9964 w 65"/>
                <a:gd name="T51" fmla="*/ 6350 h 75"/>
                <a:gd name="T52" fmla="*/ 10795 w 65"/>
                <a:gd name="T53" fmla="*/ 6879 h 7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06" name="Freeform 175">
              <a:extLst>
                <a:ext uri="{FF2B5EF4-FFF2-40B4-BE49-F238E27FC236}">
                  <a16:creationId xmlns:a16="http://schemas.microsoft.com/office/drawing/2014/main" xmlns="" id="{9E1D5F44-52ED-30E4-78B0-BE6D4C049A78}"/>
                </a:ext>
              </a:extLst>
            </p:cNvPr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7225645" y="2965812"/>
              <a:ext cx="15108" cy="22079"/>
            </a:xfrm>
            <a:custGeom>
              <a:avLst/>
              <a:gdLst>
                <a:gd name="T0" fmla="*/ 0 w 40"/>
                <a:gd name="T1" fmla="*/ 30162 h 62"/>
                <a:gd name="T2" fmla="*/ 1310 w 40"/>
                <a:gd name="T3" fmla="*/ 25297 h 62"/>
                <a:gd name="T4" fmla="*/ 3056 w 40"/>
                <a:gd name="T5" fmla="*/ 20919 h 62"/>
                <a:gd name="T6" fmla="*/ 5239 w 40"/>
                <a:gd name="T7" fmla="*/ 16054 h 62"/>
                <a:gd name="T8" fmla="*/ 7422 w 40"/>
                <a:gd name="T9" fmla="*/ 12162 h 62"/>
                <a:gd name="T10" fmla="*/ 10041 w 40"/>
                <a:gd name="T11" fmla="*/ 8270 h 62"/>
                <a:gd name="T12" fmla="*/ 12661 w 40"/>
                <a:gd name="T13" fmla="*/ 4378 h 62"/>
                <a:gd name="T14" fmla="*/ 15280 w 40"/>
                <a:gd name="T15" fmla="*/ 1459 h 62"/>
                <a:gd name="T16" fmla="*/ 17463 w 40"/>
                <a:gd name="T17" fmla="*/ 0 h 6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07" name="Freeform 176">
              <a:extLst>
                <a:ext uri="{FF2B5EF4-FFF2-40B4-BE49-F238E27FC236}">
                  <a16:creationId xmlns:a16="http://schemas.microsoft.com/office/drawing/2014/main" xmlns="" id="{263138CD-6F14-33B9-03AD-A7FDB691EAF7}"/>
                </a:ext>
              </a:extLst>
            </p:cNvPr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7155602" y="2876333"/>
              <a:ext cx="59055" cy="101100"/>
            </a:xfrm>
            <a:custGeom>
              <a:avLst/>
              <a:gdLst>
                <a:gd name="T0" fmla="*/ 68262 w 159"/>
                <a:gd name="T1" fmla="*/ 138113 h 259"/>
                <a:gd name="T2" fmla="*/ 68262 w 159"/>
                <a:gd name="T3" fmla="*/ 133847 h 259"/>
                <a:gd name="T4" fmla="*/ 68262 w 159"/>
                <a:gd name="T5" fmla="*/ 130114 h 259"/>
                <a:gd name="T6" fmla="*/ 68262 w 159"/>
                <a:gd name="T7" fmla="*/ 125848 h 259"/>
                <a:gd name="T8" fmla="*/ 68262 w 159"/>
                <a:gd name="T9" fmla="*/ 121582 h 259"/>
                <a:gd name="T10" fmla="*/ 68262 w 159"/>
                <a:gd name="T11" fmla="*/ 119449 h 259"/>
                <a:gd name="T12" fmla="*/ 67833 w 159"/>
                <a:gd name="T13" fmla="*/ 116783 h 259"/>
                <a:gd name="T14" fmla="*/ 66974 w 159"/>
                <a:gd name="T15" fmla="*/ 114650 h 259"/>
                <a:gd name="T16" fmla="*/ 65686 w 159"/>
                <a:gd name="T17" fmla="*/ 111984 h 259"/>
                <a:gd name="T18" fmla="*/ 62252 w 159"/>
                <a:gd name="T19" fmla="*/ 107717 h 259"/>
                <a:gd name="T20" fmla="*/ 57958 w 159"/>
                <a:gd name="T21" fmla="*/ 103985 h 259"/>
                <a:gd name="T22" fmla="*/ 53236 w 159"/>
                <a:gd name="T23" fmla="*/ 100785 h 259"/>
                <a:gd name="T24" fmla="*/ 48084 w 159"/>
                <a:gd name="T25" fmla="*/ 98119 h 259"/>
                <a:gd name="T26" fmla="*/ 42503 w 159"/>
                <a:gd name="T27" fmla="*/ 95986 h 259"/>
                <a:gd name="T28" fmla="*/ 37351 w 159"/>
                <a:gd name="T29" fmla="*/ 95453 h 259"/>
                <a:gd name="T30" fmla="*/ 36492 w 159"/>
                <a:gd name="T31" fmla="*/ 94919 h 259"/>
                <a:gd name="T32" fmla="*/ 35204 w 159"/>
                <a:gd name="T33" fmla="*/ 94386 h 259"/>
                <a:gd name="T34" fmla="*/ 34775 w 159"/>
                <a:gd name="T35" fmla="*/ 93320 h 259"/>
                <a:gd name="T36" fmla="*/ 34346 w 159"/>
                <a:gd name="T37" fmla="*/ 92253 h 259"/>
                <a:gd name="T38" fmla="*/ 34346 w 159"/>
                <a:gd name="T39" fmla="*/ 89054 h 259"/>
                <a:gd name="T40" fmla="*/ 34775 w 159"/>
                <a:gd name="T41" fmla="*/ 85854 h 259"/>
                <a:gd name="T42" fmla="*/ 36492 w 159"/>
                <a:gd name="T43" fmla="*/ 78922 h 259"/>
                <a:gd name="T44" fmla="*/ 37351 w 159"/>
                <a:gd name="T45" fmla="*/ 75722 h 259"/>
                <a:gd name="T46" fmla="*/ 31340 w 159"/>
                <a:gd name="T47" fmla="*/ 75189 h 259"/>
                <a:gd name="T48" fmla="*/ 25330 w 159"/>
                <a:gd name="T49" fmla="*/ 74122 h 259"/>
                <a:gd name="T50" fmla="*/ 20607 w 159"/>
                <a:gd name="T51" fmla="*/ 71989 h 259"/>
                <a:gd name="T52" fmla="*/ 17173 w 159"/>
                <a:gd name="T53" fmla="*/ 68790 h 259"/>
                <a:gd name="T54" fmla="*/ 13309 w 159"/>
                <a:gd name="T55" fmla="*/ 64524 h 259"/>
                <a:gd name="T56" fmla="*/ 10304 w 159"/>
                <a:gd name="T57" fmla="*/ 60258 h 259"/>
                <a:gd name="T58" fmla="*/ 7728 w 159"/>
                <a:gd name="T59" fmla="*/ 55459 h 259"/>
                <a:gd name="T60" fmla="*/ 5581 w 159"/>
                <a:gd name="T61" fmla="*/ 50126 h 259"/>
                <a:gd name="T62" fmla="*/ 3864 w 159"/>
                <a:gd name="T63" fmla="*/ 44793 h 259"/>
                <a:gd name="T64" fmla="*/ 3005 w 159"/>
                <a:gd name="T65" fmla="*/ 38928 h 259"/>
                <a:gd name="T66" fmla="*/ 2147 w 159"/>
                <a:gd name="T67" fmla="*/ 31995 h 259"/>
                <a:gd name="T68" fmla="*/ 859 w 159"/>
                <a:gd name="T69" fmla="*/ 25596 h 259"/>
                <a:gd name="T70" fmla="*/ 0 w 159"/>
                <a:gd name="T71" fmla="*/ 13331 h 259"/>
                <a:gd name="T72" fmla="*/ 0 w 159"/>
                <a:gd name="T73" fmla="*/ 0 h 25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08" name="Line 177">
              <a:extLst>
                <a:ext uri="{FF2B5EF4-FFF2-40B4-BE49-F238E27FC236}">
                  <a16:creationId xmlns:a16="http://schemas.microsoft.com/office/drawing/2014/main" xmlns="" id="{3A711856-908A-BB2A-464C-1F3FDFE54147}"/>
                </a:ext>
              </a:extLst>
            </p:cNvPr>
            <p:cNvSpPr>
              <a:spLocks noChangeShapeType="1"/>
            </p:cNvSpPr>
            <p:nvPr>
              <p:custDataLst>
                <p:tags r:id="rId104"/>
              </p:custDataLst>
            </p:nvPr>
          </p:nvSpPr>
          <p:spPr bwMode="auto">
            <a:xfrm flipH="1" flipV="1">
              <a:off x="7150108" y="2851930"/>
              <a:ext cx="5493" cy="24403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09" name="Freeform 178">
              <a:extLst>
                <a:ext uri="{FF2B5EF4-FFF2-40B4-BE49-F238E27FC236}">
                  <a16:creationId xmlns:a16="http://schemas.microsoft.com/office/drawing/2014/main" xmlns="" id="{884247FD-9C87-7BFD-474B-454D7A5A60D3}"/>
                </a:ext>
              </a:extLst>
            </p:cNvPr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7150108" y="2840310"/>
              <a:ext cx="5493" cy="11620"/>
            </a:xfrm>
            <a:custGeom>
              <a:avLst/>
              <a:gdLst>
                <a:gd name="T0" fmla="*/ 0 w 13"/>
                <a:gd name="T1" fmla="*/ 15875 h 25"/>
                <a:gd name="T2" fmla="*/ 488 w 13"/>
                <a:gd name="T3" fmla="*/ 12065 h 25"/>
                <a:gd name="T4" fmla="*/ 1954 w 13"/>
                <a:gd name="T5" fmla="*/ 8255 h 25"/>
                <a:gd name="T6" fmla="*/ 3908 w 13"/>
                <a:gd name="T7" fmla="*/ 3810 h 25"/>
                <a:gd name="T8" fmla="*/ 6350 w 13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10" name="Line 179">
              <a:extLst>
                <a:ext uri="{FF2B5EF4-FFF2-40B4-BE49-F238E27FC236}">
                  <a16:creationId xmlns:a16="http://schemas.microsoft.com/office/drawing/2014/main" xmlns="" id="{B90A1FA3-5723-9631-2527-D5699B6388EC}"/>
                </a:ext>
              </a:extLst>
            </p:cNvPr>
            <p:cNvSpPr>
              <a:spLocks noChangeShapeType="1"/>
            </p:cNvSpPr>
            <p:nvPr>
              <p:custDataLst>
                <p:tags r:id="rId106"/>
              </p:custDataLst>
            </p:nvPr>
          </p:nvSpPr>
          <p:spPr bwMode="auto">
            <a:xfrm flipV="1">
              <a:off x="7155602" y="2831013"/>
              <a:ext cx="0" cy="9296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11" name="Freeform 180">
              <a:extLst>
                <a:ext uri="{FF2B5EF4-FFF2-40B4-BE49-F238E27FC236}">
                  <a16:creationId xmlns:a16="http://schemas.microsoft.com/office/drawing/2014/main" xmlns="" id="{469AE1A8-1B48-E9EA-8C07-B9F996014A83}"/>
                </a:ext>
              </a:extLst>
            </p:cNvPr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7115774" y="2782206"/>
              <a:ext cx="39828" cy="48806"/>
            </a:xfrm>
            <a:custGeom>
              <a:avLst/>
              <a:gdLst>
                <a:gd name="T0" fmla="*/ 46038 w 100"/>
                <a:gd name="T1" fmla="*/ 66675 h 123"/>
                <a:gd name="T2" fmla="*/ 41434 w 100"/>
                <a:gd name="T3" fmla="*/ 66133 h 123"/>
                <a:gd name="T4" fmla="*/ 34989 w 100"/>
                <a:gd name="T5" fmla="*/ 64507 h 123"/>
                <a:gd name="T6" fmla="*/ 27623 w 100"/>
                <a:gd name="T7" fmla="*/ 61796 h 123"/>
                <a:gd name="T8" fmla="*/ 19796 w 100"/>
                <a:gd name="T9" fmla="*/ 58002 h 123"/>
                <a:gd name="T10" fmla="*/ 15653 w 100"/>
                <a:gd name="T11" fmla="*/ 55834 h 123"/>
                <a:gd name="T12" fmla="*/ 12430 w 100"/>
                <a:gd name="T13" fmla="*/ 53665 h 123"/>
                <a:gd name="T14" fmla="*/ 9208 w 100"/>
                <a:gd name="T15" fmla="*/ 50955 h 123"/>
                <a:gd name="T16" fmla="*/ 5985 w 100"/>
                <a:gd name="T17" fmla="*/ 48245 h 123"/>
                <a:gd name="T18" fmla="*/ 3683 w 100"/>
                <a:gd name="T19" fmla="*/ 45534 h 123"/>
                <a:gd name="T20" fmla="*/ 1842 w 100"/>
                <a:gd name="T21" fmla="*/ 42824 h 123"/>
                <a:gd name="T22" fmla="*/ 460 w 100"/>
                <a:gd name="T23" fmla="*/ 39571 h 123"/>
                <a:gd name="T24" fmla="*/ 0 w 100"/>
                <a:gd name="T25" fmla="*/ 36861 h 123"/>
                <a:gd name="T26" fmla="*/ 921 w 100"/>
                <a:gd name="T27" fmla="*/ 29814 h 123"/>
                <a:gd name="T28" fmla="*/ 3223 w 100"/>
                <a:gd name="T29" fmla="*/ 19515 h 123"/>
                <a:gd name="T30" fmla="*/ 5064 w 100"/>
                <a:gd name="T31" fmla="*/ 9215 h 123"/>
                <a:gd name="T32" fmla="*/ 5985 w 100"/>
                <a:gd name="T33" fmla="*/ 0 h 1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12" name="Freeform 181">
              <a:extLst>
                <a:ext uri="{FF2B5EF4-FFF2-40B4-BE49-F238E27FC236}">
                  <a16:creationId xmlns:a16="http://schemas.microsoft.com/office/drawing/2014/main" xmlns="" id="{85FB0F29-83EB-DAA5-751A-CBE6DC52D6DD}"/>
                </a:ext>
              </a:extLst>
            </p:cNvPr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7128135" y="2740372"/>
              <a:ext cx="1373" cy="37186"/>
            </a:xfrm>
            <a:custGeom>
              <a:avLst/>
              <a:gdLst>
                <a:gd name="T0" fmla="*/ 1587 w 5"/>
                <a:gd name="T1" fmla="*/ 0 h 99"/>
                <a:gd name="T2" fmla="*/ 1270 w 5"/>
                <a:gd name="T3" fmla="*/ 17446 h 99"/>
                <a:gd name="T4" fmla="*/ 317 w 5"/>
                <a:gd name="T5" fmla="*/ 30275 h 99"/>
                <a:gd name="T6" fmla="*/ 0 w 5"/>
                <a:gd name="T7" fmla="*/ 35406 h 99"/>
                <a:gd name="T8" fmla="*/ 0 w 5"/>
                <a:gd name="T9" fmla="*/ 40024 h 99"/>
                <a:gd name="T10" fmla="*/ 635 w 5"/>
                <a:gd name="T11" fmla="*/ 44642 h 99"/>
                <a:gd name="T12" fmla="*/ 1587 w 5"/>
                <a:gd name="T13" fmla="*/ 50800 h 9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13" name="Freeform 182">
              <a:extLst>
                <a:ext uri="{FF2B5EF4-FFF2-40B4-BE49-F238E27FC236}">
                  <a16:creationId xmlns:a16="http://schemas.microsoft.com/office/drawing/2014/main" xmlns="" id="{4CF87D54-3209-2246-8E26-05C30005666E}"/>
                </a:ext>
              </a:extLst>
            </p:cNvPr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7133629" y="2735724"/>
              <a:ext cx="6866" cy="26727"/>
            </a:xfrm>
            <a:custGeom>
              <a:avLst/>
              <a:gdLst>
                <a:gd name="T0" fmla="*/ 7937 w 14"/>
                <a:gd name="T1" fmla="*/ 0 h 68"/>
                <a:gd name="T2" fmla="*/ 4535 w 14"/>
                <a:gd name="T3" fmla="*/ 8591 h 68"/>
                <a:gd name="T4" fmla="*/ 2268 w 14"/>
                <a:gd name="T5" fmla="*/ 17719 h 68"/>
                <a:gd name="T6" fmla="*/ 1134 w 14"/>
                <a:gd name="T7" fmla="*/ 27921 h 68"/>
                <a:gd name="T8" fmla="*/ 0 w 14"/>
                <a:gd name="T9" fmla="*/ 36512 h 6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14" name="Freeform 183">
              <a:extLst>
                <a:ext uri="{FF2B5EF4-FFF2-40B4-BE49-F238E27FC236}">
                  <a16:creationId xmlns:a16="http://schemas.microsoft.com/office/drawing/2014/main" xmlns="" id="{E32EBDF8-65C0-D17B-E32B-7F6E0F4A08AF}"/>
                </a:ext>
              </a:extLst>
            </p:cNvPr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7147363" y="2721780"/>
              <a:ext cx="1373" cy="16269"/>
            </a:xfrm>
            <a:custGeom>
              <a:avLst/>
              <a:gdLst>
                <a:gd name="T0" fmla="*/ 0 w 1587"/>
                <a:gd name="T1" fmla="*/ 0 h 43"/>
                <a:gd name="T2" fmla="*/ 0 w 1587"/>
                <a:gd name="T3" fmla="*/ 6719 h 43"/>
                <a:gd name="T4" fmla="*/ 0 w 1587"/>
                <a:gd name="T5" fmla="*/ 13438 h 43"/>
                <a:gd name="T6" fmla="*/ 0 w 1587"/>
                <a:gd name="T7" fmla="*/ 19124 h 43"/>
                <a:gd name="T8" fmla="*/ 0 w 1587"/>
                <a:gd name="T9" fmla="*/ 22225 h 4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15" name="Line 184">
              <a:extLst>
                <a:ext uri="{FF2B5EF4-FFF2-40B4-BE49-F238E27FC236}">
                  <a16:creationId xmlns:a16="http://schemas.microsoft.com/office/drawing/2014/main" xmlns="" id="{1DA532BC-345D-EE2B-47CA-D92FC54031E1}"/>
                </a:ext>
              </a:extLst>
            </p:cNvPr>
            <p:cNvSpPr>
              <a:spLocks noChangeShapeType="1"/>
            </p:cNvSpPr>
            <p:nvPr>
              <p:custDataLst>
                <p:tags r:id="rId111"/>
              </p:custDataLst>
            </p:nvPr>
          </p:nvSpPr>
          <p:spPr bwMode="auto">
            <a:xfrm flipV="1">
              <a:off x="7147363" y="2735725"/>
              <a:ext cx="1373" cy="232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16" name="Freeform 185">
              <a:extLst>
                <a:ext uri="{FF2B5EF4-FFF2-40B4-BE49-F238E27FC236}">
                  <a16:creationId xmlns:a16="http://schemas.microsoft.com/office/drawing/2014/main" xmlns="" id="{B84B6308-663B-90E0-4B8C-5BFCFF5503C1}"/>
                </a:ext>
              </a:extLst>
            </p:cNvPr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7133629" y="2724104"/>
              <a:ext cx="1373" cy="11620"/>
            </a:xfrm>
            <a:custGeom>
              <a:avLst/>
              <a:gdLst>
                <a:gd name="T0" fmla="*/ 0 w 1587"/>
                <a:gd name="T1" fmla="*/ 15875 h 31"/>
                <a:gd name="T2" fmla="*/ 0 w 1587"/>
                <a:gd name="T3" fmla="*/ 11266 h 31"/>
                <a:gd name="T4" fmla="*/ 0 w 1587"/>
                <a:gd name="T5" fmla="*/ 7681 h 31"/>
                <a:gd name="T6" fmla="*/ 0 w 1587"/>
                <a:gd name="T7" fmla="*/ 4097 h 31"/>
                <a:gd name="T8" fmla="*/ 0 w 158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17" name="Freeform 186">
              <a:extLst>
                <a:ext uri="{FF2B5EF4-FFF2-40B4-BE49-F238E27FC236}">
                  <a16:creationId xmlns:a16="http://schemas.microsoft.com/office/drawing/2014/main" xmlns="" id="{AB017D37-5007-373A-FCDD-EF72FB766954}"/>
                </a:ext>
              </a:extLst>
            </p:cNvPr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6891915" y="3448065"/>
              <a:ext cx="83775" cy="63914"/>
            </a:xfrm>
            <a:custGeom>
              <a:avLst/>
              <a:gdLst>
                <a:gd name="T0" fmla="*/ 8177 w 225"/>
                <a:gd name="T1" fmla="*/ 82608 h 167"/>
                <a:gd name="T2" fmla="*/ 3013 w 225"/>
                <a:gd name="T3" fmla="*/ 74242 h 167"/>
                <a:gd name="T4" fmla="*/ 0 w 225"/>
                <a:gd name="T5" fmla="*/ 67968 h 167"/>
                <a:gd name="T6" fmla="*/ 430 w 225"/>
                <a:gd name="T7" fmla="*/ 56466 h 167"/>
                <a:gd name="T8" fmla="*/ 4734 w 225"/>
                <a:gd name="T9" fmla="*/ 35553 h 167"/>
                <a:gd name="T10" fmla="*/ 10329 w 225"/>
                <a:gd name="T11" fmla="*/ 20390 h 167"/>
                <a:gd name="T12" fmla="*/ 14633 w 225"/>
                <a:gd name="T13" fmla="*/ 10979 h 167"/>
                <a:gd name="T14" fmla="*/ 18937 w 225"/>
                <a:gd name="T15" fmla="*/ 4705 h 167"/>
                <a:gd name="T16" fmla="*/ 23241 w 225"/>
                <a:gd name="T17" fmla="*/ 523 h 167"/>
                <a:gd name="T18" fmla="*/ 27975 w 225"/>
                <a:gd name="T19" fmla="*/ 523 h 167"/>
                <a:gd name="T20" fmla="*/ 32709 w 225"/>
                <a:gd name="T21" fmla="*/ 1568 h 167"/>
                <a:gd name="T22" fmla="*/ 37874 w 225"/>
                <a:gd name="T23" fmla="*/ 4183 h 167"/>
                <a:gd name="T24" fmla="*/ 43039 w 225"/>
                <a:gd name="T25" fmla="*/ 8888 h 167"/>
                <a:gd name="T26" fmla="*/ 48203 w 225"/>
                <a:gd name="T27" fmla="*/ 12548 h 167"/>
                <a:gd name="T28" fmla="*/ 55089 w 225"/>
                <a:gd name="T29" fmla="*/ 12548 h 167"/>
                <a:gd name="T30" fmla="*/ 62406 w 225"/>
                <a:gd name="T31" fmla="*/ 9934 h 167"/>
                <a:gd name="T32" fmla="*/ 71014 w 225"/>
                <a:gd name="T33" fmla="*/ 3660 h 167"/>
                <a:gd name="T34" fmla="*/ 96837 w 225"/>
                <a:gd name="T35" fmla="*/ 0 h 167"/>
                <a:gd name="T36" fmla="*/ 92533 w 225"/>
                <a:gd name="T37" fmla="*/ 11502 h 167"/>
                <a:gd name="T38" fmla="*/ 86508 w 225"/>
                <a:gd name="T39" fmla="*/ 21436 h 167"/>
                <a:gd name="T40" fmla="*/ 72305 w 225"/>
                <a:gd name="T41" fmla="*/ 37644 h 167"/>
                <a:gd name="T42" fmla="*/ 59393 w 225"/>
                <a:gd name="T43" fmla="*/ 52283 h 167"/>
                <a:gd name="T44" fmla="*/ 55520 w 225"/>
                <a:gd name="T45" fmla="*/ 59603 h 167"/>
                <a:gd name="T46" fmla="*/ 54229 w 225"/>
                <a:gd name="T47" fmla="*/ 67968 h 167"/>
                <a:gd name="T48" fmla="*/ 52938 w 225"/>
                <a:gd name="T49" fmla="*/ 65877 h 167"/>
                <a:gd name="T50" fmla="*/ 51646 w 225"/>
                <a:gd name="T51" fmla="*/ 61171 h 167"/>
                <a:gd name="T52" fmla="*/ 45621 w 225"/>
                <a:gd name="T53" fmla="*/ 63263 h 167"/>
                <a:gd name="T54" fmla="*/ 41748 w 225"/>
                <a:gd name="T55" fmla="*/ 66923 h 167"/>
                <a:gd name="T56" fmla="*/ 34431 w 225"/>
                <a:gd name="T57" fmla="*/ 75811 h 167"/>
                <a:gd name="T58" fmla="*/ 30557 w 225"/>
                <a:gd name="T59" fmla="*/ 79993 h 167"/>
                <a:gd name="T60" fmla="*/ 25823 w 225"/>
                <a:gd name="T61" fmla="*/ 83653 h 167"/>
                <a:gd name="T62" fmla="*/ 19798 w 225"/>
                <a:gd name="T63" fmla="*/ 86267 h 167"/>
                <a:gd name="T64" fmla="*/ 11190 w 225"/>
                <a:gd name="T65" fmla="*/ 87313 h 1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18" name="Freeform 187">
              <a:extLst>
                <a:ext uri="{FF2B5EF4-FFF2-40B4-BE49-F238E27FC236}">
                  <a16:creationId xmlns:a16="http://schemas.microsoft.com/office/drawing/2014/main" xmlns="" id="{FF220EDD-AC52-A578-2C4C-232DDC251033}"/>
                </a:ext>
              </a:extLst>
            </p:cNvPr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7011398" y="2876333"/>
              <a:ext cx="2747" cy="12783"/>
            </a:xfrm>
            <a:custGeom>
              <a:avLst/>
              <a:gdLst>
                <a:gd name="T0" fmla="*/ 0 w 7"/>
                <a:gd name="T1" fmla="*/ 17463 h 31"/>
                <a:gd name="T2" fmla="*/ 2268 w 7"/>
                <a:gd name="T3" fmla="*/ 12393 h 31"/>
                <a:gd name="T4" fmla="*/ 2721 w 7"/>
                <a:gd name="T5" fmla="*/ 7323 h 31"/>
                <a:gd name="T6" fmla="*/ 3175 w 7"/>
                <a:gd name="T7" fmla="*/ 3380 h 31"/>
                <a:gd name="T8" fmla="*/ 3175 w 7"/>
                <a:gd name="T9" fmla="*/ 0 h 31"/>
                <a:gd name="T10" fmla="*/ 2721 w 7"/>
                <a:gd name="T11" fmla="*/ 3380 h 31"/>
                <a:gd name="T12" fmla="*/ 1814 w 7"/>
                <a:gd name="T13" fmla="*/ 7323 h 31"/>
                <a:gd name="T14" fmla="*/ 454 w 7"/>
                <a:gd name="T15" fmla="*/ 12393 h 31"/>
                <a:gd name="T16" fmla="*/ 0 w 7"/>
                <a:gd name="T17" fmla="*/ 17463 h 3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19" name="Freeform 188">
              <a:extLst>
                <a:ext uri="{FF2B5EF4-FFF2-40B4-BE49-F238E27FC236}">
                  <a16:creationId xmlns:a16="http://schemas.microsoft.com/office/drawing/2014/main" xmlns="" id="{8A2C85B3-1AB6-665D-E7DF-6DB3AE716FF8}"/>
                </a:ext>
              </a:extLst>
            </p:cNvPr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6953716" y="2819393"/>
              <a:ext cx="13734" cy="11620"/>
            </a:xfrm>
            <a:custGeom>
              <a:avLst/>
              <a:gdLst>
                <a:gd name="T0" fmla="*/ 15875 w 33"/>
                <a:gd name="T1" fmla="*/ 15875 h 31"/>
                <a:gd name="T2" fmla="*/ 15875 w 33"/>
                <a:gd name="T3" fmla="*/ 0 h 31"/>
                <a:gd name="T4" fmla="*/ 12989 w 33"/>
                <a:gd name="T5" fmla="*/ 0 h 31"/>
                <a:gd name="T6" fmla="*/ 10583 w 33"/>
                <a:gd name="T7" fmla="*/ 1024 h 31"/>
                <a:gd name="T8" fmla="*/ 7697 w 33"/>
                <a:gd name="T9" fmla="*/ 2560 h 31"/>
                <a:gd name="T10" fmla="*/ 5292 w 33"/>
                <a:gd name="T11" fmla="*/ 4097 h 31"/>
                <a:gd name="T12" fmla="*/ 2886 w 33"/>
                <a:gd name="T13" fmla="*/ 6145 h 31"/>
                <a:gd name="T14" fmla="*/ 1443 w 33"/>
                <a:gd name="T15" fmla="*/ 8194 h 31"/>
                <a:gd name="T16" fmla="*/ 481 w 33"/>
                <a:gd name="T17" fmla="*/ 10754 h 31"/>
                <a:gd name="T18" fmla="*/ 0 w 33"/>
                <a:gd name="T19" fmla="*/ 12802 h 31"/>
                <a:gd name="T20" fmla="*/ 481 w 33"/>
                <a:gd name="T21" fmla="*/ 13827 h 31"/>
                <a:gd name="T22" fmla="*/ 1443 w 33"/>
                <a:gd name="T23" fmla="*/ 14851 h 31"/>
                <a:gd name="T24" fmla="*/ 2886 w 33"/>
                <a:gd name="T25" fmla="*/ 15363 h 31"/>
                <a:gd name="T26" fmla="*/ 5292 w 33"/>
                <a:gd name="T27" fmla="*/ 15363 h 31"/>
                <a:gd name="T28" fmla="*/ 10583 w 33"/>
                <a:gd name="T29" fmla="*/ 15875 h 31"/>
                <a:gd name="T30" fmla="*/ 15875 w 33"/>
                <a:gd name="T31" fmla="*/ 15875 h 3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20" name="Freeform 189">
              <a:extLst>
                <a:ext uri="{FF2B5EF4-FFF2-40B4-BE49-F238E27FC236}">
                  <a16:creationId xmlns:a16="http://schemas.microsoft.com/office/drawing/2014/main" xmlns="" id="{5D7DC347-2DB3-9DD6-24FC-F236BA3227F8}"/>
                </a:ext>
              </a:extLst>
            </p:cNvPr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6967450" y="2755478"/>
              <a:ext cx="2747" cy="6973"/>
            </a:xfrm>
            <a:custGeom>
              <a:avLst/>
              <a:gdLst>
                <a:gd name="T0" fmla="*/ 0 w 13"/>
                <a:gd name="T1" fmla="*/ 9525 h 19"/>
                <a:gd name="T2" fmla="*/ 488 w 13"/>
                <a:gd name="T3" fmla="*/ 9024 h 19"/>
                <a:gd name="T4" fmla="*/ 1221 w 13"/>
                <a:gd name="T5" fmla="*/ 8522 h 19"/>
                <a:gd name="T6" fmla="*/ 1710 w 13"/>
                <a:gd name="T7" fmla="*/ 7520 h 19"/>
                <a:gd name="T8" fmla="*/ 1954 w 13"/>
                <a:gd name="T9" fmla="*/ 6016 h 19"/>
                <a:gd name="T10" fmla="*/ 2931 w 13"/>
                <a:gd name="T11" fmla="*/ 3008 h 19"/>
                <a:gd name="T12" fmla="*/ 3175 w 13"/>
                <a:gd name="T13" fmla="*/ 0 h 19"/>
                <a:gd name="T14" fmla="*/ 0 w 13"/>
                <a:gd name="T15" fmla="*/ 9525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21" name="Freeform 190">
              <a:extLst>
                <a:ext uri="{FF2B5EF4-FFF2-40B4-BE49-F238E27FC236}">
                  <a16:creationId xmlns:a16="http://schemas.microsoft.com/office/drawing/2014/main" xmlns="" id="{E7F43A9D-F4BB-A5B9-17B7-3CF6314DE168}"/>
                </a:ext>
              </a:extLst>
            </p:cNvPr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6828739" y="2757803"/>
              <a:ext cx="31587" cy="16269"/>
            </a:xfrm>
            <a:custGeom>
              <a:avLst/>
              <a:gdLst>
                <a:gd name="T0" fmla="*/ 22663 w 87"/>
                <a:gd name="T1" fmla="*/ 22225 h 42"/>
                <a:gd name="T2" fmla="*/ 24761 w 87"/>
                <a:gd name="T3" fmla="*/ 22225 h 42"/>
                <a:gd name="T4" fmla="*/ 26859 w 87"/>
                <a:gd name="T5" fmla="*/ 21696 h 42"/>
                <a:gd name="T6" fmla="*/ 28538 w 87"/>
                <a:gd name="T7" fmla="*/ 21167 h 42"/>
                <a:gd name="T8" fmla="*/ 29797 w 87"/>
                <a:gd name="T9" fmla="*/ 20108 h 42"/>
                <a:gd name="T10" fmla="*/ 31476 w 87"/>
                <a:gd name="T11" fmla="*/ 17992 h 42"/>
                <a:gd name="T12" fmla="*/ 32735 w 87"/>
                <a:gd name="T13" fmla="*/ 14817 h 42"/>
                <a:gd name="T14" fmla="*/ 33155 w 87"/>
                <a:gd name="T15" fmla="*/ 11642 h 42"/>
                <a:gd name="T16" fmla="*/ 33574 w 87"/>
                <a:gd name="T17" fmla="*/ 8467 h 42"/>
                <a:gd name="T18" fmla="*/ 34414 w 87"/>
                <a:gd name="T19" fmla="*/ 5821 h 42"/>
                <a:gd name="T20" fmla="*/ 36512 w 87"/>
                <a:gd name="T21" fmla="*/ 3175 h 42"/>
                <a:gd name="T22" fmla="*/ 32315 w 87"/>
                <a:gd name="T23" fmla="*/ 1058 h 42"/>
                <a:gd name="T24" fmla="*/ 28118 w 87"/>
                <a:gd name="T25" fmla="*/ 0 h 42"/>
                <a:gd name="T26" fmla="*/ 23922 w 87"/>
                <a:gd name="T27" fmla="*/ 0 h 42"/>
                <a:gd name="T28" fmla="*/ 19725 w 87"/>
                <a:gd name="T29" fmla="*/ 0 h 42"/>
                <a:gd name="T30" fmla="*/ 16787 w 87"/>
                <a:gd name="T31" fmla="*/ 0 h 42"/>
                <a:gd name="T32" fmla="*/ 13430 w 87"/>
                <a:gd name="T33" fmla="*/ 1058 h 42"/>
                <a:gd name="T34" fmla="*/ 10492 w 87"/>
                <a:gd name="T35" fmla="*/ 2117 h 42"/>
                <a:gd name="T36" fmla="*/ 7974 w 87"/>
                <a:gd name="T37" fmla="*/ 3175 h 42"/>
                <a:gd name="T38" fmla="*/ 3357 w 87"/>
                <a:gd name="T39" fmla="*/ 6350 h 42"/>
                <a:gd name="T40" fmla="*/ 0 w 87"/>
                <a:gd name="T41" fmla="*/ 9525 h 42"/>
                <a:gd name="T42" fmla="*/ 4616 w 87"/>
                <a:gd name="T43" fmla="*/ 12700 h 42"/>
                <a:gd name="T44" fmla="*/ 11331 w 87"/>
                <a:gd name="T45" fmla="*/ 16933 h 42"/>
                <a:gd name="T46" fmla="*/ 18046 w 87"/>
                <a:gd name="T47" fmla="*/ 20638 h 42"/>
                <a:gd name="T48" fmla="*/ 22663 w 87"/>
                <a:gd name="T49" fmla="*/ 22225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22" name="Freeform 191">
              <a:extLst>
                <a:ext uri="{FF2B5EF4-FFF2-40B4-BE49-F238E27FC236}">
                  <a16:creationId xmlns:a16="http://schemas.microsoft.com/office/drawing/2014/main" xmlns="" id="{1C463A4C-0CFC-02F8-4714-22DFA730488C}"/>
                </a:ext>
              </a:extLst>
            </p:cNvPr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7040239" y="3097123"/>
              <a:ext cx="1373" cy="10459"/>
            </a:xfrm>
            <a:custGeom>
              <a:avLst/>
              <a:gdLst>
                <a:gd name="T0" fmla="*/ 0 w 7"/>
                <a:gd name="T1" fmla="*/ 0 h 31"/>
                <a:gd name="T2" fmla="*/ 1587 w 7"/>
                <a:gd name="T3" fmla="*/ 0 h 31"/>
                <a:gd name="T4" fmla="*/ 1587 w 7"/>
                <a:gd name="T5" fmla="*/ 8296 h 31"/>
                <a:gd name="T6" fmla="*/ 0 w 7"/>
                <a:gd name="T7" fmla="*/ 14288 h 31"/>
                <a:gd name="T8" fmla="*/ 0 w 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23" name="Freeform 192">
              <a:extLst>
                <a:ext uri="{FF2B5EF4-FFF2-40B4-BE49-F238E27FC236}">
                  <a16:creationId xmlns:a16="http://schemas.microsoft.com/office/drawing/2014/main" xmlns="" id="{AC9450D6-2E3F-4E4F-9C80-64DC439FFE82}"/>
                </a:ext>
              </a:extLst>
            </p:cNvPr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6379646" y="2735724"/>
              <a:ext cx="881707" cy="664697"/>
            </a:xfrm>
            <a:custGeom>
              <a:avLst/>
              <a:gdLst>
                <a:gd name="T0" fmla="*/ 93526 w 2332"/>
                <a:gd name="T1" fmla="*/ 370879 h 1731"/>
                <a:gd name="T2" fmla="*/ 142038 w 2332"/>
                <a:gd name="T3" fmla="*/ 340453 h 1731"/>
                <a:gd name="T4" fmla="*/ 190112 w 2332"/>
                <a:gd name="T5" fmla="*/ 317896 h 1731"/>
                <a:gd name="T6" fmla="*/ 264409 w 2332"/>
                <a:gd name="T7" fmla="*/ 299011 h 1731"/>
                <a:gd name="T8" fmla="*/ 295875 w 2332"/>
                <a:gd name="T9" fmla="*/ 229242 h 1731"/>
                <a:gd name="T10" fmla="*/ 331276 w 2332"/>
                <a:gd name="T11" fmla="*/ 230291 h 1731"/>
                <a:gd name="T12" fmla="*/ 342639 w 2332"/>
                <a:gd name="T13" fmla="*/ 190423 h 1731"/>
                <a:gd name="T14" fmla="*/ 378476 w 2332"/>
                <a:gd name="T15" fmla="*/ 165768 h 1731"/>
                <a:gd name="T16" fmla="*/ 410380 w 2332"/>
                <a:gd name="T17" fmla="*/ 129047 h 1731"/>
                <a:gd name="T18" fmla="*/ 448839 w 2332"/>
                <a:gd name="T19" fmla="*/ 116982 h 1731"/>
                <a:gd name="T20" fmla="*/ 471128 w 2332"/>
                <a:gd name="T21" fmla="*/ 148981 h 1731"/>
                <a:gd name="T22" fmla="*/ 496039 w 2332"/>
                <a:gd name="T23" fmla="*/ 141637 h 1731"/>
                <a:gd name="T24" fmla="*/ 513958 w 2332"/>
                <a:gd name="T25" fmla="*/ 90228 h 1731"/>
                <a:gd name="T26" fmla="*/ 576892 w 2332"/>
                <a:gd name="T27" fmla="*/ 61376 h 1731"/>
                <a:gd name="T28" fmla="*/ 583884 w 2332"/>
                <a:gd name="T29" fmla="*/ 21508 h 1731"/>
                <a:gd name="T30" fmla="*/ 625840 w 2332"/>
                <a:gd name="T31" fmla="*/ 56130 h 1731"/>
                <a:gd name="T32" fmla="*/ 674788 w 2332"/>
                <a:gd name="T33" fmla="*/ 61376 h 1731"/>
                <a:gd name="T34" fmla="*/ 640262 w 2332"/>
                <a:gd name="T35" fmla="*/ 137440 h 1731"/>
                <a:gd name="T36" fmla="*/ 659492 w 2332"/>
                <a:gd name="T37" fmla="*/ 174686 h 1731"/>
                <a:gd name="T38" fmla="*/ 691396 w 2332"/>
                <a:gd name="T39" fmla="*/ 185702 h 1731"/>
                <a:gd name="T40" fmla="*/ 728981 w 2332"/>
                <a:gd name="T41" fmla="*/ 221898 h 1731"/>
                <a:gd name="T42" fmla="*/ 770937 w 2332"/>
                <a:gd name="T43" fmla="*/ 216652 h 1731"/>
                <a:gd name="T44" fmla="*/ 799781 w 2332"/>
                <a:gd name="T45" fmla="*/ 107539 h 1731"/>
                <a:gd name="T46" fmla="*/ 832122 w 2332"/>
                <a:gd name="T47" fmla="*/ 5246 h 1731"/>
                <a:gd name="T48" fmla="*/ 844796 w 2332"/>
                <a:gd name="T49" fmla="*/ 41966 h 1731"/>
                <a:gd name="T50" fmla="*/ 849604 w 2332"/>
                <a:gd name="T51" fmla="*/ 92326 h 1731"/>
                <a:gd name="T52" fmla="*/ 867959 w 2332"/>
                <a:gd name="T53" fmla="*/ 125899 h 1731"/>
                <a:gd name="T54" fmla="*/ 891560 w 2332"/>
                <a:gd name="T55" fmla="*/ 225045 h 1731"/>
                <a:gd name="T56" fmla="*/ 912975 w 2332"/>
                <a:gd name="T57" fmla="*/ 283274 h 1731"/>
                <a:gd name="T58" fmla="*/ 945315 w 2332"/>
                <a:gd name="T59" fmla="*/ 359863 h 1731"/>
                <a:gd name="T60" fmla="*/ 969790 w 2332"/>
                <a:gd name="T61" fmla="*/ 403403 h 1731"/>
                <a:gd name="T62" fmla="*/ 1019175 w 2332"/>
                <a:gd name="T63" fmla="*/ 467926 h 1731"/>
                <a:gd name="T64" fmla="*/ 994701 w 2332"/>
                <a:gd name="T65" fmla="*/ 579662 h 1731"/>
                <a:gd name="T66" fmla="*/ 912100 w 2332"/>
                <a:gd name="T67" fmla="*/ 714480 h 1731"/>
                <a:gd name="T68" fmla="*/ 876263 w 2332"/>
                <a:gd name="T69" fmla="*/ 751200 h 1731"/>
                <a:gd name="T70" fmla="*/ 803278 w 2332"/>
                <a:gd name="T71" fmla="*/ 834609 h 1731"/>
                <a:gd name="T72" fmla="*/ 764381 w 2332"/>
                <a:gd name="T73" fmla="*/ 879198 h 1731"/>
                <a:gd name="T74" fmla="*/ 694455 w 2332"/>
                <a:gd name="T75" fmla="*/ 905427 h 1731"/>
                <a:gd name="T76" fmla="*/ 662988 w 2332"/>
                <a:gd name="T77" fmla="*/ 888116 h 1731"/>
                <a:gd name="T78" fmla="*/ 616225 w 2332"/>
                <a:gd name="T79" fmla="*/ 907001 h 1731"/>
                <a:gd name="T80" fmla="*/ 566840 w 2332"/>
                <a:gd name="T81" fmla="*/ 888116 h 1731"/>
                <a:gd name="T82" fmla="*/ 558973 w 2332"/>
                <a:gd name="T83" fmla="*/ 846674 h 1731"/>
                <a:gd name="T84" fmla="*/ 551980 w 2332"/>
                <a:gd name="T85" fmla="*/ 795265 h 1731"/>
                <a:gd name="T86" fmla="*/ 535373 w 2332"/>
                <a:gd name="T87" fmla="*/ 786872 h 1731"/>
                <a:gd name="T88" fmla="*/ 559410 w 2332"/>
                <a:gd name="T89" fmla="*/ 724971 h 1731"/>
                <a:gd name="T90" fmla="*/ 475498 w 2332"/>
                <a:gd name="T91" fmla="*/ 714480 h 1731"/>
                <a:gd name="T92" fmla="*/ 419995 w 2332"/>
                <a:gd name="T93" fmla="*/ 672513 h 1731"/>
                <a:gd name="T94" fmla="*/ 329527 w 2332"/>
                <a:gd name="T95" fmla="*/ 694021 h 1731"/>
                <a:gd name="T96" fmla="*/ 221579 w 2332"/>
                <a:gd name="T97" fmla="*/ 744381 h 1731"/>
                <a:gd name="T98" fmla="*/ 93526 w 2332"/>
                <a:gd name="T99" fmla="*/ 772708 h 1731"/>
                <a:gd name="T100" fmla="*/ 24037 w 2332"/>
                <a:gd name="T101" fmla="*/ 781626 h 1731"/>
                <a:gd name="T102" fmla="*/ 874 w 2332"/>
                <a:gd name="T103" fmla="*/ 746479 h 1731"/>
                <a:gd name="T104" fmla="*/ 42393 w 2332"/>
                <a:gd name="T105" fmla="*/ 705037 h 1731"/>
                <a:gd name="T106" fmla="*/ 32778 w 2332"/>
                <a:gd name="T107" fmla="*/ 651005 h 1731"/>
                <a:gd name="T108" fmla="*/ 49385 w 2332"/>
                <a:gd name="T109" fmla="*/ 613760 h 1731"/>
                <a:gd name="T110" fmla="*/ 25348 w 2332"/>
                <a:gd name="T111" fmla="*/ 494680 h 1731"/>
                <a:gd name="T112" fmla="*/ 49385 w 2332"/>
                <a:gd name="T113" fmla="*/ 505696 h 1731"/>
                <a:gd name="T114" fmla="*/ 46326 w 2332"/>
                <a:gd name="T115" fmla="*/ 452189 h 1731"/>
                <a:gd name="T116" fmla="*/ 64245 w 2332"/>
                <a:gd name="T117" fmla="*/ 401305 h 173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24" name="Freeform 193">
              <a:extLst>
                <a:ext uri="{FF2B5EF4-FFF2-40B4-BE49-F238E27FC236}">
                  <a16:creationId xmlns:a16="http://schemas.microsoft.com/office/drawing/2014/main" xmlns="" id="{FCDED284-73CF-9597-ABB5-DE66C5F8E76A}"/>
                </a:ext>
              </a:extLst>
            </p:cNvPr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1609915" y="1759596"/>
              <a:ext cx="578190" cy="425313"/>
            </a:xfrm>
            <a:custGeom>
              <a:avLst/>
              <a:gdLst>
                <a:gd name="T0" fmla="*/ 541201 w 1535"/>
                <a:gd name="T1" fmla="*/ 484624 h 1109"/>
                <a:gd name="T2" fmla="*/ 565583 w 1535"/>
                <a:gd name="T3" fmla="*/ 514487 h 1109"/>
                <a:gd name="T4" fmla="*/ 531186 w 1535"/>
                <a:gd name="T5" fmla="*/ 523394 h 1109"/>
                <a:gd name="T6" fmla="*/ 512464 w 1535"/>
                <a:gd name="T7" fmla="*/ 573690 h 1109"/>
                <a:gd name="T8" fmla="*/ 463700 w 1535"/>
                <a:gd name="T9" fmla="*/ 527061 h 1109"/>
                <a:gd name="T10" fmla="*/ 432786 w 1535"/>
                <a:gd name="T11" fmla="*/ 530205 h 1109"/>
                <a:gd name="T12" fmla="*/ 397519 w 1535"/>
                <a:gd name="T13" fmla="*/ 544351 h 1109"/>
                <a:gd name="T14" fmla="*/ 342223 w 1535"/>
                <a:gd name="T15" fmla="*/ 508724 h 1109"/>
                <a:gd name="T16" fmla="*/ 282138 w 1535"/>
                <a:gd name="T17" fmla="*/ 480433 h 1109"/>
                <a:gd name="T18" fmla="*/ 256014 w 1535"/>
                <a:gd name="T19" fmla="*/ 462620 h 1109"/>
                <a:gd name="T20" fmla="*/ 233809 w 1535"/>
                <a:gd name="T21" fmla="*/ 437471 h 1109"/>
                <a:gd name="T22" fmla="*/ 211168 w 1535"/>
                <a:gd name="T23" fmla="*/ 432756 h 1109"/>
                <a:gd name="T24" fmla="*/ 191140 w 1535"/>
                <a:gd name="T25" fmla="*/ 396606 h 1109"/>
                <a:gd name="T26" fmla="*/ 203331 w 1535"/>
                <a:gd name="T27" fmla="*/ 369362 h 1109"/>
                <a:gd name="T28" fmla="*/ 195929 w 1535"/>
                <a:gd name="T29" fmla="*/ 314875 h 1109"/>
                <a:gd name="T30" fmla="*/ 153260 w 1535"/>
                <a:gd name="T31" fmla="*/ 245194 h 1109"/>
                <a:gd name="T32" fmla="*/ 132361 w 1535"/>
                <a:gd name="T33" fmla="*/ 223189 h 1109"/>
                <a:gd name="T34" fmla="*/ 127572 w 1535"/>
                <a:gd name="T35" fmla="*/ 193326 h 1109"/>
                <a:gd name="T36" fmla="*/ 94482 w 1535"/>
                <a:gd name="T37" fmla="*/ 129932 h 1109"/>
                <a:gd name="T38" fmla="*/ 72712 w 1535"/>
                <a:gd name="T39" fmla="*/ 38770 h 1109"/>
                <a:gd name="T40" fmla="*/ 36573 w 1535"/>
                <a:gd name="T41" fmla="*/ 54487 h 1109"/>
                <a:gd name="T42" fmla="*/ 49200 w 1535"/>
                <a:gd name="T43" fmla="*/ 116310 h 1109"/>
                <a:gd name="T44" fmla="*/ 65310 w 1535"/>
                <a:gd name="T45" fmla="*/ 170797 h 1109"/>
                <a:gd name="T46" fmla="*/ 85338 w 1535"/>
                <a:gd name="T47" fmla="*/ 210615 h 1109"/>
                <a:gd name="T48" fmla="*/ 87080 w 1535"/>
                <a:gd name="T49" fmla="*/ 243622 h 1109"/>
                <a:gd name="T50" fmla="*/ 92740 w 1535"/>
                <a:gd name="T51" fmla="*/ 274533 h 1109"/>
                <a:gd name="T52" fmla="*/ 112768 w 1535"/>
                <a:gd name="T53" fmla="*/ 299157 h 1109"/>
                <a:gd name="T54" fmla="*/ 93175 w 1535"/>
                <a:gd name="T55" fmla="*/ 312255 h 1109"/>
                <a:gd name="T56" fmla="*/ 84032 w 1535"/>
                <a:gd name="T57" fmla="*/ 283964 h 1109"/>
                <a:gd name="T58" fmla="*/ 52248 w 1535"/>
                <a:gd name="T59" fmla="*/ 248337 h 1109"/>
                <a:gd name="T60" fmla="*/ 63568 w 1535"/>
                <a:gd name="T61" fmla="*/ 220046 h 1109"/>
                <a:gd name="T62" fmla="*/ 38750 w 1535"/>
                <a:gd name="T63" fmla="*/ 191754 h 1109"/>
                <a:gd name="T64" fmla="*/ 11756 w 1535"/>
                <a:gd name="T65" fmla="*/ 160843 h 1109"/>
                <a:gd name="T66" fmla="*/ 28301 w 1535"/>
                <a:gd name="T67" fmla="*/ 151412 h 1109"/>
                <a:gd name="T68" fmla="*/ 27866 w 1535"/>
                <a:gd name="T69" fmla="*/ 117882 h 1109"/>
                <a:gd name="T70" fmla="*/ 2612 w 1535"/>
                <a:gd name="T71" fmla="*/ 61298 h 1109"/>
                <a:gd name="T72" fmla="*/ 16545 w 1535"/>
                <a:gd name="T73" fmla="*/ 2620 h 1109"/>
                <a:gd name="T74" fmla="*/ 91869 w 1535"/>
                <a:gd name="T75" fmla="*/ 9431 h 1109"/>
                <a:gd name="T76" fmla="*/ 157179 w 1535"/>
                <a:gd name="T77" fmla="*/ 39818 h 1109"/>
                <a:gd name="T78" fmla="*/ 216829 w 1535"/>
                <a:gd name="T79" fmla="*/ 28815 h 1109"/>
                <a:gd name="T80" fmla="*/ 258191 w 1535"/>
                <a:gd name="T81" fmla="*/ 28292 h 1109"/>
                <a:gd name="T82" fmla="*/ 275607 w 1535"/>
                <a:gd name="T83" fmla="*/ 57631 h 1109"/>
                <a:gd name="T84" fmla="*/ 304779 w 1535"/>
                <a:gd name="T85" fmla="*/ 112642 h 1109"/>
                <a:gd name="T86" fmla="*/ 326549 w 1535"/>
                <a:gd name="T87" fmla="*/ 100592 h 1109"/>
                <a:gd name="T88" fmla="*/ 357898 w 1535"/>
                <a:gd name="T89" fmla="*/ 92210 h 1109"/>
                <a:gd name="T90" fmla="*/ 382715 w 1535"/>
                <a:gd name="T91" fmla="*/ 127836 h 1109"/>
                <a:gd name="T92" fmla="*/ 394036 w 1535"/>
                <a:gd name="T93" fmla="*/ 189658 h 1109"/>
                <a:gd name="T94" fmla="*/ 419724 w 1535"/>
                <a:gd name="T95" fmla="*/ 212187 h 1109"/>
                <a:gd name="T96" fmla="*/ 425385 w 1535"/>
                <a:gd name="T97" fmla="*/ 238907 h 1109"/>
                <a:gd name="T98" fmla="*/ 405356 w 1535"/>
                <a:gd name="T99" fmla="*/ 257768 h 1109"/>
                <a:gd name="T100" fmla="*/ 399261 w 1535"/>
                <a:gd name="T101" fmla="*/ 332164 h 1109"/>
                <a:gd name="T102" fmla="*/ 416241 w 1535"/>
                <a:gd name="T103" fmla="*/ 414419 h 1109"/>
                <a:gd name="T104" fmla="*/ 458910 w 1535"/>
                <a:gd name="T105" fmla="*/ 459476 h 1109"/>
                <a:gd name="T106" fmla="*/ 507675 w 1535"/>
                <a:gd name="T107" fmla="*/ 444806 h 1109"/>
                <a:gd name="T108" fmla="*/ 543813 w 1535"/>
                <a:gd name="T109" fmla="*/ 445330 h 1109"/>
                <a:gd name="T110" fmla="*/ 564277 w 1535"/>
                <a:gd name="T111" fmla="*/ 388747 h 1109"/>
                <a:gd name="T112" fmla="*/ 581693 w 1535"/>
                <a:gd name="T113" fmla="*/ 363075 h 1109"/>
                <a:gd name="T114" fmla="*/ 655710 w 1535"/>
                <a:gd name="T115" fmla="*/ 355216 h 1109"/>
                <a:gd name="T116" fmla="*/ 654404 w 1535"/>
                <a:gd name="T117" fmla="*/ 381936 h 1109"/>
                <a:gd name="T118" fmla="*/ 639165 w 1535"/>
                <a:gd name="T119" fmla="*/ 430137 h 1109"/>
                <a:gd name="T120" fmla="*/ 596061 w 1535"/>
                <a:gd name="T121" fmla="*/ 465239 h 110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25" name="Freeform 194">
              <a:extLst>
                <a:ext uri="{FF2B5EF4-FFF2-40B4-BE49-F238E27FC236}">
                  <a16:creationId xmlns:a16="http://schemas.microsoft.com/office/drawing/2014/main" xmlns="" id="{C87E6829-FF44-D28C-72DB-18947FC72A3A}"/>
                </a:ext>
              </a:extLst>
            </p:cNvPr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2712734" y="2960001"/>
              <a:ext cx="182659" cy="194064"/>
            </a:xfrm>
            <a:custGeom>
              <a:avLst/>
              <a:gdLst>
                <a:gd name="T0" fmla="*/ 6082 w 486"/>
                <a:gd name="T1" fmla="*/ 92396 h 505"/>
                <a:gd name="T2" fmla="*/ 13468 w 486"/>
                <a:gd name="T3" fmla="*/ 103945 h 505"/>
                <a:gd name="T4" fmla="*/ 22156 w 486"/>
                <a:gd name="T5" fmla="*/ 121794 h 505"/>
                <a:gd name="T6" fmla="*/ 35624 w 486"/>
                <a:gd name="T7" fmla="*/ 139644 h 505"/>
                <a:gd name="T8" fmla="*/ 54739 w 486"/>
                <a:gd name="T9" fmla="*/ 153818 h 505"/>
                <a:gd name="T10" fmla="*/ 73855 w 486"/>
                <a:gd name="T11" fmla="*/ 162743 h 505"/>
                <a:gd name="T12" fmla="*/ 106872 w 486"/>
                <a:gd name="T13" fmla="*/ 172192 h 505"/>
                <a:gd name="T14" fmla="*/ 128160 w 486"/>
                <a:gd name="T15" fmla="*/ 180592 h 505"/>
                <a:gd name="T16" fmla="*/ 129898 w 486"/>
                <a:gd name="T17" fmla="*/ 200016 h 505"/>
                <a:gd name="T18" fmla="*/ 120340 w 486"/>
                <a:gd name="T19" fmla="*/ 219440 h 505"/>
                <a:gd name="T20" fmla="*/ 115996 w 486"/>
                <a:gd name="T21" fmla="*/ 232564 h 505"/>
                <a:gd name="T22" fmla="*/ 115561 w 486"/>
                <a:gd name="T23" fmla="*/ 243064 h 505"/>
                <a:gd name="T24" fmla="*/ 120774 w 486"/>
                <a:gd name="T25" fmla="*/ 253039 h 505"/>
                <a:gd name="T26" fmla="*/ 129898 w 486"/>
                <a:gd name="T27" fmla="*/ 259338 h 505"/>
                <a:gd name="T28" fmla="*/ 149447 w 486"/>
                <a:gd name="T29" fmla="*/ 264588 h 505"/>
                <a:gd name="T30" fmla="*/ 168128 w 486"/>
                <a:gd name="T31" fmla="*/ 264588 h 505"/>
                <a:gd name="T32" fmla="*/ 180293 w 486"/>
                <a:gd name="T33" fmla="*/ 259338 h 505"/>
                <a:gd name="T34" fmla="*/ 193760 w 486"/>
                <a:gd name="T35" fmla="*/ 248839 h 505"/>
                <a:gd name="T36" fmla="*/ 205490 w 486"/>
                <a:gd name="T37" fmla="*/ 234664 h 505"/>
                <a:gd name="T38" fmla="*/ 210704 w 486"/>
                <a:gd name="T39" fmla="*/ 219440 h 505"/>
                <a:gd name="T40" fmla="*/ 210269 w 486"/>
                <a:gd name="T41" fmla="*/ 208416 h 505"/>
                <a:gd name="T42" fmla="*/ 207662 w 486"/>
                <a:gd name="T43" fmla="*/ 187941 h 505"/>
                <a:gd name="T44" fmla="*/ 204621 w 486"/>
                <a:gd name="T45" fmla="*/ 165892 h 505"/>
                <a:gd name="T46" fmla="*/ 202015 w 486"/>
                <a:gd name="T47" fmla="*/ 141744 h 505"/>
                <a:gd name="T48" fmla="*/ 198105 w 486"/>
                <a:gd name="T49" fmla="*/ 132294 h 505"/>
                <a:gd name="T50" fmla="*/ 190719 w 486"/>
                <a:gd name="T51" fmla="*/ 125469 h 505"/>
                <a:gd name="T52" fmla="*/ 179424 w 486"/>
                <a:gd name="T53" fmla="*/ 121794 h 505"/>
                <a:gd name="T54" fmla="*/ 170301 w 486"/>
                <a:gd name="T55" fmla="*/ 116545 h 505"/>
                <a:gd name="T56" fmla="*/ 160743 w 486"/>
                <a:gd name="T57" fmla="*/ 108670 h 505"/>
                <a:gd name="T58" fmla="*/ 143365 w 486"/>
                <a:gd name="T59" fmla="*/ 98696 h 505"/>
                <a:gd name="T60" fmla="*/ 125988 w 486"/>
                <a:gd name="T61" fmla="*/ 90296 h 505"/>
                <a:gd name="T62" fmla="*/ 118602 w 486"/>
                <a:gd name="T63" fmla="*/ 83996 h 505"/>
                <a:gd name="T64" fmla="*/ 114692 w 486"/>
                <a:gd name="T65" fmla="*/ 79271 h 505"/>
                <a:gd name="T66" fmla="*/ 113389 w 486"/>
                <a:gd name="T67" fmla="*/ 65622 h 505"/>
                <a:gd name="T68" fmla="*/ 113389 w 486"/>
                <a:gd name="T69" fmla="*/ 47248 h 505"/>
                <a:gd name="T70" fmla="*/ 110782 w 486"/>
                <a:gd name="T71" fmla="*/ 37273 h 505"/>
                <a:gd name="T72" fmla="*/ 104700 w 486"/>
                <a:gd name="T73" fmla="*/ 28874 h 505"/>
                <a:gd name="T74" fmla="*/ 101659 w 486"/>
                <a:gd name="T75" fmla="*/ 19424 h 505"/>
                <a:gd name="T76" fmla="*/ 86454 w 486"/>
                <a:gd name="T77" fmla="*/ 6300 h 505"/>
                <a:gd name="T78" fmla="*/ 80806 w 486"/>
                <a:gd name="T79" fmla="*/ 4200 h 505"/>
                <a:gd name="T80" fmla="*/ 75158 w 486"/>
                <a:gd name="T81" fmla="*/ 1050 h 505"/>
                <a:gd name="T82" fmla="*/ 60387 w 486"/>
                <a:gd name="T83" fmla="*/ 525 h 505"/>
                <a:gd name="T84" fmla="*/ 30411 w 486"/>
                <a:gd name="T85" fmla="*/ 5775 h 505"/>
                <a:gd name="T86" fmla="*/ 18246 w 486"/>
                <a:gd name="T87" fmla="*/ 11025 h 505"/>
                <a:gd name="T88" fmla="*/ 10427 w 486"/>
                <a:gd name="T89" fmla="*/ 19424 h 505"/>
                <a:gd name="T90" fmla="*/ 8689 w 486"/>
                <a:gd name="T91" fmla="*/ 33598 h 5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26" name="Freeform 195">
              <a:extLst>
                <a:ext uri="{FF2B5EF4-FFF2-40B4-BE49-F238E27FC236}">
                  <a16:creationId xmlns:a16="http://schemas.microsoft.com/office/drawing/2014/main" xmlns="" id="{97F8F2C3-4FA5-651D-53DD-BA0358CBA789}"/>
                </a:ext>
              </a:extLst>
            </p:cNvPr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2859686" y="2377811"/>
              <a:ext cx="63175" cy="80182"/>
            </a:xfrm>
            <a:custGeom>
              <a:avLst/>
              <a:gdLst>
                <a:gd name="T0" fmla="*/ 3079 w 166"/>
                <a:gd name="T1" fmla="*/ 96371 h 208"/>
                <a:gd name="T2" fmla="*/ 34753 w 166"/>
                <a:gd name="T3" fmla="*/ 109537 h 208"/>
                <a:gd name="T4" fmla="*/ 37392 w 166"/>
                <a:gd name="T5" fmla="*/ 109010 h 208"/>
                <a:gd name="T6" fmla="*/ 39592 w 166"/>
                <a:gd name="T7" fmla="*/ 107431 h 208"/>
                <a:gd name="T8" fmla="*/ 42671 w 166"/>
                <a:gd name="T9" fmla="*/ 104271 h 208"/>
                <a:gd name="T10" fmla="*/ 45751 w 166"/>
                <a:gd name="T11" fmla="*/ 101111 h 208"/>
                <a:gd name="T12" fmla="*/ 51469 w 166"/>
                <a:gd name="T13" fmla="*/ 92685 h 208"/>
                <a:gd name="T14" fmla="*/ 57188 w 166"/>
                <a:gd name="T15" fmla="*/ 83206 h 208"/>
                <a:gd name="T16" fmla="*/ 67746 w 166"/>
                <a:gd name="T17" fmla="*/ 64248 h 208"/>
                <a:gd name="T18" fmla="*/ 73025 w 166"/>
                <a:gd name="T19" fmla="*/ 54242 h 208"/>
                <a:gd name="T20" fmla="*/ 63347 w 166"/>
                <a:gd name="T21" fmla="*/ 49502 h 208"/>
                <a:gd name="T22" fmla="*/ 55429 w 166"/>
                <a:gd name="T23" fmla="*/ 44236 h 208"/>
                <a:gd name="T24" fmla="*/ 47510 w 166"/>
                <a:gd name="T25" fmla="*/ 38970 h 208"/>
                <a:gd name="T26" fmla="*/ 40912 w 166"/>
                <a:gd name="T27" fmla="*/ 33704 h 208"/>
                <a:gd name="T28" fmla="*/ 37832 w 166"/>
                <a:gd name="T29" fmla="*/ 30544 h 208"/>
                <a:gd name="T30" fmla="*/ 35633 w 166"/>
                <a:gd name="T31" fmla="*/ 27911 h 208"/>
                <a:gd name="T32" fmla="*/ 32993 w 166"/>
                <a:gd name="T33" fmla="*/ 24751 h 208"/>
                <a:gd name="T34" fmla="*/ 31234 w 166"/>
                <a:gd name="T35" fmla="*/ 21065 h 208"/>
                <a:gd name="T36" fmla="*/ 29474 w 166"/>
                <a:gd name="T37" fmla="*/ 17378 h 208"/>
                <a:gd name="T38" fmla="*/ 28154 w 166"/>
                <a:gd name="T39" fmla="*/ 13692 h 208"/>
                <a:gd name="T40" fmla="*/ 27274 w 166"/>
                <a:gd name="T41" fmla="*/ 9479 h 208"/>
                <a:gd name="T42" fmla="*/ 26395 w 166"/>
                <a:gd name="T43" fmla="*/ 5793 h 208"/>
                <a:gd name="T44" fmla="*/ 21995 w 166"/>
                <a:gd name="T45" fmla="*/ 5266 h 208"/>
                <a:gd name="T46" fmla="*/ 18916 w 166"/>
                <a:gd name="T47" fmla="*/ 4213 h 208"/>
                <a:gd name="T48" fmla="*/ 17596 w 166"/>
                <a:gd name="T49" fmla="*/ 2633 h 208"/>
                <a:gd name="T50" fmla="*/ 17156 w 166"/>
                <a:gd name="T51" fmla="*/ 1580 h 208"/>
                <a:gd name="T52" fmla="*/ 16717 w 166"/>
                <a:gd name="T53" fmla="*/ 527 h 208"/>
                <a:gd name="T54" fmla="*/ 15837 w 166"/>
                <a:gd name="T55" fmla="*/ 0 h 208"/>
                <a:gd name="T56" fmla="*/ 14077 w 166"/>
                <a:gd name="T57" fmla="*/ 527 h 208"/>
                <a:gd name="T58" fmla="*/ 11878 w 166"/>
                <a:gd name="T59" fmla="*/ 2633 h 208"/>
                <a:gd name="T60" fmla="*/ 8798 w 166"/>
                <a:gd name="T61" fmla="*/ 5793 h 208"/>
                <a:gd name="T62" fmla="*/ 4839 w 166"/>
                <a:gd name="T63" fmla="*/ 11586 h 208"/>
                <a:gd name="T64" fmla="*/ 3079 w 166"/>
                <a:gd name="T65" fmla="*/ 15272 h 208"/>
                <a:gd name="T66" fmla="*/ 1760 w 166"/>
                <a:gd name="T67" fmla="*/ 19485 h 208"/>
                <a:gd name="T68" fmla="*/ 880 w 166"/>
                <a:gd name="T69" fmla="*/ 23698 h 208"/>
                <a:gd name="T70" fmla="*/ 0 w 166"/>
                <a:gd name="T71" fmla="*/ 28437 h 208"/>
                <a:gd name="T72" fmla="*/ 0 w 166"/>
                <a:gd name="T73" fmla="*/ 31597 h 208"/>
                <a:gd name="T74" fmla="*/ 880 w 166"/>
                <a:gd name="T75" fmla="*/ 34230 h 208"/>
                <a:gd name="T76" fmla="*/ 1320 w 166"/>
                <a:gd name="T77" fmla="*/ 36863 h 208"/>
                <a:gd name="T78" fmla="*/ 2200 w 166"/>
                <a:gd name="T79" fmla="*/ 40023 h 208"/>
                <a:gd name="T80" fmla="*/ 4399 w 166"/>
                <a:gd name="T81" fmla="*/ 45289 h 208"/>
                <a:gd name="T82" fmla="*/ 7478 w 166"/>
                <a:gd name="T83" fmla="*/ 51609 h 208"/>
                <a:gd name="T84" fmla="*/ 9678 w 166"/>
                <a:gd name="T85" fmla="*/ 57402 h 208"/>
                <a:gd name="T86" fmla="*/ 12317 w 166"/>
                <a:gd name="T87" fmla="*/ 63194 h 208"/>
                <a:gd name="T88" fmla="*/ 13197 w 166"/>
                <a:gd name="T89" fmla="*/ 66354 h 208"/>
                <a:gd name="T90" fmla="*/ 14077 w 166"/>
                <a:gd name="T91" fmla="*/ 70040 h 208"/>
                <a:gd name="T92" fmla="*/ 14517 w 166"/>
                <a:gd name="T93" fmla="*/ 73200 h 208"/>
                <a:gd name="T94" fmla="*/ 14517 w 166"/>
                <a:gd name="T95" fmla="*/ 77413 h 208"/>
                <a:gd name="T96" fmla="*/ 14077 w 166"/>
                <a:gd name="T97" fmla="*/ 80573 h 208"/>
                <a:gd name="T98" fmla="*/ 13637 w 166"/>
                <a:gd name="T99" fmla="*/ 83733 h 208"/>
                <a:gd name="T100" fmla="*/ 12317 w 166"/>
                <a:gd name="T101" fmla="*/ 86892 h 208"/>
                <a:gd name="T102" fmla="*/ 10998 w 166"/>
                <a:gd name="T103" fmla="*/ 88999 h 208"/>
                <a:gd name="T104" fmla="*/ 9238 w 166"/>
                <a:gd name="T105" fmla="*/ 91632 h 208"/>
                <a:gd name="T106" fmla="*/ 7478 w 166"/>
                <a:gd name="T107" fmla="*/ 93212 h 208"/>
                <a:gd name="T108" fmla="*/ 4839 w 166"/>
                <a:gd name="T109" fmla="*/ 94792 h 208"/>
                <a:gd name="T110" fmla="*/ 3079 w 166"/>
                <a:gd name="T111" fmla="*/ 96371 h 20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27" name="Freeform 196">
              <a:extLst>
                <a:ext uri="{FF2B5EF4-FFF2-40B4-BE49-F238E27FC236}">
                  <a16:creationId xmlns:a16="http://schemas.microsoft.com/office/drawing/2014/main" xmlns="" id="{CD825BA1-4685-48FE-F6E2-88C0C569736E}"/>
                </a:ext>
              </a:extLst>
            </p:cNvPr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2439433" y="2054759"/>
              <a:ext cx="60428" cy="42996"/>
            </a:xfrm>
            <a:custGeom>
              <a:avLst/>
              <a:gdLst>
                <a:gd name="T0" fmla="*/ 65165 w 164"/>
                <a:gd name="T1" fmla="*/ 58737 h 104"/>
                <a:gd name="T2" fmla="*/ 57073 w 164"/>
                <a:gd name="T3" fmla="*/ 57607 h 104"/>
                <a:gd name="T4" fmla="*/ 46851 w 164"/>
                <a:gd name="T5" fmla="*/ 54784 h 104"/>
                <a:gd name="T6" fmla="*/ 40888 w 164"/>
                <a:gd name="T7" fmla="*/ 53089 h 104"/>
                <a:gd name="T8" fmla="*/ 34073 w 164"/>
                <a:gd name="T9" fmla="*/ 52524 h 104"/>
                <a:gd name="T10" fmla="*/ 31092 w 164"/>
                <a:gd name="T11" fmla="*/ 52524 h 104"/>
                <a:gd name="T12" fmla="*/ 27259 w 164"/>
                <a:gd name="T13" fmla="*/ 53089 h 104"/>
                <a:gd name="T14" fmla="*/ 23425 w 164"/>
                <a:gd name="T15" fmla="*/ 54219 h 104"/>
                <a:gd name="T16" fmla="*/ 20018 w 164"/>
                <a:gd name="T17" fmla="*/ 55348 h 104"/>
                <a:gd name="T18" fmla="*/ 17463 w 164"/>
                <a:gd name="T19" fmla="*/ 56478 h 104"/>
                <a:gd name="T20" fmla="*/ 14481 w 164"/>
                <a:gd name="T21" fmla="*/ 56478 h 104"/>
                <a:gd name="T22" fmla="*/ 11500 w 164"/>
                <a:gd name="T23" fmla="*/ 55913 h 104"/>
                <a:gd name="T24" fmla="*/ 8092 w 164"/>
                <a:gd name="T25" fmla="*/ 54219 h 104"/>
                <a:gd name="T26" fmla="*/ 4685 w 164"/>
                <a:gd name="T27" fmla="*/ 51960 h 104"/>
                <a:gd name="T28" fmla="*/ 2555 w 164"/>
                <a:gd name="T29" fmla="*/ 49701 h 104"/>
                <a:gd name="T30" fmla="*/ 1278 w 164"/>
                <a:gd name="T31" fmla="*/ 48571 h 104"/>
                <a:gd name="T32" fmla="*/ 426 w 164"/>
                <a:gd name="T33" fmla="*/ 47441 h 104"/>
                <a:gd name="T34" fmla="*/ 0 w 164"/>
                <a:gd name="T35" fmla="*/ 45747 h 104"/>
                <a:gd name="T36" fmla="*/ 0 w 164"/>
                <a:gd name="T37" fmla="*/ 44618 h 104"/>
                <a:gd name="T38" fmla="*/ 0 w 164"/>
                <a:gd name="T39" fmla="*/ 42923 h 104"/>
                <a:gd name="T40" fmla="*/ 426 w 164"/>
                <a:gd name="T41" fmla="*/ 41794 h 104"/>
                <a:gd name="T42" fmla="*/ 1278 w 164"/>
                <a:gd name="T43" fmla="*/ 40099 h 104"/>
                <a:gd name="T44" fmla="*/ 2555 w 164"/>
                <a:gd name="T45" fmla="*/ 39535 h 104"/>
                <a:gd name="T46" fmla="*/ 5111 w 164"/>
                <a:gd name="T47" fmla="*/ 37840 h 104"/>
                <a:gd name="T48" fmla="*/ 8518 w 164"/>
                <a:gd name="T49" fmla="*/ 37275 h 104"/>
                <a:gd name="T50" fmla="*/ 17037 w 164"/>
                <a:gd name="T51" fmla="*/ 37275 h 104"/>
                <a:gd name="T52" fmla="*/ 25981 w 164"/>
                <a:gd name="T53" fmla="*/ 37840 h 104"/>
                <a:gd name="T54" fmla="*/ 29814 w 164"/>
                <a:gd name="T55" fmla="*/ 37840 h 104"/>
                <a:gd name="T56" fmla="*/ 33647 w 164"/>
                <a:gd name="T57" fmla="*/ 37840 h 104"/>
                <a:gd name="T58" fmla="*/ 37055 w 164"/>
                <a:gd name="T59" fmla="*/ 37840 h 104"/>
                <a:gd name="T60" fmla="*/ 40036 w 164"/>
                <a:gd name="T61" fmla="*/ 37840 h 104"/>
                <a:gd name="T62" fmla="*/ 40036 w 164"/>
                <a:gd name="T63" fmla="*/ 31628 h 104"/>
                <a:gd name="T64" fmla="*/ 40036 w 164"/>
                <a:gd name="T65" fmla="*/ 24285 h 104"/>
                <a:gd name="T66" fmla="*/ 40036 w 164"/>
                <a:gd name="T67" fmla="*/ 16379 h 104"/>
                <a:gd name="T68" fmla="*/ 40036 w 164"/>
                <a:gd name="T69" fmla="*/ 10166 h 104"/>
                <a:gd name="T70" fmla="*/ 33647 w 164"/>
                <a:gd name="T71" fmla="*/ 9601 h 104"/>
                <a:gd name="T72" fmla="*/ 28536 w 164"/>
                <a:gd name="T73" fmla="*/ 8472 h 104"/>
                <a:gd name="T74" fmla="*/ 26407 w 164"/>
                <a:gd name="T75" fmla="*/ 7342 h 104"/>
                <a:gd name="T76" fmla="*/ 24277 w 164"/>
                <a:gd name="T77" fmla="*/ 5648 h 104"/>
                <a:gd name="T78" fmla="*/ 22148 w 164"/>
                <a:gd name="T79" fmla="*/ 3389 h 104"/>
                <a:gd name="T80" fmla="*/ 20018 w 164"/>
                <a:gd name="T81" fmla="*/ 0 h 104"/>
                <a:gd name="T82" fmla="*/ 62184 w 164"/>
                <a:gd name="T83" fmla="*/ 0 h 104"/>
                <a:gd name="T84" fmla="*/ 62609 w 164"/>
                <a:gd name="T85" fmla="*/ 3389 h 104"/>
                <a:gd name="T86" fmla="*/ 63035 w 164"/>
                <a:gd name="T87" fmla="*/ 7342 h 104"/>
                <a:gd name="T88" fmla="*/ 63887 w 164"/>
                <a:gd name="T89" fmla="*/ 10731 h 104"/>
                <a:gd name="T90" fmla="*/ 64739 w 164"/>
                <a:gd name="T91" fmla="*/ 14119 h 104"/>
                <a:gd name="T92" fmla="*/ 66443 w 164"/>
                <a:gd name="T93" fmla="*/ 19767 h 104"/>
                <a:gd name="T94" fmla="*/ 67720 w 164"/>
                <a:gd name="T95" fmla="*/ 25980 h 104"/>
                <a:gd name="T96" fmla="*/ 69424 w 164"/>
                <a:gd name="T97" fmla="*/ 30498 h 104"/>
                <a:gd name="T98" fmla="*/ 69850 w 164"/>
                <a:gd name="T99" fmla="*/ 35016 h 104"/>
                <a:gd name="T100" fmla="*/ 69424 w 164"/>
                <a:gd name="T101" fmla="*/ 36711 h 104"/>
                <a:gd name="T102" fmla="*/ 68146 w 164"/>
                <a:gd name="T103" fmla="*/ 38405 h 104"/>
                <a:gd name="T104" fmla="*/ 66869 w 164"/>
                <a:gd name="T105" fmla="*/ 40099 h 104"/>
                <a:gd name="T106" fmla="*/ 65165 w 164"/>
                <a:gd name="T107" fmla="*/ 41229 h 104"/>
                <a:gd name="T108" fmla="*/ 65165 w 164"/>
                <a:gd name="T109" fmla="*/ 58737 h 1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28" name="Freeform 197">
              <a:extLst>
                <a:ext uri="{FF2B5EF4-FFF2-40B4-BE49-F238E27FC236}">
                  <a16:creationId xmlns:a16="http://schemas.microsoft.com/office/drawing/2014/main" xmlns="" id="{B227A83D-C05B-E9BD-33E8-D75F922D1725}"/>
                </a:ext>
              </a:extLst>
            </p:cNvPr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2756683" y="3778088"/>
              <a:ext cx="20601" cy="41835"/>
            </a:xfrm>
            <a:custGeom>
              <a:avLst/>
              <a:gdLst>
                <a:gd name="T0" fmla="*/ 0 w 53"/>
                <a:gd name="T1" fmla="*/ 24063 h 19"/>
                <a:gd name="T2" fmla="*/ 3145 w 53"/>
                <a:gd name="T3" fmla="*/ 39103 h 19"/>
                <a:gd name="T4" fmla="*/ 6290 w 53"/>
                <a:gd name="T5" fmla="*/ 51134 h 19"/>
                <a:gd name="T6" fmla="*/ 9885 w 53"/>
                <a:gd name="T7" fmla="*/ 57150 h 19"/>
                <a:gd name="T8" fmla="*/ 13030 w 53"/>
                <a:gd name="T9" fmla="*/ 57150 h 19"/>
                <a:gd name="T10" fmla="*/ 15726 w 53"/>
                <a:gd name="T11" fmla="*/ 54142 h 19"/>
                <a:gd name="T12" fmla="*/ 18871 w 53"/>
                <a:gd name="T13" fmla="*/ 45118 h 19"/>
                <a:gd name="T14" fmla="*/ 21117 w 53"/>
                <a:gd name="T15" fmla="*/ 36095 h 19"/>
                <a:gd name="T16" fmla="*/ 23813 w 53"/>
                <a:gd name="T17" fmla="*/ 24063 h 19"/>
                <a:gd name="T18" fmla="*/ 21117 w 53"/>
                <a:gd name="T19" fmla="*/ 15039 h 19"/>
                <a:gd name="T20" fmla="*/ 18871 w 53"/>
                <a:gd name="T21" fmla="*/ 6016 h 19"/>
                <a:gd name="T22" fmla="*/ 15726 w 53"/>
                <a:gd name="T23" fmla="*/ 3008 h 19"/>
                <a:gd name="T24" fmla="*/ 13030 w 53"/>
                <a:gd name="T25" fmla="*/ 0 h 19"/>
                <a:gd name="T26" fmla="*/ 9885 w 53"/>
                <a:gd name="T27" fmla="*/ 0 h 19"/>
                <a:gd name="T28" fmla="*/ 6290 w 53"/>
                <a:gd name="T29" fmla="*/ 3008 h 19"/>
                <a:gd name="T30" fmla="*/ 3145 w 53"/>
                <a:gd name="T31" fmla="*/ 9024 h 19"/>
                <a:gd name="T32" fmla="*/ 0 w 53"/>
                <a:gd name="T33" fmla="*/ 24063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29" name="Freeform 198">
              <a:extLst>
                <a:ext uri="{FF2B5EF4-FFF2-40B4-BE49-F238E27FC236}">
                  <a16:creationId xmlns:a16="http://schemas.microsoft.com/office/drawing/2014/main" xmlns="" id="{E8C5795A-2186-D598-26CB-07FC16B5A9C7}"/>
                </a:ext>
              </a:extLst>
            </p:cNvPr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2726468" y="3762983"/>
              <a:ext cx="30214" cy="42996"/>
            </a:xfrm>
            <a:custGeom>
              <a:avLst/>
              <a:gdLst>
                <a:gd name="T0" fmla="*/ 0 w 80"/>
                <a:gd name="T1" fmla="*/ 0 h 18"/>
                <a:gd name="T2" fmla="*/ 437 w 80"/>
                <a:gd name="T3" fmla="*/ 19579 h 18"/>
                <a:gd name="T4" fmla="*/ 2183 w 80"/>
                <a:gd name="T5" fmla="*/ 39158 h 18"/>
                <a:gd name="T6" fmla="*/ 3493 w 80"/>
                <a:gd name="T7" fmla="*/ 45684 h 18"/>
                <a:gd name="T8" fmla="*/ 4802 w 80"/>
                <a:gd name="T9" fmla="*/ 52211 h 18"/>
                <a:gd name="T10" fmla="*/ 6548 w 80"/>
                <a:gd name="T11" fmla="*/ 58737 h 18"/>
                <a:gd name="T12" fmla="*/ 8731 w 80"/>
                <a:gd name="T13" fmla="*/ 58737 h 18"/>
                <a:gd name="T14" fmla="*/ 9604 w 80"/>
                <a:gd name="T15" fmla="*/ 48948 h 18"/>
                <a:gd name="T16" fmla="*/ 10478 w 80"/>
                <a:gd name="T17" fmla="*/ 42421 h 18"/>
                <a:gd name="T18" fmla="*/ 11351 w 80"/>
                <a:gd name="T19" fmla="*/ 35895 h 18"/>
                <a:gd name="T20" fmla="*/ 13533 w 80"/>
                <a:gd name="T21" fmla="*/ 32632 h 18"/>
                <a:gd name="T22" fmla="*/ 16589 w 80"/>
                <a:gd name="T23" fmla="*/ 26105 h 18"/>
                <a:gd name="T24" fmla="*/ 20518 w 80"/>
                <a:gd name="T25" fmla="*/ 22842 h 18"/>
                <a:gd name="T26" fmla="*/ 24884 w 80"/>
                <a:gd name="T27" fmla="*/ 22842 h 18"/>
                <a:gd name="T28" fmla="*/ 28813 w 80"/>
                <a:gd name="T29" fmla="*/ 19579 h 18"/>
                <a:gd name="T30" fmla="*/ 30559 w 80"/>
                <a:gd name="T31" fmla="*/ 16316 h 18"/>
                <a:gd name="T32" fmla="*/ 32306 w 80"/>
                <a:gd name="T33" fmla="*/ 13053 h 18"/>
                <a:gd name="T34" fmla="*/ 33615 w 80"/>
                <a:gd name="T35" fmla="*/ 6526 h 18"/>
                <a:gd name="T36" fmla="*/ 34925 w 80"/>
                <a:gd name="T37" fmla="*/ 0 h 18"/>
                <a:gd name="T38" fmla="*/ 0 w 80"/>
                <a:gd name="T39" fmla="*/ 0 h 1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30" name="Freeform 199">
              <a:extLst>
                <a:ext uri="{FF2B5EF4-FFF2-40B4-BE49-F238E27FC236}">
                  <a16:creationId xmlns:a16="http://schemas.microsoft.com/office/drawing/2014/main" xmlns="" id="{2668060D-32DB-98E4-0F1E-E1905974EF2B}"/>
                </a:ext>
              </a:extLst>
            </p:cNvPr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2726468" y="3747875"/>
              <a:ext cx="19227" cy="44158"/>
            </a:xfrm>
            <a:custGeom>
              <a:avLst/>
              <a:gdLst>
                <a:gd name="T0" fmla="*/ 9663 w 46"/>
                <a:gd name="T1" fmla="*/ 0 h 27"/>
                <a:gd name="T2" fmla="*/ 0 w 46"/>
                <a:gd name="T3" fmla="*/ 40217 h 27"/>
                <a:gd name="T4" fmla="*/ 4348 w 46"/>
                <a:gd name="T5" fmla="*/ 49154 h 27"/>
                <a:gd name="T6" fmla="*/ 7730 w 46"/>
                <a:gd name="T7" fmla="*/ 55856 h 27"/>
                <a:gd name="T8" fmla="*/ 11113 w 46"/>
                <a:gd name="T9" fmla="*/ 60325 h 27"/>
                <a:gd name="T10" fmla="*/ 14011 w 46"/>
                <a:gd name="T11" fmla="*/ 60325 h 27"/>
                <a:gd name="T12" fmla="*/ 15944 w 46"/>
                <a:gd name="T13" fmla="*/ 60325 h 27"/>
                <a:gd name="T14" fmla="*/ 17877 w 46"/>
                <a:gd name="T15" fmla="*/ 55856 h 27"/>
                <a:gd name="T16" fmla="*/ 20292 w 46"/>
                <a:gd name="T17" fmla="*/ 49154 h 27"/>
                <a:gd name="T18" fmla="*/ 22225 w 46"/>
                <a:gd name="T19" fmla="*/ 40217 h 27"/>
                <a:gd name="T20" fmla="*/ 19809 w 46"/>
                <a:gd name="T21" fmla="*/ 35748 h 27"/>
                <a:gd name="T22" fmla="*/ 15944 w 46"/>
                <a:gd name="T23" fmla="*/ 24577 h 27"/>
                <a:gd name="T24" fmla="*/ 12562 w 46"/>
                <a:gd name="T25" fmla="*/ 11171 h 27"/>
                <a:gd name="T26" fmla="*/ 9663 w 46"/>
                <a:gd name="T27" fmla="*/ 0 h 2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31" name="Freeform 200">
              <a:extLst>
                <a:ext uri="{FF2B5EF4-FFF2-40B4-BE49-F238E27FC236}">
                  <a16:creationId xmlns:a16="http://schemas.microsoft.com/office/drawing/2014/main" xmlns="" id="{DC074C4B-C281-552A-D289-885883DB61A4}"/>
                </a:ext>
              </a:extLst>
            </p:cNvPr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2700374" y="3743227"/>
              <a:ext cx="21974" cy="44158"/>
            </a:xfrm>
            <a:custGeom>
              <a:avLst/>
              <a:gdLst>
                <a:gd name="T0" fmla="*/ 15993 w 54"/>
                <a:gd name="T1" fmla="*/ 0 h 39"/>
                <a:gd name="T2" fmla="*/ 9407 w 54"/>
                <a:gd name="T3" fmla="*/ 6187 h 39"/>
                <a:gd name="T4" fmla="*/ 4704 w 54"/>
                <a:gd name="T5" fmla="*/ 15468 h 39"/>
                <a:gd name="T6" fmla="*/ 2822 w 54"/>
                <a:gd name="T7" fmla="*/ 20108 h 39"/>
                <a:gd name="T8" fmla="*/ 1881 w 54"/>
                <a:gd name="T9" fmla="*/ 24749 h 39"/>
                <a:gd name="T10" fmla="*/ 941 w 54"/>
                <a:gd name="T11" fmla="*/ 30936 h 39"/>
                <a:gd name="T12" fmla="*/ 0 w 54"/>
                <a:gd name="T13" fmla="*/ 37123 h 39"/>
                <a:gd name="T14" fmla="*/ 941 w 54"/>
                <a:gd name="T15" fmla="*/ 43310 h 39"/>
                <a:gd name="T16" fmla="*/ 1411 w 54"/>
                <a:gd name="T17" fmla="*/ 49497 h 39"/>
                <a:gd name="T18" fmla="*/ 2352 w 54"/>
                <a:gd name="T19" fmla="*/ 54138 h 39"/>
                <a:gd name="T20" fmla="*/ 3763 w 54"/>
                <a:gd name="T21" fmla="*/ 57231 h 39"/>
                <a:gd name="T22" fmla="*/ 5174 w 54"/>
                <a:gd name="T23" fmla="*/ 58778 h 39"/>
                <a:gd name="T24" fmla="*/ 7526 w 54"/>
                <a:gd name="T25" fmla="*/ 60325 h 39"/>
                <a:gd name="T26" fmla="*/ 9407 w 54"/>
                <a:gd name="T27" fmla="*/ 60325 h 39"/>
                <a:gd name="T28" fmla="*/ 11759 w 54"/>
                <a:gd name="T29" fmla="*/ 60325 h 39"/>
                <a:gd name="T30" fmla="*/ 14111 w 54"/>
                <a:gd name="T31" fmla="*/ 58778 h 39"/>
                <a:gd name="T32" fmla="*/ 15993 w 54"/>
                <a:gd name="T33" fmla="*/ 57231 h 39"/>
                <a:gd name="T34" fmla="*/ 18344 w 54"/>
                <a:gd name="T35" fmla="*/ 54138 h 39"/>
                <a:gd name="T36" fmla="*/ 20226 w 54"/>
                <a:gd name="T37" fmla="*/ 51044 h 39"/>
                <a:gd name="T38" fmla="*/ 22107 w 54"/>
                <a:gd name="T39" fmla="*/ 46404 h 39"/>
                <a:gd name="T40" fmla="*/ 23519 w 54"/>
                <a:gd name="T41" fmla="*/ 40217 h 39"/>
                <a:gd name="T42" fmla="*/ 24459 w 54"/>
                <a:gd name="T43" fmla="*/ 34029 h 39"/>
                <a:gd name="T44" fmla="*/ 25400 w 54"/>
                <a:gd name="T45" fmla="*/ 27842 h 39"/>
                <a:gd name="T46" fmla="*/ 23989 w 54"/>
                <a:gd name="T47" fmla="*/ 26296 h 39"/>
                <a:gd name="T48" fmla="*/ 22578 w 54"/>
                <a:gd name="T49" fmla="*/ 24749 h 39"/>
                <a:gd name="T50" fmla="*/ 20696 w 54"/>
                <a:gd name="T51" fmla="*/ 21655 h 39"/>
                <a:gd name="T52" fmla="*/ 19756 w 54"/>
                <a:gd name="T53" fmla="*/ 17015 h 39"/>
                <a:gd name="T54" fmla="*/ 18344 w 54"/>
                <a:gd name="T55" fmla="*/ 12374 h 39"/>
                <a:gd name="T56" fmla="*/ 17404 w 54"/>
                <a:gd name="T57" fmla="*/ 7734 h 39"/>
                <a:gd name="T58" fmla="*/ 15993 w 54"/>
                <a:gd name="T59" fmla="*/ 3094 h 39"/>
                <a:gd name="T60" fmla="*/ 15993 w 54"/>
                <a:gd name="T61" fmla="*/ 0 h 3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32" name="Freeform 201">
              <a:extLst>
                <a:ext uri="{FF2B5EF4-FFF2-40B4-BE49-F238E27FC236}">
                  <a16:creationId xmlns:a16="http://schemas.microsoft.com/office/drawing/2014/main" xmlns="" id="{0E2B0923-686D-F018-8B6F-C2B14CBEA061}"/>
                </a:ext>
              </a:extLst>
            </p:cNvPr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2678401" y="3736255"/>
              <a:ext cx="24721" cy="42997"/>
            </a:xfrm>
            <a:custGeom>
              <a:avLst/>
              <a:gdLst>
                <a:gd name="T0" fmla="*/ 0 w 60"/>
                <a:gd name="T1" fmla="*/ 43075 h 15"/>
                <a:gd name="T2" fmla="*/ 4763 w 60"/>
                <a:gd name="T3" fmla="*/ 50906 h 15"/>
                <a:gd name="T4" fmla="*/ 8573 w 60"/>
                <a:gd name="T5" fmla="*/ 54822 h 15"/>
                <a:gd name="T6" fmla="*/ 12859 w 60"/>
                <a:gd name="T7" fmla="*/ 58738 h 15"/>
                <a:gd name="T8" fmla="*/ 16669 w 60"/>
                <a:gd name="T9" fmla="*/ 58738 h 15"/>
                <a:gd name="T10" fmla="*/ 19526 w 60"/>
                <a:gd name="T11" fmla="*/ 54822 h 15"/>
                <a:gd name="T12" fmla="*/ 22860 w 60"/>
                <a:gd name="T13" fmla="*/ 46990 h 15"/>
                <a:gd name="T14" fmla="*/ 26194 w 60"/>
                <a:gd name="T15" fmla="*/ 35243 h 15"/>
                <a:gd name="T16" fmla="*/ 28575 w 60"/>
                <a:gd name="T17" fmla="*/ 19579 h 15"/>
                <a:gd name="T18" fmla="*/ 27146 w 60"/>
                <a:gd name="T19" fmla="*/ 11748 h 15"/>
                <a:gd name="T20" fmla="*/ 25718 w 60"/>
                <a:gd name="T21" fmla="*/ 0 h 15"/>
                <a:gd name="T22" fmla="*/ 24289 w 60"/>
                <a:gd name="T23" fmla="*/ 0 h 15"/>
                <a:gd name="T24" fmla="*/ 22384 w 60"/>
                <a:gd name="T25" fmla="*/ 0 h 15"/>
                <a:gd name="T26" fmla="*/ 19050 w 60"/>
                <a:gd name="T27" fmla="*/ 0 h 15"/>
                <a:gd name="T28" fmla="*/ 15716 w 60"/>
                <a:gd name="T29" fmla="*/ 11748 h 15"/>
                <a:gd name="T30" fmla="*/ 11430 w 60"/>
                <a:gd name="T31" fmla="*/ 23495 h 15"/>
                <a:gd name="T32" fmla="*/ 7620 w 60"/>
                <a:gd name="T33" fmla="*/ 31327 h 15"/>
                <a:gd name="T34" fmla="*/ 3334 w 60"/>
                <a:gd name="T35" fmla="*/ 39159 h 15"/>
                <a:gd name="T36" fmla="*/ 0 w 60"/>
                <a:gd name="T37" fmla="*/ 43075 h 1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33" name="Freeform 202">
              <a:extLst>
                <a:ext uri="{FF2B5EF4-FFF2-40B4-BE49-F238E27FC236}">
                  <a16:creationId xmlns:a16="http://schemas.microsoft.com/office/drawing/2014/main" xmlns="" id="{F792BC8E-A73F-D32E-865E-FC82ADB9793C}"/>
                </a:ext>
              </a:extLst>
            </p:cNvPr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2657799" y="3726958"/>
              <a:ext cx="28841" cy="41835"/>
            </a:xfrm>
            <a:custGeom>
              <a:avLst/>
              <a:gdLst>
                <a:gd name="T0" fmla="*/ 16880 w 79"/>
                <a:gd name="T1" fmla="*/ 0 h 32"/>
                <a:gd name="T2" fmla="*/ 14348 w 79"/>
                <a:gd name="T3" fmla="*/ 1786 h 32"/>
                <a:gd name="T4" fmla="*/ 12660 w 79"/>
                <a:gd name="T5" fmla="*/ 3572 h 32"/>
                <a:gd name="T6" fmla="*/ 10550 w 79"/>
                <a:gd name="T7" fmla="*/ 7144 h 32"/>
                <a:gd name="T8" fmla="*/ 8440 w 79"/>
                <a:gd name="T9" fmla="*/ 10716 h 32"/>
                <a:gd name="T10" fmla="*/ 6330 w 79"/>
                <a:gd name="T11" fmla="*/ 16073 h 32"/>
                <a:gd name="T12" fmla="*/ 4220 w 79"/>
                <a:gd name="T13" fmla="*/ 19645 h 32"/>
                <a:gd name="T14" fmla="*/ 2110 w 79"/>
                <a:gd name="T15" fmla="*/ 21431 h 32"/>
                <a:gd name="T16" fmla="*/ 0 w 79"/>
                <a:gd name="T17" fmla="*/ 23217 h 32"/>
                <a:gd name="T18" fmla="*/ 2110 w 79"/>
                <a:gd name="T19" fmla="*/ 37505 h 32"/>
                <a:gd name="T20" fmla="*/ 4220 w 79"/>
                <a:gd name="T21" fmla="*/ 46434 h 32"/>
                <a:gd name="T22" fmla="*/ 5064 w 79"/>
                <a:gd name="T23" fmla="*/ 51792 h 32"/>
                <a:gd name="T24" fmla="*/ 6330 w 79"/>
                <a:gd name="T25" fmla="*/ 55364 h 32"/>
                <a:gd name="T26" fmla="*/ 7596 w 79"/>
                <a:gd name="T27" fmla="*/ 55364 h 32"/>
                <a:gd name="T28" fmla="*/ 8440 w 79"/>
                <a:gd name="T29" fmla="*/ 57150 h 32"/>
                <a:gd name="T30" fmla="*/ 11394 w 79"/>
                <a:gd name="T31" fmla="*/ 55364 h 32"/>
                <a:gd name="T32" fmla="*/ 14348 w 79"/>
                <a:gd name="T33" fmla="*/ 53578 h 32"/>
                <a:gd name="T34" fmla="*/ 17302 w 79"/>
                <a:gd name="T35" fmla="*/ 48220 h 32"/>
                <a:gd name="T36" fmla="*/ 20256 w 79"/>
                <a:gd name="T37" fmla="*/ 42863 h 32"/>
                <a:gd name="T38" fmla="*/ 26164 w 79"/>
                <a:gd name="T39" fmla="*/ 32147 h 32"/>
                <a:gd name="T40" fmla="*/ 33338 w 79"/>
                <a:gd name="T41" fmla="*/ 23217 h 32"/>
                <a:gd name="T42" fmla="*/ 28274 w 79"/>
                <a:gd name="T43" fmla="*/ 10716 h 32"/>
                <a:gd name="T44" fmla="*/ 24476 w 79"/>
                <a:gd name="T45" fmla="*/ 3572 h 32"/>
                <a:gd name="T46" fmla="*/ 20678 w 79"/>
                <a:gd name="T47" fmla="*/ 1786 h 32"/>
                <a:gd name="T48" fmla="*/ 16880 w 79"/>
                <a:gd name="T49" fmla="*/ 0 h 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34" name="Freeform 203">
              <a:extLst>
                <a:ext uri="{FF2B5EF4-FFF2-40B4-BE49-F238E27FC236}">
                  <a16:creationId xmlns:a16="http://schemas.microsoft.com/office/drawing/2014/main" xmlns="" id="{268856BA-1647-90AE-DBDB-AE068E830700}"/>
                </a:ext>
              </a:extLst>
            </p:cNvPr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2652306" y="3713013"/>
              <a:ext cx="26095" cy="41835"/>
            </a:xfrm>
            <a:custGeom>
              <a:avLst/>
              <a:gdLst>
                <a:gd name="T0" fmla="*/ 15082 w 66"/>
                <a:gd name="T1" fmla="*/ 0 h 19"/>
                <a:gd name="T2" fmla="*/ 11425 w 66"/>
                <a:gd name="T3" fmla="*/ 3008 h 19"/>
                <a:gd name="T4" fmla="*/ 8683 w 66"/>
                <a:gd name="T5" fmla="*/ 6016 h 19"/>
                <a:gd name="T6" fmla="*/ 5941 w 66"/>
                <a:gd name="T7" fmla="*/ 12032 h 19"/>
                <a:gd name="T8" fmla="*/ 4113 w 66"/>
                <a:gd name="T9" fmla="*/ 21055 h 19"/>
                <a:gd name="T10" fmla="*/ 2285 w 66"/>
                <a:gd name="T11" fmla="*/ 33087 h 19"/>
                <a:gd name="T12" fmla="*/ 914 w 66"/>
                <a:gd name="T13" fmla="*/ 42111 h 19"/>
                <a:gd name="T14" fmla="*/ 0 w 66"/>
                <a:gd name="T15" fmla="*/ 51134 h 19"/>
                <a:gd name="T16" fmla="*/ 0 w 66"/>
                <a:gd name="T17" fmla="*/ 57150 h 19"/>
                <a:gd name="T18" fmla="*/ 8683 w 66"/>
                <a:gd name="T19" fmla="*/ 57150 h 19"/>
                <a:gd name="T20" fmla="*/ 17367 w 66"/>
                <a:gd name="T21" fmla="*/ 57150 h 19"/>
                <a:gd name="T22" fmla="*/ 21023 w 66"/>
                <a:gd name="T23" fmla="*/ 54142 h 19"/>
                <a:gd name="T24" fmla="*/ 24679 w 66"/>
                <a:gd name="T25" fmla="*/ 51134 h 19"/>
                <a:gd name="T26" fmla="*/ 27878 w 66"/>
                <a:gd name="T27" fmla="*/ 45118 h 19"/>
                <a:gd name="T28" fmla="*/ 30163 w 66"/>
                <a:gd name="T29" fmla="*/ 39103 h 19"/>
                <a:gd name="T30" fmla="*/ 26050 w 66"/>
                <a:gd name="T31" fmla="*/ 24063 h 19"/>
                <a:gd name="T32" fmla="*/ 22851 w 66"/>
                <a:gd name="T33" fmla="*/ 12032 h 19"/>
                <a:gd name="T34" fmla="*/ 19195 w 66"/>
                <a:gd name="T35" fmla="*/ 3008 h 19"/>
                <a:gd name="T36" fmla="*/ 15082 w 66"/>
                <a:gd name="T37" fmla="*/ 0 h 1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35" name="Freeform 204">
              <a:extLst>
                <a:ext uri="{FF2B5EF4-FFF2-40B4-BE49-F238E27FC236}">
                  <a16:creationId xmlns:a16="http://schemas.microsoft.com/office/drawing/2014/main" xmlns="" id="{992DC0B3-24F8-738B-34BC-546ABED22042}"/>
                </a:ext>
              </a:extLst>
            </p:cNvPr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2565783" y="3486413"/>
              <a:ext cx="21974" cy="44158"/>
            </a:xfrm>
            <a:custGeom>
              <a:avLst/>
              <a:gdLst>
                <a:gd name="T0" fmla="*/ 6230 w 53"/>
                <a:gd name="T1" fmla="*/ 0 h 80"/>
                <a:gd name="T2" fmla="*/ 3834 w 53"/>
                <a:gd name="T3" fmla="*/ 3770 h 80"/>
                <a:gd name="T4" fmla="*/ 1917 w 53"/>
                <a:gd name="T5" fmla="*/ 7541 h 80"/>
                <a:gd name="T6" fmla="*/ 958 w 53"/>
                <a:gd name="T7" fmla="*/ 9803 h 80"/>
                <a:gd name="T8" fmla="*/ 479 w 53"/>
                <a:gd name="T9" fmla="*/ 12065 h 80"/>
                <a:gd name="T10" fmla="*/ 0 w 53"/>
                <a:gd name="T11" fmla="*/ 15081 h 80"/>
                <a:gd name="T12" fmla="*/ 0 w 53"/>
                <a:gd name="T13" fmla="*/ 18852 h 80"/>
                <a:gd name="T14" fmla="*/ 0 w 53"/>
                <a:gd name="T15" fmla="*/ 22622 h 80"/>
                <a:gd name="T16" fmla="*/ 958 w 53"/>
                <a:gd name="T17" fmla="*/ 29408 h 80"/>
                <a:gd name="T18" fmla="*/ 2875 w 53"/>
                <a:gd name="T19" fmla="*/ 36195 h 80"/>
                <a:gd name="T20" fmla="*/ 4313 w 53"/>
                <a:gd name="T21" fmla="*/ 42982 h 80"/>
                <a:gd name="T22" fmla="*/ 6230 w 53"/>
                <a:gd name="T23" fmla="*/ 49768 h 80"/>
                <a:gd name="T24" fmla="*/ 9585 w 53"/>
                <a:gd name="T25" fmla="*/ 55047 h 80"/>
                <a:gd name="T26" fmla="*/ 10543 w 53"/>
                <a:gd name="T27" fmla="*/ 57309 h 80"/>
                <a:gd name="T28" fmla="*/ 12460 w 53"/>
                <a:gd name="T29" fmla="*/ 58817 h 80"/>
                <a:gd name="T30" fmla="*/ 14377 w 53"/>
                <a:gd name="T31" fmla="*/ 60325 h 80"/>
                <a:gd name="T32" fmla="*/ 15815 w 53"/>
                <a:gd name="T33" fmla="*/ 60325 h 80"/>
                <a:gd name="T34" fmla="*/ 17253 w 53"/>
                <a:gd name="T35" fmla="*/ 59571 h 80"/>
                <a:gd name="T36" fmla="*/ 18211 w 53"/>
                <a:gd name="T37" fmla="*/ 58817 h 80"/>
                <a:gd name="T38" fmla="*/ 20128 w 53"/>
                <a:gd name="T39" fmla="*/ 57309 h 80"/>
                <a:gd name="T40" fmla="*/ 21566 w 53"/>
                <a:gd name="T41" fmla="*/ 55047 h 80"/>
                <a:gd name="T42" fmla="*/ 23004 w 53"/>
                <a:gd name="T43" fmla="*/ 52784 h 80"/>
                <a:gd name="T44" fmla="*/ 24442 w 53"/>
                <a:gd name="T45" fmla="*/ 50522 h 80"/>
                <a:gd name="T46" fmla="*/ 25400 w 53"/>
                <a:gd name="T47" fmla="*/ 48260 h 80"/>
                <a:gd name="T48" fmla="*/ 25400 w 53"/>
                <a:gd name="T49" fmla="*/ 46752 h 80"/>
                <a:gd name="T50" fmla="*/ 24921 w 53"/>
                <a:gd name="T51" fmla="*/ 40719 h 80"/>
                <a:gd name="T52" fmla="*/ 23483 w 53"/>
                <a:gd name="T53" fmla="*/ 35441 h 80"/>
                <a:gd name="T54" fmla="*/ 22045 w 53"/>
                <a:gd name="T55" fmla="*/ 31671 h 80"/>
                <a:gd name="T56" fmla="*/ 20608 w 53"/>
                <a:gd name="T57" fmla="*/ 27900 h 80"/>
                <a:gd name="T58" fmla="*/ 19170 w 53"/>
                <a:gd name="T59" fmla="*/ 24130 h 80"/>
                <a:gd name="T60" fmla="*/ 17253 w 53"/>
                <a:gd name="T61" fmla="*/ 20360 h 80"/>
                <a:gd name="T62" fmla="*/ 16294 w 53"/>
                <a:gd name="T63" fmla="*/ 15081 h 80"/>
                <a:gd name="T64" fmla="*/ 15815 w 53"/>
                <a:gd name="T65" fmla="*/ 9049 h 80"/>
                <a:gd name="T66" fmla="*/ 15815 w 53"/>
                <a:gd name="T67" fmla="*/ 7541 h 80"/>
                <a:gd name="T68" fmla="*/ 14857 w 53"/>
                <a:gd name="T69" fmla="*/ 6033 h 80"/>
                <a:gd name="T70" fmla="*/ 13898 w 53"/>
                <a:gd name="T71" fmla="*/ 4524 h 80"/>
                <a:gd name="T72" fmla="*/ 11981 w 53"/>
                <a:gd name="T73" fmla="*/ 3016 h 80"/>
                <a:gd name="T74" fmla="*/ 9106 w 53"/>
                <a:gd name="T75" fmla="*/ 754 h 80"/>
                <a:gd name="T76" fmla="*/ 6230 w 53"/>
                <a:gd name="T77" fmla="*/ 0 h 8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36" name="Freeform 205">
              <a:extLst>
                <a:ext uri="{FF2B5EF4-FFF2-40B4-BE49-F238E27FC236}">
                  <a16:creationId xmlns:a16="http://schemas.microsoft.com/office/drawing/2014/main" xmlns="" id="{8BB40D3B-E0A6-C0CA-604E-B895CEAF491C}"/>
                </a:ext>
              </a:extLst>
            </p:cNvPr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2591878" y="3556137"/>
              <a:ext cx="15108" cy="39510"/>
            </a:xfrm>
            <a:custGeom>
              <a:avLst/>
              <a:gdLst>
                <a:gd name="T0" fmla="*/ 0 w 41"/>
                <a:gd name="T1" fmla="*/ 53975 h 43"/>
                <a:gd name="T2" fmla="*/ 11500 w 41"/>
                <a:gd name="T3" fmla="*/ 53975 h 43"/>
                <a:gd name="T4" fmla="*/ 17463 w 41"/>
                <a:gd name="T5" fmla="*/ 30126 h 43"/>
                <a:gd name="T6" fmla="*/ 16185 w 41"/>
                <a:gd name="T7" fmla="*/ 15063 h 43"/>
                <a:gd name="T8" fmla="*/ 14482 w 41"/>
                <a:gd name="T9" fmla="*/ 0 h 43"/>
                <a:gd name="T10" fmla="*/ 11500 w 41"/>
                <a:gd name="T11" fmla="*/ 5021 h 43"/>
                <a:gd name="T12" fmla="*/ 8519 w 41"/>
                <a:gd name="T13" fmla="*/ 11297 h 43"/>
                <a:gd name="T14" fmla="*/ 6389 w 41"/>
                <a:gd name="T15" fmla="*/ 17573 h 43"/>
                <a:gd name="T16" fmla="*/ 4259 w 41"/>
                <a:gd name="T17" fmla="*/ 23849 h 43"/>
                <a:gd name="T18" fmla="*/ 2556 w 41"/>
                <a:gd name="T19" fmla="*/ 30126 h 43"/>
                <a:gd name="T20" fmla="*/ 1278 w 41"/>
                <a:gd name="T21" fmla="*/ 37657 h 43"/>
                <a:gd name="T22" fmla="*/ 426 w 41"/>
                <a:gd name="T23" fmla="*/ 46444 h 43"/>
                <a:gd name="T24" fmla="*/ 0 w 41"/>
                <a:gd name="T25" fmla="*/ 53975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37" name="Freeform 206">
              <a:extLst>
                <a:ext uri="{FF2B5EF4-FFF2-40B4-BE49-F238E27FC236}">
                  <a16:creationId xmlns:a16="http://schemas.microsoft.com/office/drawing/2014/main" xmlns="" id="{3523F538-AE1A-73AB-7A56-D69DE3961322}"/>
                </a:ext>
              </a:extLst>
            </p:cNvPr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2595998" y="3572405"/>
              <a:ext cx="6866" cy="42996"/>
            </a:xfrm>
            <a:custGeom>
              <a:avLst/>
              <a:gdLst>
                <a:gd name="T0" fmla="*/ 7937 w 20"/>
                <a:gd name="T1" fmla="*/ 0 h 24"/>
                <a:gd name="T2" fmla="*/ 0 w 20"/>
                <a:gd name="T3" fmla="*/ 0 h 24"/>
                <a:gd name="T4" fmla="*/ 397 w 20"/>
                <a:gd name="T5" fmla="*/ 12237 h 24"/>
                <a:gd name="T6" fmla="*/ 794 w 20"/>
                <a:gd name="T7" fmla="*/ 22026 h 24"/>
                <a:gd name="T8" fmla="*/ 1587 w 20"/>
                <a:gd name="T9" fmla="*/ 31816 h 24"/>
                <a:gd name="T10" fmla="*/ 2778 w 20"/>
                <a:gd name="T11" fmla="*/ 41605 h 24"/>
                <a:gd name="T12" fmla="*/ 3969 w 20"/>
                <a:gd name="T13" fmla="*/ 48948 h 24"/>
                <a:gd name="T14" fmla="*/ 5556 w 20"/>
                <a:gd name="T15" fmla="*/ 53842 h 24"/>
                <a:gd name="T16" fmla="*/ 6746 w 20"/>
                <a:gd name="T17" fmla="*/ 58737 h 24"/>
                <a:gd name="T18" fmla="*/ 7937 w 20"/>
                <a:gd name="T19" fmla="*/ 58737 h 24"/>
                <a:gd name="T20" fmla="*/ 7937 w 20"/>
                <a:gd name="T21" fmla="*/ 0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38" name="Freeform 207">
              <a:extLst>
                <a:ext uri="{FF2B5EF4-FFF2-40B4-BE49-F238E27FC236}">
                  <a16:creationId xmlns:a16="http://schemas.microsoft.com/office/drawing/2014/main" xmlns="" id="{C94D7F69-2F03-C380-B88B-ECE4E4737014}"/>
                </a:ext>
              </a:extLst>
            </p:cNvPr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2608358" y="3617725"/>
              <a:ext cx="15108" cy="44158"/>
            </a:xfrm>
            <a:custGeom>
              <a:avLst/>
              <a:gdLst>
                <a:gd name="T0" fmla="*/ 0 w 39"/>
                <a:gd name="T1" fmla="*/ 16835 h 43"/>
                <a:gd name="T2" fmla="*/ 896 w 39"/>
                <a:gd name="T3" fmla="*/ 23849 h 43"/>
                <a:gd name="T4" fmla="*/ 2687 w 39"/>
                <a:gd name="T5" fmla="*/ 30864 h 43"/>
                <a:gd name="T6" fmla="*/ 5373 w 39"/>
                <a:gd name="T7" fmla="*/ 37878 h 43"/>
                <a:gd name="T8" fmla="*/ 7164 w 39"/>
                <a:gd name="T9" fmla="*/ 44893 h 43"/>
                <a:gd name="T10" fmla="*/ 10299 w 39"/>
                <a:gd name="T11" fmla="*/ 51908 h 43"/>
                <a:gd name="T12" fmla="*/ 12538 w 39"/>
                <a:gd name="T13" fmla="*/ 56116 h 43"/>
                <a:gd name="T14" fmla="*/ 15224 w 39"/>
                <a:gd name="T15" fmla="*/ 60325 h 43"/>
                <a:gd name="T16" fmla="*/ 17463 w 39"/>
                <a:gd name="T17" fmla="*/ 60325 h 43"/>
                <a:gd name="T18" fmla="*/ 17015 w 39"/>
                <a:gd name="T19" fmla="*/ 44893 h 43"/>
                <a:gd name="T20" fmla="*/ 16120 w 39"/>
                <a:gd name="T21" fmla="*/ 26655 h 43"/>
                <a:gd name="T22" fmla="*/ 15224 w 39"/>
                <a:gd name="T23" fmla="*/ 11223 h 43"/>
                <a:gd name="T24" fmla="*/ 14329 w 39"/>
                <a:gd name="T25" fmla="*/ 0 h 43"/>
                <a:gd name="T26" fmla="*/ 8508 w 39"/>
                <a:gd name="T27" fmla="*/ 4209 h 43"/>
                <a:gd name="T28" fmla="*/ 2687 w 39"/>
                <a:gd name="T29" fmla="*/ 8417 h 43"/>
                <a:gd name="T30" fmla="*/ 0 w 39"/>
                <a:gd name="T31" fmla="*/ 16835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39" name="Freeform 208">
              <a:extLst>
                <a:ext uri="{FF2B5EF4-FFF2-40B4-BE49-F238E27FC236}">
                  <a16:creationId xmlns:a16="http://schemas.microsoft.com/office/drawing/2014/main" xmlns="" id="{CE51DCEB-A807-A1DA-6327-F623EB0DF680}"/>
                </a:ext>
              </a:extLst>
            </p:cNvPr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2597370" y="3627021"/>
              <a:ext cx="23348" cy="42997"/>
            </a:xfrm>
            <a:custGeom>
              <a:avLst/>
              <a:gdLst>
                <a:gd name="T0" fmla="*/ 14230 w 55"/>
                <a:gd name="T1" fmla="*/ 24632 h 62"/>
                <a:gd name="T2" fmla="*/ 3926 w 55"/>
                <a:gd name="T3" fmla="*/ 0 h 62"/>
                <a:gd name="T4" fmla="*/ 1963 w 55"/>
                <a:gd name="T5" fmla="*/ 4737 h 62"/>
                <a:gd name="T6" fmla="*/ 491 w 55"/>
                <a:gd name="T7" fmla="*/ 10421 h 62"/>
                <a:gd name="T8" fmla="*/ 0 w 55"/>
                <a:gd name="T9" fmla="*/ 15158 h 62"/>
                <a:gd name="T10" fmla="*/ 0 w 55"/>
                <a:gd name="T11" fmla="*/ 19895 h 62"/>
                <a:gd name="T12" fmla="*/ 981 w 55"/>
                <a:gd name="T13" fmla="*/ 24632 h 62"/>
                <a:gd name="T14" fmla="*/ 1963 w 55"/>
                <a:gd name="T15" fmla="*/ 29369 h 62"/>
                <a:gd name="T16" fmla="*/ 3926 w 55"/>
                <a:gd name="T17" fmla="*/ 34106 h 62"/>
                <a:gd name="T18" fmla="*/ 5398 w 55"/>
                <a:gd name="T19" fmla="*/ 38843 h 62"/>
                <a:gd name="T20" fmla="*/ 7851 w 55"/>
                <a:gd name="T21" fmla="*/ 42632 h 62"/>
                <a:gd name="T22" fmla="*/ 10305 w 55"/>
                <a:gd name="T23" fmla="*/ 46422 h 62"/>
                <a:gd name="T24" fmla="*/ 12758 w 55"/>
                <a:gd name="T25" fmla="*/ 50212 h 62"/>
                <a:gd name="T26" fmla="*/ 16193 w 55"/>
                <a:gd name="T27" fmla="*/ 53054 h 62"/>
                <a:gd name="T28" fmla="*/ 18646 w 55"/>
                <a:gd name="T29" fmla="*/ 54948 h 62"/>
                <a:gd name="T30" fmla="*/ 21590 w 55"/>
                <a:gd name="T31" fmla="*/ 56843 h 62"/>
                <a:gd name="T32" fmla="*/ 24044 w 55"/>
                <a:gd name="T33" fmla="*/ 57791 h 62"/>
                <a:gd name="T34" fmla="*/ 26988 w 55"/>
                <a:gd name="T35" fmla="*/ 58738 h 62"/>
                <a:gd name="T36" fmla="*/ 26497 w 55"/>
                <a:gd name="T37" fmla="*/ 50212 h 62"/>
                <a:gd name="T38" fmla="*/ 26007 w 55"/>
                <a:gd name="T39" fmla="*/ 43580 h 62"/>
                <a:gd name="T40" fmla="*/ 24044 w 55"/>
                <a:gd name="T41" fmla="*/ 37895 h 62"/>
                <a:gd name="T42" fmla="*/ 22572 w 55"/>
                <a:gd name="T43" fmla="*/ 33159 h 62"/>
                <a:gd name="T44" fmla="*/ 21100 w 55"/>
                <a:gd name="T45" fmla="*/ 29369 h 62"/>
                <a:gd name="T46" fmla="*/ 18646 w 55"/>
                <a:gd name="T47" fmla="*/ 26527 h 62"/>
                <a:gd name="T48" fmla="*/ 16193 w 55"/>
                <a:gd name="T49" fmla="*/ 24632 h 62"/>
                <a:gd name="T50" fmla="*/ 14230 w 55"/>
                <a:gd name="T51" fmla="*/ 24632 h 6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40" name="Freeform 209">
              <a:extLst>
                <a:ext uri="{FF2B5EF4-FFF2-40B4-BE49-F238E27FC236}">
                  <a16:creationId xmlns:a16="http://schemas.microsoft.com/office/drawing/2014/main" xmlns="" id="{27D0CF07-2520-E152-B39E-E6DF502A34BE}"/>
                </a:ext>
              </a:extLst>
            </p:cNvPr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2623465" y="3651425"/>
              <a:ext cx="9613" cy="42996"/>
            </a:xfrm>
            <a:custGeom>
              <a:avLst/>
              <a:gdLst>
                <a:gd name="T0" fmla="*/ 10477 w 35"/>
                <a:gd name="T1" fmla="*/ 17758 h 43"/>
                <a:gd name="T2" fmla="*/ 2222 w 35"/>
                <a:gd name="T3" fmla="*/ 0 h 43"/>
                <a:gd name="T4" fmla="*/ 1270 w 35"/>
                <a:gd name="T5" fmla="*/ 10928 h 43"/>
                <a:gd name="T6" fmla="*/ 0 w 35"/>
                <a:gd name="T7" fmla="*/ 25954 h 43"/>
                <a:gd name="T8" fmla="*/ 635 w 35"/>
                <a:gd name="T9" fmla="*/ 38247 h 43"/>
                <a:gd name="T10" fmla="*/ 1587 w 35"/>
                <a:gd name="T11" fmla="*/ 49175 h 43"/>
                <a:gd name="T12" fmla="*/ 1905 w 35"/>
                <a:gd name="T13" fmla="*/ 53273 h 43"/>
                <a:gd name="T14" fmla="*/ 2540 w 35"/>
                <a:gd name="T15" fmla="*/ 56005 h 43"/>
                <a:gd name="T16" fmla="*/ 3492 w 35"/>
                <a:gd name="T17" fmla="*/ 58737 h 43"/>
                <a:gd name="T18" fmla="*/ 4445 w 35"/>
                <a:gd name="T19" fmla="*/ 58737 h 43"/>
                <a:gd name="T20" fmla="*/ 5715 w 35"/>
                <a:gd name="T21" fmla="*/ 58737 h 43"/>
                <a:gd name="T22" fmla="*/ 6985 w 35"/>
                <a:gd name="T23" fmla="*/ 57371 h 43"/>
                <a:gd name="T24" fmla="*/ 8255 w 35"/>
                <a:gd name="T25" fmla="*/ 56005 h 43"/>
                <a:gd name="T26" fmla="*/ 8890 w 35"/>
                <a:gd name="T27" fmla="*/ 53273 h 43"/>
                <a:gd name="T28" fmla="*/ 9842 w 35"/>
                <a:gd name="T29" fmla="*/ 47809 h 43"/>
                <a:gd name="T30" fmla="*/ 10477 w 35"/>
                <a:gd name="T31" fmla="*/ 40979 h 43"/>
                <a:gd name="T32" fmla="*/ 11112 w 35"/>
                <a:gd name="T33" fmla="*/ 27320 h 43"/>
                <a:gd name="T34" fmla="*/ 10477 w 35"/>
                <a:gd name="T35" fmla="*/ 17758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41" name="Freeform 210">
              <a:extLst>
                <a:ext uri="{FF2B5EF4-FFF2-40B4-BE49-F238E27FC236}">
                  <a16:creationId xmlns:a16="http://schemas.microsoft.com/office/drawing/2014/main" xmlns="" id="{F679D8A2-016E-ACDD-61A0-A21B98F1ED51}"/>
                </a:ext>
              </a:extLst>
            </p:cNvPr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2620719" y="3675828"/>
              <a:ext cx="17853" cy="40672"/>
            </a:xfrm>
            <a:custGeom>
              <a:avLst/>
              <a:gdLst>
                <a:gd name="T0" fmla="*/ 20637 w 53"/>
                <a:gd name="T1" fmla="*/ 0 h 21"/>
                <a:gd name="T2" fmla="*/ 15964 w 53"/>
                <a:gd name="T3" fmla="*/ 2646 h 21"/>
                <a:gd name="T4" fmla="*/ 12460 w 53"/>
                <a:gd name="T5" fmla="*/ 5292 h 21"/>
                <a:gd name="T6" fmla="*/ 9734 w 53"/>
                <a:gd name="T7" fmla="*/ 13229 h 21"/>
                <a:gd name="T8" fmla="*/ 8177 w 53"/>
                <a:gd name="T9" fmla="*/ 18521 h 21"/>
                <a:gd name="T10" fmla="*/ 6619 w 53"/>
                <a:gd name="T11" fmla="*/ 26459 h 21"/>
                <a:gd name="T12" fmla="*/ 5062 w 53"/>
                <a:gd name="T13" fmla="*/ 34396 h 21"/>
                <a:gd name="T14" fmla="*/ 3115 w 53"/>
                <a:gd name="T15" fmla="*/ 42334 h 21"/>
                <a:gd name="T16" fmla="*/ 0 w 53"/>
                <a:gd name="T17" fmla="*/ 47625 h 21"/>
                <a:gd name="T18" fmla="*/ 1947 w 53"/>
                <a:gd name="T19" fmla="*/ 52917 h 21"/>
                <a:gd name="T20" fmla="*/ 4283 w 53"/>
                <a:gd name="T21" fmla="*/ 55563 h 21"/>
                <a:gd name="T22" fmla="*/ 6619 w 53"/>
                <a:gd name="T23" fmla="*/ 55563 h 21"/>
                <a:gd name="T24" fmla="*/ 9345 w 53"/>
                <a:gd name="T25" fmla="*/ 55563 h 21"/>
                <a:gd name="T26" fmla="*/ 14796 w 53"/>
                <a:gd name="T27" fmla="*/ 50271 h 21"/>
                <a:gd name="T28" fmla="*/ 20637 w 53"/>
                <a:gd name="T29" fmla="*/ 47625 h 21"/>
                <a:gd name="T30" fmla="*/ 20637 w 53"/>
                <a:gd name="T31" fmla="*/ 0 h 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42" name="Freeform 211">
              <a:extLst>
                <a:ext uri="{FF2B5EF4-FFF2-40B4-BE49-F238E27FC236}">
                  <a16:creationId xmlns:a16="http://schemas.microsoft.com/office/drawing/2014/main" xmlns="" id="{6E39A25C-5518-3230-3F86-95B747A76DD9}"/>
                </a:ext>
              </a:extLst>
            </p:cNvPr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2641319" y="3686286"/>
              <a:ext cx="15108" cy="41835"/>
            </a:xfrm>
            <a:custGeom>
              <a:avLst/>
              <a:gdLst>
                <a:gd name="T0" fmla="*/ 8935 w 43"/>
                <a:gd name="T1" fmla="*/ 0 h 38"/>
                <a:gd name="T2" fmla="*/ 4873 w 43"/>
                <a:gd name="T3" fmla="*/ 0 h 38"/>
                <a:gd name="T4" fmla="*/ 812 w 43"/>
                <a:gd name="T5" fmla="*/ 0 h 38"/>
                <a:gd name="T6" fmla="*/ 406 w 43"/>
                <a:gd name="T7" fmla="*/ 0 h 38"/>
                <a:gd name="T8" fmla="*/ 0 w 43"/>
                <a:gd name="T9" fmla="*/ 1504 h 38"/>
                <a:gd name="T10" fmla="*/ 0 w 43"/>
                <a:gd name="T11" fmla="*/ 4512 h 38"/>
                <a:gd name="T12" fmla="*/ 0 w 43"/>
                <a:gd name="T13" fmla="*/ 9024 h 38"/>
                <a:gd name="T14" fmla="*/ 406 w 43"/>
                <a:gd name="T15" fmla="*/ 15039 h 38"/>
                <a:gd name="T16" fmla="*/ 812 w 43"/>
                <a:gd name="T17" fmla="*/ 18047 h 38"/>
                <a:gd name="T18" fmla="*/ 1218 w 43"/>
                <a:gd name="T19" fmla="*/ 27071 h 38"/>
                <a:gd name="T20" fmla="*/ 2031 w 43"/>
                <a:gd name="T21" fmla="*/ 37599 h 38"/>
                <a:gd name="T22" fmla="*/ 4061 w 43"/>
                <a:gd name="T23" fmla="*/ 45118 h 38"/>
                <a:gd name="T24" fmla="*/ 6092 w 43"/>
                <a:gd name="T25" fmla="*/ 51134 h 38"/>
                <a:gd name="T26" fmla="*/ 8528 w 43"/>
                <a:gd name="T27" fmla="*/ 55646 h 38"/>
                <a:gd name="T28" fmla="*/ 10965 w 43"/>
                <a:gd name="T29" fmla="*/ 57150 h 38"/>
                <a:gd name="T30" fmla="*/ 14214 w 43"/>
                <a:gd name="T31" fmla="*/ 57150 h 38"/>
                <a:gd name="T32" fmla="*/ 17463 w 43"/>
                <a:gd name="T33" fmla="*/ 55646 h 38"/>
                <a:gd name="T34" fmla="*/ 16245 w 43"/>
                <a:gd name="T35" fmla="*/ 43614 h 38"/>
                <a:gd name="T36" fmla="*/ 14620 w 43"/>
                <a:gd name="T37" fmla="*/ 34591 h 38"/>
                <a:gd name="T38" fmla="*/ 13402 w 43"/>
                <a:gd name="T39" fmla="*/ 25567 h 38"/>
                <a:gd name="T40" fmla="*/ 12183 w 43"/>
                <a:gd name="T41" fmla="*/ 19551 h 38"/>
                <a:gd name="T42" fmla="*/ 10965 w 43"/>
                <a:gd name="T43" fmla="*/ 15039 h 38"/>
                <a:gd name="T44" fmla="*/ 9747 w 43"/>
                <a:gd name="T45" fmla="*/ 10528 h 38"/>
                <a:gd name="T46" fmla="*/ 9341 w 43"/>
                <a:gd name="T47" fmla="*/ 6016 h 38"/>
                <a:gd name="T48" fmla="*/ 8935 w 43"/>
                <a:gd name="T49" fmla="*/ 0 h 3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43" name="Freeform 212">
              <a:extLst>
                <a:ext uri="{FF2B5EF4-FFF2-40B4-BE49-F238E27FC236}">
                  <a16:creationId xmlns:a16="http://schemas.microsoft.com/office/drawing/2014/main" xmlns="" id="{BCBB54D0-01B8-02D6-9FA2-624234C2DCC6}"/>
                </a:ext>
              </a:extLst>
            </p:cNvPr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2642692" y="3707203"/>
              <a:ext cx="5493" cy="41835"/>
            </a:xfrm>
            <a:custGeom>
              <a:avLst/>
              <a:gdLst>
                <a:gd name="T0" fmla="*/ 0 w 20"/>
                <a:gd name="T1" fmla="*/ 0 h 5"/>
                <a:gd name="T2" fmla="*/ 318 w 20"/>
                <a:gd name="T3" fmla="*/ 22860 h 5"/>
                <a:gd name="T4" fmla="*/ 635 w 20"/>
                <a:gd name="T5" fmla="*/ 34290 h 5"/>
                <a:gd name="T6" fmla="*/ 1270 w 20"/>
                <a:gd name="T7" fmla="*/ 45720 h 5"/>
                <a:gd name="T8" fmla="*/ 2223 w 20"/>
                <a:gd name="T9" fmla="*/ 57150 h 5"/>
                <a:gd name="T10" fmla="*/ 3493 w 20"/>
                <a:gd name="T11" fmla="*/ 45720 h 5"/>
                <a:gd name="T12" fmla="*/ 4445 w 20"/>
                <a:gd name="T13" fmla="*/ 34290 h 5"/>
                <a:gd name="T14" fmla="*/ 5398 w 20"/>
                <a:gd name="T15" fmla="*/ 22860 h 5"/>
                <a:gd name="T16" fmla="*/ 6350 w 20"/>
                <a:gd name="T17" fmla="*/ 0 h 5"/>
                <a:gd name="T18" fmla="*/ 0 w 20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44" name="Freeform 213">
              <a:extLst>
                <a:ext uri="{FF2B5EF4-FFF2-40B4-BE49-F238E27FC236}">
                  <a16:creationId xmlns:a16="http://schemas.microsoft.com/office/drawing/2014/main" xmlns="" id="{FBFF2945-F798-F627-98D7-8441AA51B50D}"/>
                </a:ext>
              </a:extLst>
            </p:cNvPr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2707241" y="3758334"/>
              <a:ext cx="30214" cy="41835"/>
            </a:xfrm>
            <a:custGeom>
              <a:avLst/>
              <a:gdLst>
                <a:gd name="T0" fmla="*/ 19137 w 73"/>
                <a:gd name="T1" fmla="*/ 0 h 22"/>
                <a:gd name="T2" fmla="*/ 15310 w 73"/>
                <a:gd name="T3" fmla="*/ 2598 h 22"/>
                <a:gd name="T4" fmla="*/ 12439 w 73"/>
                <a:gd name="T5" fmla="*/ 5195 h 22"/>
                <a:gd name="T6" fmla="*/ 9568 w 73"/>
                <a:gd name="T7" fmla="*/ 12989 h 22"/>
                <a:gd name="T8" fmla="*/ 7176 w 73"/>
                <a:gd name="T9" fmla="*/ 20782 h 22"/>
                <a:gd name="T10" fmla="*/ 2871 w 73"/>
                <a:gd name="T11" fmla="*/ 36368 h 22"/>
                <a:gd name="T12" fmla="*/ 0 w 73"/>
                <a:gd name="T13" fmla="*/ 49357 h 22"/>
                <a:gd name="T14" fmla="*/ 9568 w 73"/>
                <a:gd name="T15" fmla="*/ 51955 h 22"/>
                <a:gd name="T16" fmla="*/ 18659 w 73"/>
                <a:gd name="T17" fmla="*/ 57150 h 22"/>
                <a:gd name="T18" fmla="*/ 23443 w 73"/>
                <a:gd name="T19" fmla="*/ 57150 h 22"/>
                <a:gd name="T20" fmla="*/ 27270 w 73"/>
                <a:gd name="T21" fmla="*/ 57150 h 22"/>
                <a:gd name="T22" fmla="*/ 31098 w 73"/>
                <a:gd name="T23" fmla="*/ 54552 h 22"/>
                <a:gd name="T24" fmla="*/ 34925 w 73"/>
                <a:gd name="T25" fmla="*/ 49357 h 22"/>
                <a:gd name="T26" fmla="*/ 30619 w 73"/>
                <a:gd name="T27" fmla="*/ 36368 h 22"/>
                <a:gd name="T28" fmla="*/ 26792 w 73"/>
                <a:gd name="T29" fmla="*/ 20782 h 22"/>
                <a:gd name="T30" fmla="*/ 25357 w 73"/>
                <a:gd name="T31" fmla="*/ 12989 h 22"/>
                <a:gd name="T32" fmla="*/ 23443 w 73"/>
                <a:gd name="T33" fmla="*/ 5195 h 22"/>
                <a:gd name="T34" fmla="*/ 21051 w 73"/>
                <a:gd name="T35" fmla="*/ 2598 h 22"/>
                <a:gd name="T36" fmla="*/ 19137 w 73"/>
                <a:gd name="T37" fmla="*/ 0 h 2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45" name="Freeform 214">
              <a:extLst>
                <a:ext uri="{FF2B5EF4-FFF2-40B4-BE49-F238E27FC236}">
                  <a16:creationId xmlns:a16="http://schemas.microsoft.com/office/drawing/2014/main" xmlns="" id="{B55BA927-E3D4-308E-C458-02EA1A58B6C4}"/>
                </a:ext>
              </a:extLst>
            </p:cNvPr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2740202" y="3715338"/>
              <a:ext cx="107123" cy="73210"/>
            </a:xfrm>
            <a:custGeom>
              <a:avLst/>
              <a:gdLst>
                <a:gd name="T0" fmla="*/ 103555 w 281"/>
                <a:gd name="T1" fmla="*/ 87058 h 193"/>
                <a:gd name="T2" fmla="*/ 82844 w 281"/>
                <a:gd name="T3" fmla="*/ 88613 h 193"/>
                <a:gd name="T4" fmla="*/ 74031 w 281"/>
                <a:gd name="T5" fmla="*/ 87058 h 193"/>
                <a:gd name="T6" fmla="*/ 68302 w 281"/>
                <a:gd name="T7" fmla="*/ 84985 h 193"/>
                <a:gd name="T8" fmla="*/ 57286 w 281"/>
                <a:gd name="T9" fmla="*/ 69957 h 193"/>
                <a:gd name="T10" fmla="*/ 45828 w 281"/>
                <a:gd name="T11" fmla="*/ 48711 h 193"/>
                <a:gd name="T12" fmla="*/ 41422 w 281"/>
                <a:gd name="T13" fmla="*/ 38347 h 193"/>
                <a:gd name="T14" fmla="*/ 38337 w 281"/>
                <a:gd name="T15" fmla="*/ 26428 h 193"/>
                <a:gd name="T16" fmla="*/ 36575 w 281"/>
                <a:gd name="T17" fmla="*/ 13991 h 193"/>
                <a:gd name="T18" fmla="*/ 18948 w 281"/>
                <a:gd name="T19" fmla="*/ 0 h 193"/>
                <a:gd name="T20" fmla="*/ 12338 w 281"/>
                <a:gd name="T21" fmla="*/ 26947 h 193"/>
                <a:gd name="T22" fmla="*/ 7932 w 281"/>
                <a:gd name="T23" fmla="*/ 31610 h 193"/>
                <a:gd name="T24" fmla="*/ 2644 w 281"/>
                <a:gd name="T25" fmla="*/ 35756 h 193"/>
                <a:gd name="T26" fmla="*/ 0 w 281"/>
                <a:gd name="T27" fmla="*/ 37829 h 193"/>
                <a:gd name="T28" fmla="*/ 441 w 281"/>
                <a:gd name="T29" fmla="*/ 38865 h 193"/>
                <a:gd name="T30" fmla="*/ 3966 w 281"/>
                <a:gd name="T31" fmla="*/ 41974 h 193"/>
                <a:gd name="T32" fmla="*/ 16304 w 281"/>
                <a:gd name="T33" fmla="*/ 57520 h 193"/>
                <a:gd name="T34" fmla="*/ 19830 w 281"/>
                <a:gd name="T35" fmla="*/ 63221 h 193"/>
                <a:gd name="T36" fmla="*/ 23355 w 281"/>
                <a:gd name="T37" fmla="*/ 66848 h 193"/>
                <a:gd name="T38" fmla="*/ 27321 w 281"/>
                <a:gd name="T39" fmla="*/ 69439 h 193"/>
                <a:gd name="T40" fmla="*/ 31287 w 281"/>
                <a:gd name="T41" fmla="*/ 70475 h 193"/>
                <a:gd name="T42" fmla="*/ 33490 w 281"/>
                <a:gd name="T43" fmla="*/ 73066 h 193"/>
                <a:gd name="T44" fmla="*/ 34812 w 281"/>
                <a:gd name="T45" fmla="*/ 76694 h 193"/>
                <a:gd name="T46" fmla="*/ 37897 w 281"/>
                <a:gd name="T47" fmla="*/ 79285 h 193"/>
                <a:gd name="T48" fmla="*/ 43625 w 281"/>
                <a:gd name="T49" fmla="*/ 79803 h 193"/>
                <a:gd name="T50" fmla="*/ 46710 w 281"/>
                <a:gd name="T51" fmla="*/ 81358 h 193"/>
                <a:gd name="T52" fmla="*/ 48032 w 281"/>
                <a:gd name="T53" fmla="*/ 84467 h 193"/>
                <a:gd name="T54" fmla="*/ 48032 w 281"/>
                <a:gd name="T55" fmla="*/ 92758 h 193"/>
                <a:gd name="T56" fmla="*/ 48913 w 281"/>
                <a:gd name="T57" fmla="*/ 97940 h 193"/>
                <a:gd name="T58" fmla="*/ 50676 w 281"/>
                <a:gd name="T59" fmla="*/ 100013 h 193"/>
                <a:gd name="T60" fmla="*/ 56845 w 281"/>
                <a:gd name="T61" fmla="*/ 100013 h 193"/>
                <a:gd name="T62" fmla="*/ 72268 w 281"/>
                <a:gd name="T63" fmla="*/ 98977 h 193"/>
                <a:gd name="T64" fmla="*/ 79319 w 281"/>
                <a:gd name="T65" fmla="*/ 97940 h 193"/>
                <a:gd name="T66" fmla="*/ 84606 w 281"/>
                <a:gd name="T67" fmla="*/ 96386 h 193"/>
                <a:gd name="T68" fmla="*/ 93420 w 281"/>
                <a:gd name="T69" fmla="*/ 97422 h 193"/>
                <a:gd name="T70" fmla="*/ 123825 w 281"/>
                <a:gd name="T71" fmla="*/ 86540 h 19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46" name="Freeform 215">
              <a:extLst>
                <a:ext uri="{FF2B5EF4-FFF2-40B4-BE49-F238E27FC236}">
                  <a16:creationId xmlns:a16="http://schemas.microsoft.com/office/drawing/2014/main" xmlns="" id="{4C9F1727-4A6B-0B90-E6ED-2E2CD967C6D3}"/>
                </a:ext>
              </a:extLst>
            </p:cNvPr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2352909" y="2080325"/>
              <a:ext cx="45322" cy="42996"/>
            </a:xfrm>
            <a:custGeom>
              <a:avLst/>
              <a:gdLst>
                <a:gd name="T0" fmla="*/ 0 w 120"/>
                <a:gd name="T1" fmla="*/ 18880 h 56"/>
                <a:gd name="T2" fmla="*/ 1746 w 120"/>
                <a:gd name="T3" fmla="*/ 27271 h 56"/>
                <a:gd name="T4" fmla="*/ 4366 w 120"/>
                <a:gd name="T5" fmla="*/ 34613 h 56"/>
                <a:gd name="T6" fmla="*/ 6549 w 120"/>
                <a:gd name="T7" fmla="*/ 38808 h 56"/>
                <a:gd name="T8" fmla="*/ 9168 w 120"/>
                <a:gd name="T9" fmla="*/ 43004 h 56"/>
                <a:gd name="T10" fmla="*/ 11787 w 120"/>
                <a:gd name="T11" fmla="*/ 46151 h 56"/>
                <a:gd name="T12" fmla="*/ 15280 w 120"/>
                <a:gd name="T13" fmla="*/ 48248 h 56"/>
                <a:gd name="T14" fmla="*/ 18772 w 120"/>
                <a:gd name="T15" fmla="*/ 50346 h 56"/>
                <a:gd name="T16" fmla="*/ 22265 w 120"/>
                <a:gd name="T17" fmla="*/ 51395 h 56"/>
                <a:gd name="T18" fmla="*/ 29250 w 120"/>
                <a:gd name="T19" fmla="*/ 52444 h 56"/>
                <a:gd name="T20" fmla="*/ 37108 w 120"/>
                <a:gd name="T21" fmla="*/ 53493 h 56"/>
                <a:gd name="T22" fmla="*/ 44530 w 120"/>
                <a:gd name="T23" fmla="*/ 54542 h 56"/>
                <a:gd name="T24" fmla="*/ 52388 w 120"/>
                <a:gd name="T25" fmla="*/ 58737 h 56"/>
                <a:gd name="T26" fmla="*/ 52388 w 120"/>
                <a:gd name="T27" fmla="*/ 38808 h 56"/>
                <a:gd name="T28" fmla="*/ 48459 w 120"/>
                <a:gd name="T29" fmla="*/ 35662 h 56"/>
                <a:gd name="T30" fmla="*/ 44530 w 120"/>
                <a:gd name="T31" fmla="*/ 31466 h 56"/>
                <a:gd name="T32" fmla="*/ 41037 w 120"/>
                <a:gd name="T33" fmla="*/ 25173 h 56"/>
                <a:gd name="T34" fmla="*/ 38418 w 120"/>
                <a:gd name="T35" fmla="*/ 18880 h 56"/>
                <a:gd name="T36" fmla="*/ 35362 w 120"/>
                <a:gd name="T37" fmla="*/ 13635 h 56"/>
                <a:gd name="T38" fmla="*/ 32743 w 120"/>
                <a:gd name="T39" fmla="*/ 7342 h 56"/>
                <a:gd name="T40" fmla="*/ 29250 w 120"/>
                <a:gd name="T41" fmla="*/ 3147 h 56"/>
                <a:gd name="T42" fmla="*/ 26194 w 120"/>
                <a:gd name="T43" fmla="*/ 0 h 56"/>
                <a:gd name="T44" fmla="*/ 24011 w 120"/>
                <a:gd name="T45" fmla="*/ 1049 h 56"/>
                <a:gd name="T46" fmla="*/ 20955 w 120"/>
                <a:gd name="T47" fmla="*/ 3147 h 56"/>
                <a:gd name="T48" fmla="*/ 17899 w 120"/>
                <a:gd name="T49" fmla="*/ 6293 h 56"/>
                <a:gd name="T50" fmla="*/ 14407 w 120"/>
                <a:gd name="T51" fmla="*/ 9440 h 56"/>
                <a:gd name="T52" fmla="*/ 10478 w 120"/>
                <a:gd name="T53" fmla="*/ 13635 h 56"/>
                <a:gd name="T54" fmla="*/ 6985 w 120"/>
                <a:gd name="T55" fmla="*/ 15733 h 56"/>
                <a:gd name="T56" fmla="*/ 3493 w 120"/>
                <a:gd name="T57" fmla="*/ 18880 h 56"/>
                <a:gd name="T58" fmla="*/ 0 w 120"/>
                <a:gd name="T59" fmla="*/ 18880 h 5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47" name="Freeform 216">
              <a:extLst>
                <a:ext uri="{FF2B5EF4-FFF2-40B4-BE49-F238E27FC236}">
                  <a16:creationId xmlns:a16="http://schemas.microsoft.com/office/drawing/2014/main" xmlns="" id="{CA7A76C7-7499-BE1C-D89B-AE0AB855BC4A}"/>
                </a:ext>
              </a:extLst>
            </p:cNvPr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2229307" y="1979225"/>
              <a:ext cx="216993" cy="80183"/>
            </a:xfrm>
            <a:custGeom>
              <a:avLst/>
              <a:gdLst>
                <a:gd name="T0" fmla="*/ 55496 w 574"/>
                <a:gd name="T1" fmla="*/ 537 h 204"/>
                <a:gd name="T2" fmla="*/ 41513 w 574"/>
                <a:gd name="T3" fmla="*/ 3222 h 204"/>
                <a:gd name="T4" fmla="*/ 28841 w 574"/>
                <a:gd name="T5" fmla="*/ 8591 h 204"/>
                <a:gd name="T6" fmla="*/ 18790 w 574"/>
                <a:gd name="T7" fmla="*/ 13961 h 204"/>
                <a:gd name="T8" fmla="*/ 13109 w 574"/>
                <a:gd name="T9" fmla="*/ 18793 h 204"/>
                <a:gd name="T10" fmla="*/ 6992 w 574"/>
                <a:gd name="T11" fmla="*/ 27385 h 204"/>
                <a:gd name="T12" fmla="*/ 1748 w 574"/>
                <a:gd name="T13" fmla="*/ 38124 h 204"/>
                <a:gd name="T14" fmla="*/ 0 w 574"/>
                <a:gd name="T15" fmla="*/ 44030 h 204"/>
                <a:gd name="T16" fmla="*/ 437 w 574"/>
                <a:gd name="T17" fmla="*/ 46178 h 204"/>
                <a:gd name="T18" fmla="*/ 5681 w 574"/>
                <a:gd name="T19" fmla="*/ 46178 h 204"/>
                <a:gd name="T20" fmla="*/ 12672 w 574"/>
                <a:gd name="T21" fmla="*/ 44567 h 204"/>
                <a:gd name="T22" fmla="*/ 22723 w 574"/>
                <a:gd name="T23" fmla="*/ 40271 h 204"/>
                <a:gd name="T24" fmla="*/ 34958 w 574"/>
                <a:gd name="T25" fmla="*/ 31143 h 204"/>
                <a:gd name="T26" fmla="*/ 44572 w 574"/>
                <a:gd name="T27" fmla="*/ 24700 h 204"/>
                <a:gd name="T28" fmla="*/ 52000 w 574"/>
                <a:gd name="T29" fmla="*/ 21478 h 204"/>
                <a:gd name="T30" fmla="*/ 76471 w 574"/>
                <a:gd name="T31" fmla="*/ 19867 h 204"/>
                <a:gd name="T32" fmla="*/ 76908 w 574"/>
                <a:gd name="T33" fmla="*/ 25774 h 204"/>
                <a:gd name="T34" fmla="*/ 78656 w 574"/>
                <a:gd name="T35" fmla="*/ 29532 h 204"/>
                <a:gd name="T36" fmla="*/ 80404 w 574"/>
                <a:gd name="T37" fmla="*/ 31680 h 204"/>
                <a:gd name="T38" fmla="*/ 83026 w 574"/>
                <a:gd name="T39" fmla="*/ 32754 h 204"/>
                <a:gd name="T40" fmla="*/ 100068 w 574"/>
                <a:gd name="T41" fmla="*/ 32754 h 204"/>
                <a:gd name="T42" fmla="*/ 117547 w 574"/>
                <a:gd name="T43" fmla="*/ 41882 h 204"/>
                <a:gd name="T44" fmla="*/ 131967 w 574"/>
                <a:gd name="T45" fmla="*/ 51010 h 204"/>
                <a:gd name="T46" fmla="*/ 146824 w 574"/>
                <a:gd name="T47" fmla="*/ 59602 h 204"/>
                <a:gd name="T48" fmla="*/ 163867 w 574"/>
                <a:gd name="T49" fmla="*/ 66045 h 204"/>
                <a:gd name="T50" fmla="*/ 164303 w 574"/>
                <a:gd name="T51" fmla="*/ 71951 h 204"/>
                <a:gd name="T52" fmla="*/ 166925 w 574"/>
                <a:gd name="T53" fmla="*/ 76247 h 204"/>
                <a:gd name="T54" fmla="*/ 173043 w 574"/>
                <a:gd name="T55" fmla="*/ 81617 h 204"/>
                <a:gd name="T56" fmla="*/ 187026 w 574"/>
                <a:gd name="T57" fmla="*/ 89134 h 204"/>
                <a:gd name="T58" fmla="*/ 175665 w 574"/>
                <a:gd name="T59" fmla="*/ 102558 h 204"/>
                <a:gd name="T60" fmla="*/ 177850 w 574"/>
                <a:gd name="T61" fmla="*/ 105779 h 204"/>
                <a:gd name="T62" fmla="*/ 180909 w 574"/>
                <a:gd name="T63" fmla="*/ 107927 h 204"/>
                <a:gd name="T64" fmla="*/ 187463 w 574"/>
                <a:gd name="T65" fmla="*/ 109538 h 204"/>
                <a:gd name="T66" fmla="*/ 201447 w 574"/>
                <a:gd name="T67" fmla="*/ 109538 h 204"/>
                <a:gd name="T68" fmla="*/ 242522 w 574"/>
                <a:gd name="T69" fmla="*/ 101484 h 204"/>
                <a:gd name="T70" fmla="*/ 244270 w 574"/>
                <a:gd name="T71" fmla="*/ 98262 h 204"/>
                <a:gd name="T72" fmla="*/ 246892 w 574"/>
                <a:gd name="T73" fmla="*/ 95040 h 204"/>
                <a:gd name="T74" fmla="*/ 249951 w 574"/>
                <a:gd name="T75" fmla="*/ 92893 h 204"/>
                <a:gd name="T76" fmla="*/ 250825 w 574"/>
                <a:gd name="T77" fmla="*/ 86449 h 204"/>
                <a:gd name="T78" fmla="*/ 245144 w 574"/>
                <a:gd name="T79" fmla="*/ 82154 h 204"/>
                <a:gd name="T80" fmla="*/ 232472 w 574"/>
                <a:gd name="T81" fmla="*/ 79469 h 204"/>
                <a:gd name="T82" fmla="*/ 220237 w 574"/>
                <a:gd name="T83" fmla="*/ 74099 h 204"/>
                <a:gd name="T84" fmla="*/ 207564 w 574"/>
                <a:gd name="T85" fmla="*/ 66582 h 204"/>
                <a:gd name="T86" fmla="*/ 189211 w 574"/>
                <a:gd name="T87" fmla="*/ 53695 h 204"/>
                <a:gd name="T88" fmla="*/ 167362 w 574"/>
                <a:gd name="T89" fmla="*/ 36513 h 204"/>
                <a:gd name="T90" fmla="*/ 156438 w 574"/>
                <a:gd name="T91" fmla="*/ 28995 h 204"/>
                <a:gd name="T92" fmla="*/ 152068 w 574"/>
                <a:gd name="T93" fmla="*/ 27921 h 204"/>
                <a:gd name="T94" fmla="*/ 144203 w 574"/>
                <a:gd name="T95" fmla="*/ 27921 h 204"/>
                <a:gd name="T96" fmla="*/ 136337 w 574"/>
                <a:gd name="T97" fmla="*/ 27385 h 204"/>
                <a:gd name="T98" fmla="*/ 131967 w 574"/>
                <a:gd name="T99" fmla="*/ 26311 h 204"/>
                <a:gd name="T100" fmla="*/ 128471 w 574"/>
                <a:gd name="T101" fmla="*/ 23089 h 204"/>
                <a:gd name="T102" fmla="*/ 126723 w 574"/>
                <a:gd name="T103" fmla="*/ 17182 h 204"/>
                <a:gd name="T104" fmla="*/ 62051 w 574"/>
                <a:gd name="T105" fmla="*/ 0 h 20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48" name="Freeform 217">
              <a:extLst>
                <a:ext uri="{FF2B5EF4-FFF2-40B4-BE49-F238E27FC236}">
                  <a16:creationId xmlns:a16="http://schemas.microsoft.com/office/drawing/2014/main" xmlns="" id="{A842F90A-A8DE-ED9A-6A77-B7A7ACB833E9}"/>
                </a:ext>
              </a:extLst>
            </p:cNvPr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2492994" y="2054759"/>
              <a:ext cx="76909" cy="51131"/>
            </a:xfrm>
            <a:custGeom>
              <a:avLst/>
              <a:gdLst>
                <a:gd name="T0" fmla="*/ 17608 w 207"/>
                <a:gd name="T1" fmla="*/ 69850 h 129"/>
                <a:gd name="T2" fmla="*/ 21473 w 207"/>
                <a:gd name="T3" fmla="*/ 65518 h 129"/>
                <a:gd name="T4" fmla="*/ 25768 w 207"/>
                <a:gd name="T5" fmla="*/ 62269 h 129"/>
                <a:gd name="T6" fmla="*/ 30063 w 207"/>
                <a:gd name="T7" fmla="*/ 59562 h 129"/>
                <a:gd name="T8" fmla="*/ 34787 w 207"/>
                <a:gd name="T9" fmla="*/ 56855 h 129"/>
                <a:gd name="T10" fmla="*/ 45094 w 207"/>
                <a:gd name="T11" fmla="*/ 53606 h 129"/>
                <a:gd name="T12" fmla="*/ 55401 w 207"/>
                <a:gd name="T13" fmla="*/ 49816 h 129"/>
                <a:gd name="T14" fmla="*/ 65279 w 207"/>
                <a:gd name="T15" fmla="*/ 47108 h 129"/>
                <a:gd name="T16" fmla="*/ 74298 w 207"/>
                <a:gd name="T17" fmla="*/ 43859 h 129"/>
                <a:gd name="T18" fmla="*/ 78163 w 207"/>
                <a:gd name="T19" fmla="*/ 41693 h 129"/>
                <a:gd name="T20" fmla="*/ 82029 w 207"/>
                <a:gd name="T21" fmla="*/ 39528 h 129"/>
                <a:gd name="T22" fmla="*/ 85894 w 207"/>
                <a:gd name="T23" fmla="*/ 36279 h 129"/>
                <a:gd name="T24" fmla="*/ 88900 w 207"/>
                <a:gd name="T25" fmla="*/ 33030 h 129"/>
                <a:gd name="T26" fmla="*/ 85035 w 207"/>
                <a:gd name="T27" fmla="*/ 29240 h 129"/>
                <a:gd name="T28" fmla="*/ 80740 w 207"/>
                <a:gd name="T29" fmla="*/ 25449 h 129"/>
                <a:gd name="T30" fmla="*/ 76875 w 207"/>
                <a:gd name="T31" fmla="*/ 22742 h 129"/>
                <a:gd name="T32" fmla="*/ 72580 w 207"/>
                <a:gd name="T33" fmla="*/ 19493 h 129"/>
                <a:gd name="T34" fmla="*/ 64420 w 207"/>
                <a:gd name="T35" fmla="*/ 15703 h 129"/>
                <a:gd name="T36" fmla="*/ 55401 w 207"/>
                <a:gd name="T37" fmla="*/ 12454 h 129"/>
                <a:gd name="T38" fmla="*/ 45953 w 207"/>
                <a:gd name="T39" fmla="*/ 9747 h 129"/>
                <a:gd name="T40" fmla="*/ 36505 w 207"/>
                <a:gd name="T41" fmla="*/ 7039 h 129"/>
                <a:gd name="T42" fmla="*/ 27057 w 207"/>
                <a:gd name="T43" fmla="*/ 3790 h 129"/>
                <a:gd name="T44" fmla="*/ 17608 w 207"/>
                <a:gd name="T45" fmla="*/ 0 h 129"/>
                <a:gd name="T46" fmla="*/ 0 w 207"/>
                <a:gd name="T47" fmla="*/ 0 h 129"/>
                <a:gd name="T48" fmla="*/ 429 w 207"/>
                <a:gd name="T49" fmla="*/ 3249 h 129"/>
                <a:gd name="T50" fmla="*/ 859 w 207"/>
                <a:gd name="T51" fmla="*/ 7039 h 129"/>
                <a:gd name="T52" fmla="*/ 1718 w 207"/>
                <a:gd name="T53" fmla="*/ 10288 h 129"/>
                <a:gd name="T54" fmla="*/ 2577 w 207"/>
                <a:gd name="T55" fmla="*/ 13537 h 129"/>
                <a:gd name="T56" fmla="*/ 4295 w 207"/>
                <a:gd name="T57" fmla="*/ 18952 h 129"/>
                <a:gd name="T58" fmla="*/ 5583 w 207"/>
                <a:gd name="T59" fmla="*/ 24908 h 129"/>
                <a:gd name="T60" fmla="*/ 7301 w 207"/>
                <a:gd name="T61" fmla="*/ 29240 h 129"/>
                <a:gd name="T62" fmla="*/ 7730 w 207"/>
                <a:gd name="T63" fmla="*/ 33571 h 129"/>
                <a:gd name="T64" fmla="*/ 7301 w 207"/>
                <a:gd name="T65" fmla="*/ 35196 h 129"/>
                <a:gd name="T66" fmla="*/ 6013 w 207"/>
                <a:gd name="T67" fmla="*/ 36820 h 129"/>
                <a:gd name="T68" fmla="*/ 4724 w 207"/>
                <a:gd name="T69" fmla="*/ 38445 h 129"/>
                <a:gd name="T70" fmla="*/ 3006 w 207"/>
                <a:gd name="T71" fmla="*/ 39528 h 129"/>
                <a:gd name="T72" fmla="*/ 0 w 207"/>
                <a:gd name="T73" fmla="*/ 56313 h 129"/>
                <a:gd name="T74" fmla="*/ 1718 w 207"/>
                <a:gd name="T75" fmla="*/ 57396 h 129"/>
                <a:gd name="T76" fmla="*/ 5583 w 207"/>
                <a:gd name="T77" fmla="*/ 59562 h 129"/>
                <a:gd name="T78" fmla="*/ 8160 w 207"/>
                <a:gd name="T79" fmla="*/ 61186 h 129"/>
                <a:gd name="T80" fmla="*/ 10737 w 207"/>
                <a:gd name="T81" fmla="*/ 63352 h 129"/>
                <a:gd name="T82" fmla="*/ 14172 w 207"/>
                <a:gd name="T83" fmla="*/ 66060 h 129"/>
                <a:gd name="T84" fmla="*/ 17608 w 207"/>
                <a:gd name="T85" fmla="*/ 69850 h 12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49" name="Freeform 218">
              <a:extLst>
                <a:ext uri="{FF2B5EF4-FFF2-40B4-BE49-F238E27FC236}">
                  <a16:creationId xmlns:a16="http://schemas.microsoft.com/office/drawing/2014/main" xmlns="" id="{8FCEE264-B74F-9FD0-6F5D-7C23AE41640A}"/>
                </a:ext>
              </a:extLst>
            </p:cNvPr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2119436" y="2098917"/>
              <a:ext cx="28841" cy="61589"/>
            </a:xfrm>
            <a:custGeom>
              <a:avLst/>
              <a:gdLst>
                <a:gd name="T0" fmla="*/ 33338 w 72"/>
                <a:gd name="T1" fmla="*/ 0 h 154"/>
                <a:gd name="T2" fmla="*/ 31949 w 72"/>
                <a:gd name="T3" fmla="*/ 2185 h 154"/>
                <a:gd name="T4" fmla="*/ 31023 w 72"/>
                <a:gd name="T5" fmla="*/ 4917 h 154"/>
                <a:gd name="T6" fmla="*/ 30560 w 72"/>
                <a:gd name="T7" fmla="*/ 7102 h 154"/>
                <a:gd name="T8" fmla="*/ 30560 w 72"/>
                <a:gd name="T9" fmla="*/ 9834 h 154"/>
                <a:gd name="T10" fmla="*/ 30560 w 72"/>
                <a:gd name="T11" fmla="*/ 14751 h 154"/>
                <a:gd name="T12" fmla="*/ 30560 w 72"/>
                <a:gd name="T13" fmla="*/ 20215 h 154"/>
                <a:gd name="T14" fmla="*/ 31949 w 72"/>
                <a:gd name="T15" fmla="*/ 23493 h 154"/>
                <a:gd name="T16" fmla="*/ 32875 w 72"/>
                <a:gd name="T17" fmla="*/ 27317 h 154"/>
                <a:gd name="T18" fmla="*/ 32875 w 72"/>
                <a:gd name="T19" fmla="*/ 31142 h 154"/>
                <a:gd name="T20" fmla="*/ 32875 w 72"/>
                <a:gd name="T21" fmla="*/ 35512 h 154"/>
                <a:gd name="T22" fmla="*/ 31949 w 72"/>
                <a:gd name="T23" fmla="*/ 39883 h 154"/>
                <a:gd name="T24" fmla="*/ 31023 w 72"/>
                <a:gd name="T25" fmla="*/ 44800 h 154"/>
                <a:gd name="T26" fmla="*/ 30097 w 72"/>
                <a:gd name="T27" fmla="*/ 49717 h 154"/>
                <a:gd name="T28" fmla="*/ 28245 w 72"/>
                <a:gd name="T29" fmla="*/ 54634 h 154"/>
                <a:gd name="T30" fmla="*/ 24540 w 72"/>
                <a:gd name="T31" fmla="*/ 63376 h 154"/>
                <a:gd name="T32" fmla="*/ 20373 w 72"/>
                <a:gd name="T33" fmla="*/ 71571 h 154"/>
                <a:gd name="T34" fmla="*/ 15743 w 72"/>
                <a:gd name="T35" fmla="*/ 78674 h 154"/>
                <a:gd name="T36" fmla="*/ 12039 w 72"/>
                <a:gd name="T37" fmla="*/ 84137 h 154"/>
                <a:gd name="T38" fmla="*/ 12039 w 72"/>
                <a:gd name="T39" fmla="*/ 77035 h 154"/>
                <a:gd name="T40" fmla="*/ 6945 w 72"/>
                <a:gd name="T41" fmla="*/ 78674 h 154"/>
                <a:gd name="T42" fmla="*/ 0 w 72"/>
                <a:gd name="T43" fmla="*/ 80859 h 154"/>
                <a:gd name="T44" fmla="*/ 1389 w 72"/>
                <a:gd name="T45" fmla="*/ 70478 h 154"/>
                <a:gd name="T46" fmla="*/ 3704 w 72"/>
                <a:gd name="T47" fmla="*/ 57366 h 154"/>
                <a:gd name="T48" fmla="*/ 4167 w 72"/>
                <a:gd name="T49" fmla="*/ 50264 h 154"/>
                <a:gd name="T50" fmla="*/ 5556 w 72"/>
                <a:gd name="T51" fmla="*/ 42069 h 154"/>
                <a:gd name="T52" fmla="*/ 6945 w 72"/>
                <a:gd name="T53" fmla="*/ 34420 h 154"/>
                <a:gd name="T54" fmla="*/ 9261 w 72"/>
                <a:gd name="T55" fmla="*/ 26771 h 154"/>
                <a:gd name="T56" fmla="*/ 9261 w 72"/>
                <a:gd name="T57" fmla="*/ 0 h 154"/>
                <a:gd name="T58" fmla="*/ 11576 w 72"/>
                <a:gd name="T59" fmla="*/ 0 h 154"/>
                <a:gd name="T60" fmla="*/ 17595 w 72"/>
                <a:gd name="T61" fmla="*/ 0 h 154"/>
                <a:gd name="T62" fmla="*/ 25930 w 72"/>
                <a:gd name="T63" fmla="*/ 0 h 154"/>
                <a:gd name="T64" fmla="*/ 33338 w 72"/>
                <a:gd name="T65" fmla="*/ 0 h 15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50" name="Freeform 219">
              <a:extLst>
                <a:ext uri="{FF2B5EF4-FFF2-40B4-BE49-F238E27FC236}">
                  <a16:creationId xmlns:a16="http://schemas.microsoft.com/office/drawing/2014/main" xmlns="" id="{D67D6F13-CFA1-7299-39B3-D169423CAB6E}"/>
                </a:ext>
              </a:extLst>
            </p:cNvPr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2050768" y="2098916"/>
              <a:ext cx="81030" cy="106910"/>
            </a:xfrm>
            <a:custGeom>
              <a:avLst/>
              <a:gdLst>
                <a:gd name="T0" fmla="*/ 3501 w 214"/>
                <a:gd name="T1" fmla="*/ 111558 h 271"/>
                <a:gd name="T2" fmla="*/ 5252 w 214"/>
                <a:gd name="T3" fmla="*/ 97546 h 271"/>
                <a:gd name="T4" fmla="*/ 10504 w 214"/>
                <a:gd name="T5" fmla="*/ 79762 h 271"/>
                <a:gd name="T6" fmla="*/ 15319 w 214"/>
                <a:gd name="T7" fmla="*/ 63594 h 271"/>
                <a:gd name="T8" fmla="*/ 19258 w 214"/>
                <a:gd name="T9" fmla="*/ 60360 h 271"/>
                <a:gd name="T10" fmla="*/ 28449 w 214"/>
                <a:gd name="T11" fmla="*/ 59821 h 271"/>
                <a:gd name="T12" fmla="*/ 38953 w 214"/>
                <a:gd name="T13" fmla="*/ 59821 h 271"/>
                <a:gd name="T14" fmla="*/ 46394 w 214"/>
                <a:gd name="T15" fmla="*/ 59282 h 271"/>
                <a:gd name="T16" fmla="*/ 52521 w 214"/>
                <a:gd name="T17" fmla="*/ 56588 h 271"/>
                <a:gd name="T18" fmla="*/ 56898 w 214"/>
                <a:gd name="T19" fmla="*/ 50659 h 271"/>
                <a:gd name="T20" fmla="*/ 49458 w 214"/>
                <a:gd name="T21" fmla="*/ 39342 h 271"/>
                <a:gd name="T22" fmla="*/ 37640 w 214"/>
                <a:gd name="T23" fmla="*/ 31258 h 271"/>
                <a:gd name="T24" fmla="*/ 33701 w 214"/>
                <a:gd name="T25" fmla="*/ 26408 h 271"/>
                <a:gd name="T26" fmla="*/ 32388 w 214"/>
                <a:gd name="T27" fmla="*/ 22096 h 271"/>
                <a:gd name="T28" fmla="*/ 32826 w 214"/>
                <a:gd name="T29" fmla="*/ 18324 h 271"/>
                <a:gd name="T30" fmla="*/ 35890 w 214"/>
                <a:gd name="T31" fmla="*/ 15090 h 271"/>
                <a:gd name="T32" fmla="*/ 44205 w 214"/>
                <a:gd name="T33" fmla="*/ 10240 h 271"/>
                <a:gd name="T34" fmla="*/ 65652 w 214"/>
                <a:gd name="T35" fmla="*/ 1617 h 271"/>
                <a:gd name="T36" fmla="*/ 78782 w 214"/>
                <a:gd name="T37" fmla="*/ 0 h 271"/>
                <a:gd name="T38" fmla="*/ 86660 w 214"/>
                <a:gd name="T39" fmla="*/ 0 h 271"/>
                <a:gd name="T40" fmla="*/ 90599 w 214"/>
                <a:gd name="T41" fmla="*/ 26408 h 271"/>
                <a:gd name="T42" fmla="*/ 87098 w 214"/>
                <a:gd name="T43" fmla="*/ 41498 h 271"/>
                <a:gd name="T44" fmla="*/ 85347 w 214"/>
                <a:gd name="T45" fmla="*/ 56588 h 271"/>
                <a:gd name="T46" fmla="*/ 81846 w 214"/>
                <a:gd name="T47" fmla="*/ 79762 h 271"/>
                <a:gd name="T48" fmla="*/ 93225 w 214"/>
                <a:gd name="T49" fmla="*/ 82995 h 271"/>
                <a:gd name="T50" fmla="*/ 93663 w 214"/>
                <a:gd name="T51" fmla="*/ 89462 h 271"/>
                <a:gd name="T52" fmla="*/ 91912 w 214"/>
                <a:gd name="T53" fmla="*/ 93774 h 271"/>
                <a:gd name="T54" fmla="*/ 90599 w 214"/>
                <a:gd name="T55" fmla="*/ 95391 h 271"/>
                <a:gd name="T56" fmla="*/ 87536 w 214"/>
                <a:gd name="T57" fmla="*/ 95930 h 271"/>
                <a:gd name="T58" fmla="*/ 84034 w 214"/>
                <a:gd name="T59" fmla="*/ 105630 h 271"/>
                <a:gd name="T60" fmla="*/ 79220 w 214"/>
                <a:gd name="T61" fmla="*/ 115331 h 271"/>
                <a:gd name="T62" fmla="*/ 67840 w 214"/>
                <a:gd name="T63" fmla="*/ 130960 h 271"/>
                <a:gd name="T64" fmla="*/ 52521 w 214"/>
                <a:gd name="T65" fmla="*/ 146050 h 271"/>
                <a:gd name="T66" fmla="*/ 38078 w 214"/>
                <a:gd name="T67" fmla="*/ 140661 h 271"/>
                <a:gd name="T68" fmla="*/ 24072 w 214"/>
                <a:gd name="T69" fmla="*/ 133655 h 271"/>
                <a:gd name="T70" fmla="*/ 0 w 214"/>
                <a:gd name="T71" fmla="*/ 119104 h 27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51" name="Freeform 220">
              <a:extLst>
                <a:ext uri="{FF2B5EF4-FFF2-40B4-BE49-F238E27FC236}">
                  <a16:creationId xmlns:a16="http://schemas.microsoft.com/office/drawing/2014/main" xmlns="" id="{789FEEA8-F580-A90D-804A-76067E540D7A}"/>
                </a:ext>
              </a:extLst>
            </p:cNvPr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2091968" y="2180261"/>
              <a:ext cx="61802" cy="41835"/>
            </a:xfrm>
            <a:custGeom>
              <a:avLst/>
              <a:gdLst>
                <a:gd name="T0" fmla="*/ 28015 w 153"/>
                <a:gd name="T1" fmla="*/ 0 h 80"/>
                <a:gd name="T2" fmla="*/ 38754 w 153"/>
                <a:gd name="T3" fmla="*/ 10001 h 80"/>
                <a:gd name="T4" fmla="*/ 48559 w 153"/>
                <a:gd name="T5" fmla="*/ 17145 h 80"/>
                <a:gd name="T6" fmla="*/ 53695 w 153"/>
                <a:gd name="T7" fmla="*/ 20003 h 80"/>
                <a:gd name="T8" fmla="*/ 58831 w 153"/>
                <a:gd name="T9" fmla="*/ 22146 h 80"/>
                <a:gd name="T10" fmla="*/ 62100 w 153"/>
                <a:gd name="T11" fmla="*/ 22860 h 80"/>
                <a:gd name="T12" fmla="*/ 64901 w 153"/>
                <a:gd name="T13" fmla="*/ 22860 h 80"/>
                <a:gd name="T14" fmla="*/ 68170 w 153"/>
                <a:gd name="T15" fmla="*/ 22146 h 80"/>
                <a:gd name="T16" fmla="*/ 71438 w 153"/>
                <a:gd name="T17" fmla="*/ 21431 h 80"/>
                <a:gd name="T18" fmla="*/ 71438 w 153"/>
                <a:gd name="T19" fmla="*/ 40005 h 80"/>
                <a:gd name="T20" fmla="*/ 69570 w 153"/>
                <a:gd name="T21" fmla="*/ 42863 h 80"/>
                <a:gd name="T22" fmla="*/ 67703 w 153"/>
                <a:gd name="T23" fmla="*/ 46434 h 80"/>
                <a:gd name="T24" fmla="*/ 64434 w 153"/>
                <a:gd name="T25" fmla="*/ 49292 h 80"/>
                <a:gd name="T26" fmla="*/ 61633 w 153"/>
                <a:gd name="T27" fmla="*/ 51435 h 80"/>
                <a:gd name="T28" fmla="*/ 58364 w 153"/>
                <a:gd name="T29" fmla="*/ 53578 h 80"/>
                <a:gd name="T30" fmla="*/ 55563 w 153"/>
                <a:gd name="T31" fmla="*/ 55721 h 80"/>
                <a:gd name="T32" fmla="*/ 52294 w 153"/>
                <a:gd name="T33" fmla="*/ 56436 h 80"/>
                <a:gd name="T34" fmla="*/ 49493 w 153"/>
                <a:gd name="T35" fmla="*/ 57150 h 80"/>
                <a:gd name="T36" fmla="*/ 42022 w 153"/>
                <a:gd name="T37" fmla="*/ 52864 h 80"/>
                <a:gd name="T38" fmla="*/ 35486 w 153"/>
                <a:gd name="T39" fmla="*/ 50721 h 80"/>
                <a:gd name="T40" fmla="*/ 29416 w 153"/>
                <a:gd name="T41" fmla="*/ 49292 h 80"/>
                <a:gd name="T42" fmla="*/ 23346 w 153"/>
                <a:gd name="T43" fmla="*/ 49292 h 80"/>
                <a:gd name="T44" fmla="*/ 18210 w 153"/>
                <a:gd name="T45" fmla="*/ 48578 h 80"/>
                <a:gd name="T46" fmla="*/ 12607 w 153"/>
                <a:gd name="T47" fmla="*/ 47863 h 80"/>
                <a:gd name="T48" fmla="*/ 6537 w 153"/>
                <a:gd name="T49" fmla="*/ 46434 h 80"/>
                <a:gd name="T50" fmla="*/ 0 w 153"/>
                <a:gd name="T51" fmla="*/ 44291 h 80"/>
                <a:gd name="T52" fmla="*/ 3268 w 153"/>
                <a:gd name="T53" fmla="*/ 41434 h 80"/>
                <a:gd name="T54" fmla="*/ 10739 w 153"/>
                <a:gd name="T55" fmla="*/ 32147 h 80"/>
                <a:gd name="T56" fmla="*/ 15875 w 153"/>
                <a:gd name="T57" fmla="*/ 26432 h 80"/>
                <a:gd name="T58" fmla="*/ 21011 w 153"/>
                <a:gd name="T59" fmla="*/ 20003 h 80"/>
                <a:gd name="T60" fmla="*/ 26147 w 153"/>
                <a:gd name="T61" fmla="*/ 12144 h 80"/>
                <a:gd name="T62" fmla="*/ 31283 w 153"/>
                <a:gd name="T63" fmla="*/ 4286 h 80"/>
                <a:gd name="T64" fmla="*/ 28015 w 153"/>
                <a:gd name="T65" fmla="*/ 0 h 8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52" name="Freeform 221">
              <a:extLst>
                <a:ext uri="{FF2B5EF4-FFF2-40B4-BE49-F238E27FC236}">
                  <a16:creationId xmlns:a16="http://schemas.microsoft.com/office/drawing/2014/main" xmlns="" id="{4C4667A5-989B-D300-54D2-0426576C8673}"/>
                </a:ext>
              </a:extLst>
            </p:cNvPr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2119437" y="2152371"/>
              <a:ext cx="123604" cy="63913"/>
            </a:xfrm>
            <a:custGeom>
              <a:avLst/>
              <a:gdLst>
                <a:gd name="T0" fmla="*/ 0 w 332"/>
                <a:gd name="T1" fmla="*/ 39781 h 169"/>
                <a:gd name="T2" fmla="*/ 18935 w 332"/>
                <a:gd name="T3" fmla="*/ 52181 h 169"/>
                <a:gd name="T4" fmla="*/ 28403 w 332"/>
                <a:gd name="T5" fmla="*/ 55797 h 169"/>
                <a:gd name="T6" fmla="*/ 33997 w 332"/>
                <a:gd name="T7" fmla="*/ 56314 h 169"/>
                <a:gd name="T8" fmla="*/ 40022 w 332"/>
                <a:gd name="T9" fmla="*/ 55280 h 169"/>
                <a:gd name="T10" fmla="*/ 38731 w 332"/>
                <a:gd name="T11" fmla="*/ 74396 h 169"/>
                <a:gd name="T12" fmla="*/ 40883 w 332"/>
                <a:gd name="T13" fmla="*/ 79562 h 169"/>
                <a:gd name="T14" fmla="*/ 42604 w 332"/>
                <a:gd name="T15" fmla="*/ 84212 h 169"/>
                <a:gd name="T16" fmla="*/ 46047 w 332"/>
                <a:gd name="T17" fmla="*/ 86795 h 169"/>
                <a:gd name="T18" fmla="*/ 50351 w 332"/>
                <a:gd name="T19" fmla="*/ 87312 h 169"/>
                <a:gd name="T20" fmla="*/ 52933 w 332"/>
                <a:gd name="T21" fmla="*/ 85762 h 169"/>
                <a:gd name="T22" fmla="*/ 56806 w 332"/>
                <a:gd name="T23" fmla="*/ 81112 h 169"/>
                <a:gd name="T24" fmla="*/ 62831 w 332"/>
                <a:gd name="T25" fmla="*/ 70263 h 169"/>
                <a:gd name="T26" fmla="*/ 74880 w 332"/>
                <a:gd name="T27" fmla="*/ 59413 h 169"/>
                <a:gd name="T28" fmla="*/ 92094 w 332"/>
                <a:gd name="T29" fmla="*/ 49597 h 169"/>
                <a:gd name="T30" fmla="*/ 110169 w 332"/>
                <a:gd name="T31" fmla="*/ 41331 h 169"/>
                <a:gd name="T32" fmla="*/ 130825 w 332"/>
                <a:gd name="T33" fmla="*/ 33582 h 169"/>
                <a:gd name="T34" fmla="*/ 142875 w 332"/>
                <a:gd name="T35" fmla="*/ 23765 h 169"/>
                <a:gd name="T36" fmla="*/ 142875 w 332"/>
                <a:gd name="T37" fmla="*/ 11366 h 169"/>
                <a:gd name="T38" fmla="*/ 137711 w 332"/>
                <a:gd name="T39" fmla="*/ 1033 h 169"/>
                <a:gd name="T40" fmla="*/ 121788 w 332"/>
                <a:gd name="T41" fmla="*/ 517 h 169"/>
                <a:gd name="T42" fmla="*/ 100701 w 332"/>
                <a:gd name="T43" fmla="*/ 0 h 169"/>
                <a:gd name="T44" fmla="*/ 77462 w 332"/>
                <a:gd name="T45" fmla="*/ 517 h 169"/>
                <a:gd name="T46" fmla="*/ 56375 w 332"/>
                <a:gd name="T47" fmla="*/ 2067 h 169"/>
                <a:gd name="T48" fmla="*/ 38731 w 332"/>
                <a:gd name="T49" fmla="*/ 5166 h 169"/>
                <a:gd name="T50" fmla="*/ 25390 w 332"/>
                <a:gd name="T51" fmla="*/ 9816 h 169"/>
                <a:gd name="T52" fmla="*/ 18075 w 332"/>
                <a:gd name="T53" fmla="*/ 11366 h 169"/>
                <a:gd name="T54" fmla="*/ 15062 w 332"/>
                <a:gd name="T55" fmla="*/ 11883 h 169"/>
                <a:gd name="T56" fmla="*/ 14632 w 332"/>
                <a:gd name="T57" fmla="*/ 13433 h 169"/>
                <a:gd name="T58" fmla="*/ 14201 w 332"/>
                <a:gd name="T59" fmla="*/ 19632 h 169"/>
                <a:gd name="T60" fmla="*/ 12480 w 332"/>
                <a:gd name="T61" fmla="*/ 22732 h 169"/>
                <a:gd name="T62" fmla="*/ 9898 w 332"/>
                <a:gd name="T63" fmla="*/ 23765 h 169"/>
                <a:gd name="T64" fmla="*/ 8177 w 332"/>
                <a:gd name="T65" fmla="*/ 28415 h 169"/>
                <a:gd name="T66" fmla="*/ 4734 w 332"/>
                <a:gd name="T67" fmla="*/ 37198 h 169"/>
                <a:gd name="T68" fmla="*/ 3012 w 332"/>
                <a:gd name="T69" fmla="*/ 42881 h 16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53" name="Freeform 222">
              <a:extLst>
                <a:ext uri="{FF2B5EF4-FFF2-40B4-BE49-F238E27FC236}">
                  <a16:creationId xmlns:a16="http://schemas.microsoft.com/office/drawing/2014/main" xmlns="" id="{61987765-C935-1B29-323F-8812A8BD4250}"/>
                </a:ext>
              </a:extLst>
            </p:cNvPr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2134543" y="2174451"/>
              <a:ext cx="108496" cy="89479"/>
            </a:xfrm>
            <a:custGeom>
              <a:avLst/>
              <a:gdLst>
                <a:gd name="T0" fmla="*/ 19294 w 286"/>
                <a:gd name="T1" fmla="*/ 44734 h 235"/>
                <a:gd name="T2" fmla="*/ 21487 w 286"/>
                <a:gd name="T3" fmla="*/ 49936 h 235"/>
                <a:gd name="T4" fmla="*/ 23241 w 286"/>
                <a:gd name="T5" fmla="*/ 54617 h 235"/>
                <a:gd name="T6" fmla="*/ 26749 w 286"/>
                <a:gd name="T7" fmla="*/ 57218 h 235"/>
                <a:gd name="T8" fmla="*/ 31134 w 286"/>
                <a:gd name="T9" fmla="*/ 57738 h 235"/>
                <a:gd name="T10" fmla="*/ 33765 w 286"/>
                <a:gd name="T11" fmla="*/ 56177 h 235"/>
                <a:gd name="T12" fmla="*/ 37711 w 286"/>
                <a:gd name="T13" fmla="*/ 51496 h 235"/>
                <a:gd name="T14" fmla="*/ 43850 w 286"/>
                <a:gd name="T15" fmla="*/ 40573 h 235"/>
                <a:gd name="T16" fmla="*/ 56128 w 286"/>
                <a:gd name="T17" fmla="*/ 29649 h 235"/>
                <a:gd name="T18" fmla="*/ 73669 w 286"/>
                <a:gd name="T19" fmla="*/ 19766 h 235"/>
                <a:gd name="T20" fmla="*/ 92086 w 286"/>
                <a:gd name="T21" fmla="*/ 11444 h 235"/>
                <a:gd name="T22" fmla="*/ 113134 w 286"/>
                <a:gd name="T23" fmla="*/ 3641 h 235"/>
                <a:gd name="T24" fmla="*/ 125412 w 286"/>
                <a:gd name="T25" fmla="*/ 5722 h 235"/>
                <a:gd name="T26" fmla="*/ 123658 w 286"/>
                <a:gd name="T27" fmla="*/ 16645 h 235"/>
                <a:gd name="T28" fmla="*/ 119273 w 286"/>
                <a:gd name="T29" fmla="*/ 36411 h 235"/>
                <a:gd name="T30" fmla="*/ 111380 w 286"/>
                <a:gd name="T31" fmla="*/ 66581 h 235"/>
                <a:gd name="T32" fmla="*/ 106995 w 286"/>
                <a:gd name="T33" fmla="*/ 90508 h 235"/>
                <a:gd name="T34" fmla="*/ 105241 w 286"/>
                <a:gd name="T35" fmla="*/ 107153 h 235"/>
                <a:gd name="T36" fmla="*/ 64022 w 286"/>
                <a:gd name="T37" fmla="*/ 112355 h 235"/>
                <a:gd name="T38" fmla="*/ 60513 w 286"/>
                <a:gd name="T39" fmla="*/ 113395 h 235"/>
                <a:gd name="T40" fmla="*/ 57882 w 286"/>
                <a:gd name="T41" fmla="*/ 115996 h 235"/>
                <a:gd name="T42" fmla="*/ 55690 w 286"/>
                <a:gd name="T43" fmla="*/ 122238 h 235"/>
                <a:gd name="T44" fmla="*/ 47797 w 286"/>
                <a:gd name="T45" fmla="*/ 112875 h 235"/>
                <a:gd name="T46" fmla="*/ 41219 w 286"/>
                <a:gd name="T47" fmla="*/ 103512 h 235"/>
                <a:gd name="T48" fmla="*/ 30257 w 286"/>
                <a:gd name="T49" fmla="*/ 83226 h 235"/>
                <a:gd name="T50" fmla="*/ 24118 w 286"/>
                <a:gd name="T51" fmla="*/ 73863 h 235"/>
                <a:gd name="T52" fmla="*/ 17979 w 286"/>
                <a:gd name="T53" fmla="*/ 65020 h 235"/>
                <a:gd name="T54" fmla="*/ 9647 w 286"/>
                <a:gd name="T55" fmla="*/ 57218 h 235"/>
                <a:gd name="T56" fmla="*/ 0 w 286"/>
                <a:gd name="T57" fmla="*/ 51496 h 235"/>
                <a:gd name="T58" fmla="*/ 5701 w 286"/>
                <a:gd name="T59" fmla="*/ 50456 h 235"/>
                <a:gd name="T60" fmla="*/ 11401 w 286"/>
                <a:gd name="T61" fmla="*/ 47335 h 235"/>
                <a:gd name="T62" fmla="*/ 17102 w 286"/>
                <a:gd name="T63" fmla="*/ 43694 h 235"/>
                <a:gd name="T64" fmla="*/ 20610 w 286"/>
                <a:gd name="T65" fmla="*/ 39012 h 2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54" name="Freeform 223">
              <a:extLst>
                <a:ext uri="{FF2B5EF4-FFF2-40B4-BE49-F238E27FC236}">
                  <a16:creationId xmlns:a16="http://schemas.microsoft.com/office/drawing/2014/main" xmlns="" id="{CD82145E-4898-E640-7D4E-CF185969EBE6}"/>
                </a:ext>
              </a:extLst>
            </p:cNvPr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2178492" y="2256957"/>
              <a:ext cx="72788" cy="73209"/>
            </a:xfrm>
            <a:custGeom>
              <a:avLst/>
              <a:gdLst>
                <a:gd name="T0" fmla="*/ 77160 w 205"/>
                <a:gd name="T1" fmla="*/ 96870 h 191"/>
                <a:gd name="T2" fmla="*/ 71824 w 205"/>
                <a:gd name="T3" fmla="*/ 96870 h 191"/>
                <a:gd name="T4" fmla="*/ 64847 w 205"/>
                <a:gd name="T5" fmla="*/ 96870 h 191"/>
                <a:gd name="T6" fmla="*/ 59101 w 205"/>
                <a:gd name="T7" fmla="*/ 94252 h 191"/>
                <a:gd name="T8" fmla="*/ 55818 w 205"/>
                <a:gd name="T9" fmla="*/ 90587 h 191"/>
                <a:gd name="T10" fmla="*/ 52945 w 205"/>
                <a:gd name="T11" fmla="*/ 85351 h 191"/>
                <a:gd name="T12" fmla="*/ 49251 w 205"/>
                <a:gd name="T13" fmla="*/ 76973 h 191"/>
                <a:gd name="T14" fmla="*/ 45147 w 205"/>
                <a:gd name="T15" fmla="*/ 68595 h 191"/>
                <a:gd name="T16" fmla="*/ 40632 w 205"/>
                <a:gd name="T17" fmla="*/ 63358 h 191"/>
                <a:gd name="T18" fmla="*/ 38169 w 205"/>
                <a:gd name="T19" fmla="*/ 65977 h 191"/>
                <a:gd name="T20" fmla="*/ 36938 w 205"/>
                <a:gd name="T21" fmla="*/ 70689 h 191"/>
                <a:gd name="T22" fmla="*/ 34476 w 205"/>
                <a:gd name="T23" fmla="*/ 68071 h 191"/>
                <a:gd name="T24" fmla="*/ 29551 w 205"/>
                <a:gd name="T25" fmla="*/ 59169 h 191"/>
                <a:gd name="T26" fmla="*/ 22984 w 205"/>
                <a:gd name="T27" fmla="*/ 45555 h 191"/>
                <a:gd name="T28" fmla="*/ 16827 w 205"/>
                <a:gd name="T29" fmla="*/ 35083 h 191"/>
                <a:gd name="T30" fmla="*/ 12723 w 205"/>
                <a:gd name="T31" fmla="*/ 30370 h 191"/>
                <a:gd name="T32" fmla="*/ 10671 w 205"/>
                <a:gd name="T33" fmla="*/ 31417 h 191"/>
                <a:gd name="T34" fmla="*/ 11902 w 205"/>
                <a:gd name="T35" fmla="*/ 36130 h 191"/>
                <a:gd name="T36" fmla="*/ 13954 w 205"/>
                <a:gd name="T37" fmla="*/ 40843 h 191"/>
                <a:gd name="T38" fmla="*/ 16827 w 205"/>
                <a:gd name="T39" fmla="*/ 43984 h 191"/>
                <a:gd name="T40" fmla="*/ 18880 w 205"/>
                <a:gd name="T41" fmla="*/ 54980 h 191"/>
                <a:gd name="T42" fmla="*/ 5336 w 205"/>
                <a:gd name="T43" fmla="*/ 51315 h 191"/>
                <a:gd name="T44" fmla="*/ 1642 w 205"/>
                <a:gd name="T45" fmla="*/ 43984 h 191"/>
                <a:gd name="T46" fmla="*/ 0 w 205"/>
                <a:gd name="T47" fmla="*/ 31417 h 191"/>
                <a:gd name="T48" fmla="*/ 0 w 205"/>
                <a:gd name="T49" fmla="*/ 19898 h 191"/>
                <a:gd name="T50" fmla="*/ 1231 w 205"/>
                <a:gd name="T51" fmla="*/ 14661 h 191"/>
                <a:gd name="T52" fmla="*/ 3283 w 205"/>
                <a:gd name="T53" fmla="*/ 11520 h 191"/>
                <a:gd name="T54" fmla="*/ 5746 w 205"/>
                <a:gd name="T55" fmla="*/ 6807 h 191"/>
                <a:gd name="T56" fmla="*/ 8208 w 205"/>
                <a:gd name="T57" fmla="*/ 2094 h 191"/>
                <a:gd name="T58" fmla="*/ 11492 w 205"/>
                <a:gd name="T59" fmla="*/ 0 h 191"/>
                <a:gd name="T60" fmla="*/ 51713 w 205"/>
                <a:gd name="T61" fmla="*/ 3142 h 191"/>
                <a:gd name="T62" fmla="*/ 52124 w 205"/>
                <a:gd name="T63" fmla="*/ 10996 h 191"/>
                <a:gd name="T64" fmla="*/ 53355 w 205"/>
                <a:gd name="T65" fmla="*/ 19374 h 191"/>
                <a:gd name="T66" fmla="*/ 58691 w 205"/>
                <a:gd name="T67" fmla="*/ 36654 h 191"/>
                <a:gd name="T68" fmla="*/ 67720 w 205"/>
                <a:gd name="T69" fmla="*/ 53410 h 191"/>
                <a:gd name="T70" fmla="*/ 72645 w 205"/>
                <a:gd name="T71" fmla="*/ 61264 h 191"/>
                <a:gd name="T72" fmla="*/ 78801 w 205"/>
                <a:gd name="T73" fmla="*/ 68071 h 191"/>
                <a:gd name="T74" fmla="*/ 77570 w 205"/>
                <a:gd name="T75" fmla="*/ 74878 h 191"/>
                <a:gd name="T76" fmla="*/ 77570 w 205"/>
                <a:gd name="T77" fmla="*/ 81685 h 191"/>
                <a:gd name="T78" fmla="*/ 78801 w 205"/>
                <a:gd name="T79" fmla="*/ 100012 h 191"/>
                <a:gd name="T80" fmla="*/ 84137 w 205"/>
                <a:gd name="T81" fmla="*/ 96870 h 19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55" name="Freeform 224">
              <a:extLst>
                <a:ext uri="{FF2B5EF4-FFF2-40B4-BE49-F238E27FC236}">
                  <a16:creationId xmlns:a16="http://schemas.microsoft.com/office/drawing/2014/main" xmlns="" id="{227F7B92-B8D9-A0AB-6B98-70FA46BB2310}"/>
                </a:ext>
              </a:extLst>
            </p:cNvPr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2248534" y="2296467"/>
              <a:ext cx="123604" cy="58103"/>
            </a:xfrm>
            <a:custGeom>
              <a:avLst/>
              <a:gdLst>
                <a:gd name="T0" fmla="*/ 1303 w 329"/>
                <a:gd name="T1" fmla="*/ 29894 h 154"/>
                <a:gd name="T2" fmla="*/ 0 w 329"/>
                <a:gd name="T3" fmla="*/ 21648 h 154"/>
                <a:gd name="T4" fmla="*/ 869 w 329"/>
                <a:gd name="T5" fmla="*/ 15978 h 154"/>
                <a:gd name="T6" fmla="*/ 7383 w 329"/>
                <a:gd name="T7" fmla="*/ 17009 h 154"/>
                <a:gd name="T8" fmla="*/ 15634 w 329"/>
                <a:gd name="T9" fmla="*/ 21132 h 154"/>
                <a:gd name="T10" fmla="*/ 21279 w 329"/>
                <a:gd name="T11" fmla="*/ 22163 h 154"/>
                <a:gd name="T12" fmla="*/ 29096 w 329"/>
                <a:gd name="T13" fmla="*/ 22163 h 154"/>
                <a:gd name="T14" fmla="*/ 37347 w 329"/>
                <a:gd name="T15" fmla="*/ 20101 h 154"/>
                <a:gd name="T16" fmla="*/ 47770 w 329"/>
                <a:gd name="T17" fmla="*/ 15463 h 154"/>
                <a:gd name="T18" fmla="*/ 60798 w 329"/>
                <a:gd name="T19" fmla="*/ 6700 h 154"/>
                <a:gd name="T20" fmla="*/ 70352 w 329"/>
                <a:gd name="T21" fmla="*/ 2062 h 154"/>
                <a:gd name="T22" fmla="*/ 77734 w 329"/>
                <a:gd name="T23" fmla="*/ 0 h 154"/>
                <a:gd name="T24" fmla="*/ 88157 w 329"/>
                <a:gd name="T25" fmla="*/ 0 h 154"/>
                <a:gd name="T26" fmla="*/ 97277 w 329"/>
                <a:gd name="T27" fmla="*/ 3093 h 154"/>
                <a:gd name="T28" fmla="*/ 105528 w 329"/>
                <a:gd name="T29" fmla="*/ 7731 h 154"/>
                <a:gd name="T30" fmla="*/ 112476 w 329"/>
                <a:gd name="T31" fmla="*/ 14432 h 154"/>
                <a:gd name="T32" fmla="*/ 121596 w 329"/>
                <a:gd name="T33" fmla="*/ 23709 h 154"/>
                <a:gd name="T34" fmla="*/ 131150 w 329"/>
                <a:gd name="T35" fmla="*/ 31441 h 154"/>
                <a:gd name="T36" fmla="*/ 138532 w 329"/>
                <a:gd name="T37" fmla="*/ 34533 h 154"/>
                <a:gd name="T38" fmla="*/ 135927 w 329"/>
                <a:gd name="T39" fmla="*/ 42265 h 154"/>
                <a:gd name="T40" fmla="*/ 127241 w 329"/>
                <a:gd name="T41" fmla="*/ 54635 h 154"/>
                <a:gd name="T42" fmla="*/ 120293 w 329"/>
                <a:gd name="T43" fmla="*/ 71128 h 154"/>
                <a:gd name="T44" fmla="*/ 115082 w 329"/>
                <a:gd name="T45" fmla="*/ 78860 h 154"/>
                <a:gd name="T46" fmla="*/ 109870 w 329"/>
                <a:gd name="T47" fmla="*/ 75252 h 154"/>
                <a:gd name="T48" fmla="*/ 104225 w 329"/>
                <a:gd name="T49" fmla="*/ 70097 h 154"/>
                <a:gd name="T50" fmla="*/ 99882 w 329"/>
                <a:gd name="T51" fmla="*/ 64943 h 154"/>
                <a:gd name="T52" fmla="*/ 99882 w 329"/>
                <a:gd name="T53" fmla="*/ 58758 h 154"/>
                <a:gd name="T54" fmla="*/ 102054 w 329"/>
                <a:gd name="T55" fmla="*/ 51542 h 154"/>
                <a:gd name="T56" fmla="*/ 108133 w 329"/>
                <a:gd name="T57" fmla="*/ 44326 h 154"/>
                <a:gd name="T58" fmla="*/ 101185 w 329"/>
                <a:gd name="T59" fmla="*/ 35049 h 154"/>
                <a:gd name="T60" fmla="*/ 89894 w 329"/>
                <a:gd name="T61" fmla="*/ 28348 h 154"/>
                <a:gd name="T62" fmla="*/ 84683 w 329"/>
                <a:gd name="T63" fmla="*/ 21132 h 154"/>
                <a:gd name="T64" fmla="*/ 77734 w 329"/>
                <a:gd name="T65" fmla="*/ 17524 h 154"/>
                <a:gd name="T66" fmla="*/ 70786 w 329"/>
                <a:gd name="T67" fmla="*/ 21132 h 154"/>
                <a:gd name="T68" fmla="*/ 65141 w 329"/>
                <a:gd name="T69" fmla="*/ 25771 h 154"/>
                <a:gd name="T70" fmla="*/ 60798 w 329"/>
                <a:gd name="T71" fmla="*/ 31441 h 154"/>
                <a:gd name="T72" fmla="*/ 57324 w 329"/>
                <a:gd name="T73" fmla="*/ 38141 h 154"/>
                <a:gd name="T74" fmla="*/ 55587 w 329"/>
                <a:gd name="T75" fmla="*/ 45357 h 154"/>
                <a:gd name="T76" fmla="*/ 53415 w 329"/>
                <a:gd name="T77" fmla="*/ 56181 h 154"/>
                <a:gd name="T78" fmla="*/ 52981 w 329"/>
                <a:gd name="T79" fmla="*/ 64428 h 154"/>
                <a:gd name="T80" fmla="*/ 51244 w 329"/>
                <a:gd name="T81" fmla="*/ 66489 h 154"/>
                <a:gd name="T82" fmla="*/ 46901 w 329"/>
                <a:gd name="T83" fmla="*/ 69582 h 154"/>
                <a:gd name="T84" fmla="*/ 41690 w 329"/>
                <a:gd name="T85" fmla="*/ 69582 h 154"/>
                <a:gd name="T86" fmla="*/ 36044 w 329"/>
                <a:gd name="T87" fmla="*/ 66489 h 154"/>
                <a:gd name="T88" fmla="*/ 28662 w 329"/>
                <a:gd name="T89" fmla="*/ 59789 h 154"/>
                <a:gd name="T90" fmla="*/ 20845 w 329"/>
                <a:gd name="T91" fmla="*/ 48450 h 154"/>
                <a:gd name="T92" fmla="*/ 14331 w 329"/>
                <a:gd name="T93" fmla="*/ 41234 h 154"/>
                <a:gd name="T94" fmla="*/ 9554 w 329"/>
                <a:gd name="T95" fmla="*/ 38141 h 154"/>
                <a:gd name="T96" fmla="*/ 1303 w 329"/>
                <a:gd name="T97" fmla="*/ 37626 h 15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56" name="Freeform 225">
              <a:extLst>
                <a:ext uri="{FF2B5EF4-FFF2-40B4-BE49-F238E27FC236}">
                  <a16:creationId xmlns:a16="http://schemas.microsoft.com/office/drawing/2014/main" xmlns="" id="{39AB6934-305B-21FE-8EAF-8247F83F849C}"/>
                </a:ext>
              </a:extLst>
            </p:cNvPr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2837711" y="3214492"/>
              <a:ext cx="115363" cy="113881"/>
            </a:xfrm>
            <a:custGeom>
              <a:avLst/>
              <a:gdLst>
                <a:gd name="T0" fmla="*/ 129428 w 306"/>
                <a:gd name="T1" fmla="*/ 96106 h 293"/>
                <a:gd name="T2" fmla="*/ 128992 w 306"/>
                <a:gd name="T3" fmla="*/ 98230 h 293"/>
                <a:gd name="T4" fmla="*/ 126813 w 306"/>
                <a:gd name="T5" fmla="*/ 103009 h 293"/>
                <a:gd name="T6" fmla="*/ 122891 w 306"/>
                <a:gd name="T7" fmla="*/ 105664 h 293"/>
                <a:gd name="T8" fmla="*/ 118533 w 306"/>
                <a:gd name="T9" fmla="*/ 106726 h 293"/>
                <a:gd name="T10" fmla="*/ 114611 w 306"/>
                <a:gd name="T11" fmla="*/ 109911 h 293"/>
                <a:gd name="T12" fmla="*/ 110253 w 306"/>
                <a:gd name="T13" fmla="*/ 121593 h 293"/>
                <a:gd name="T14" fmla="*/ 105460 w 306"/>
                <a:gd name="T15" fmla="*/ 134867 h 293"/>
                <a:gd name="T16" fmla="*/ 100666 w 306"/>
                <a:gd name="T17" fmla="*/ 141770 h 293"/>
                <a:gd name="T18" fmla="*/ 96308 w 306"/>
                <a:gd name="T19" fmla="*/ 144956 h 293"/>
                <a:gd name="T20" fmla="*/ 87157 w 306"/>
                <a:gd name="T21" fmla="*/ 149203 h 293"/>
                <a:gd name="T22" fmla="*/ 71469 w 306"/>
                <a:gd name="T23" fmla="*/ 153982 h 293"/>
                <a:gd name="T24" fmla="*/ 60574 w 306"/>
                <a:gd name="T25" fmla="*/ 155575 h 293"/>
                <a:gd name="T26" fmla="*/ 53601 w 306"/>
                <a:gd name="T27" fmla="*/ 155575 h 293"/>
                <a:gd name="T28" fmla="*/ 46193 w 306"/>
                <a:gd name="T29" fmla="*/ 153982 h 293"/>
                <a:gd name="T30" fmla="*/ 40092 w 306"/>
                <a:gd name="T31" fmla="*/ 151858 h 293"/>
                <a:gd name="T32" fmla="*/ 34863 w 306"/>
                <a:gd name="T33" fmla="*/ 147610 h 293"/>
                <a:gd name="T34" fmla="*/ 30941 w 306"/>
                <a:gd name="T35" fmla="*/ 142301 h 293"/>
                <a:gd name="T36" fmla="*/ 436 w 306"/>
                <a:gd name="T37" fmla="*/ 125310 h 293"/>
                <a:gd name="T38" fmla="*/ 0 w 306"/>
                <a:gd name="T39" fmla="*/ 46726 h 293"/>
                <a:gd name="T40" fmla="*/ 436 w 306"/>
                <a:gd name="T41" fmla="*/ 26018 h 293"/>
                <a:gd name="T42" fmla="*/ 1743 w 306"/>
                <a:gd name="T43" fmla="*/ 18584 h 293"/>
                <a:gd name="T44" fmla="*/ 4794 w 306"/>
                <a:gd name="T45" fmla="*/ 11150 h 293"/>
                <a:gd name="T46" fmla="*/ 8716 w 306"/>
                <a:gd name="T47" fmla="*/ 4248 h 293"/>
                <a:gd name="T48" fmla="*/ 17867 w 306"/>
                <a:gd name="T49" fmla="*/ 1062 h 293"/>
                <a:gd name="T50" fmla="*/ 23097 w 306"/>
                <a:gd name="T51" fmla="*/ 0 h 293"/>
                <a:gd name="T52" fmla="*/ 31376 w 306"/>
                <a:gd name="T53" fmla="*/ 3186 h 293"/>
                <a:gd name="T54" fmla="*/ 34863 w 306"/>
                <a:gd name="T55" fmla="*/ 3717 h 293"/>
                <a:gd name="T56" fmla="*/ 36606 w 306"/>
                <a:gd name="T57" fmla="*/ 2124 h 293"/>
                <a:gd name="T58" fmla="*/ 37913 w 306"/>
                <a:gd name="T59" fmla="*/ 2655 h 293"/>
                <a:gd name="T60" fmla="*/ 39221 w 306"/>
                <a:gd name="T61" fmla="*/ 5841 h 293"/>
                <a:gd name="T62" fmla="*/ 43143 w 306"/>
                <a:gd name="T63" fmla="*/ 10088 h 293"/>
                <a:gd name="T64" fmla="*/ 52730 w 306"/>
                <a:gd name="T65" fmla="*/ 16460 h 293"/>
                <a:gd name="T66" fmla="*/ 64496 w 306"/>
                <a:gd name="T67" fmla="*/ 21770 h 293"/>
                <a:gd name="T68" fmla="*/ 79313 w 306"/>
                <a:gd name="T69" fmla="*/ 31327 h 293"/>
                <a:gd name="T70" fmla="*/ 91515 w 306"/>
                <a:gd name="T71" fmla="*/ 41947 h 293"/>
                <a:gd name="T72" fmla="*/ 105024 w 306"/>
                <a:gd name="T73" fmla="*/ 54159 h 293"/>
                <a:gd name="T74" fmla="*/ 113740 w 306"/>
                <a:gd name="T75" fmla="*/ 62124 h 293"/>
                <a:gd name="T76" fmla="*/ 115919 w 306"/>
                <a:gd name="T77" fmla="*/ 65841 h 293"/>
                <a:gd name="T78" fmla="*/ 122020 w 306"/>
                <a:gd name="T79" fmla="*/ 71681 h 293"/>
                <a:gd name="T80" fmla="*/ 130300 w 306"/>
                <a:gd name="T81" fmla="*/ 80177 h 293"/>
                <a:gd name="T82" fmla="*/ 133350 w 306"/>
                <a:gd name="T83" fmla="*/ 85487 h 293"/>
                <a:gd name="T84" fmla="*/ 132478 w 306"/>
                <a:gd name="T85" fmla="*/ 88141 h 29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57" name="Freeform 227">
              <a:extLst>
                <a:ext uri="{FF2B5EF4-FFF2-40B4-BE49-F238E27FC236}">
                  <a16:creationId xmlns:a16="http://schemas.microsoft.com/office/drawing/2014/main" xmlns="" id="{FB05AAD0-C691-99A7-38BE-67B3B71E1DCF}"/>
                </a:ext>
              </a:extLst>
            </p:cNvPr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4112203" y="906646"/>
              <a:ext cx="388665" cy="264949"/>
            </a:xfrm>
            <a:custGeom>
              <a:avLst/>
              <a:gdLst>
                <a:gd name="T0" fmla="*/ 103976 w 1037"/>
                <a:gd name="T1" fmla="*/ 326280 h 690"/>
                <a:gd name="T2" fmla="*/ 67151 w 1037"/>
                <a:gd name="T3" fmla="*/ 358278 h 690"/>
                <a:gd name="T4" fmla="*/ 13863 w 1037"/>
                <a:gd name="T5" fmla="*/ 343066 h 690"/>
                <a:gd name="T6" fmla="*/ 29027 w 1037"/>
                <a:gd name="T7" fmla="*/ 332574 h 690"/>
                <a:gd name="T8" fmla="*/ 7798 w 1037"/>
                <a:gd name="T9" fmla="*/ 312641 h 690"/>
                <a:gd name="T10" fmla="*/ 19062 w 1037"/>
                <a:gd name="T11" fmla="*/ 312116 h 690"/>
                <a:gd name="T12" fmla="*/ 29027 w 1037"/>
                <a:gd name="T13" fmla="*/ 297428 h 690"/>
                <a:gd name="T14" fmla="*/ 3466 w 1037"/>
                <a:gd name="T15" fmla="*/ 286413 h 690"/>
                <a:gd name="T16" fmla="*/ 32059 w 1037"/>
                <a:gd name="T17" fmla="*/ 274348 h 690"/>
                <a:gd name="T18" fmla="*/ 0 w 1037"/>
                <a:gd name="T19" fmla="*/ 261758 h 690"/>
                <a:gd name="T20" fmla="*/ 8665 w 1037"/>
                <a:gd name="T21" fmla="*/ 239202 h 690"/>
                <a:gd name="T22" fmla="*/ 16030 w 1037"/>
                <a:gd name="T23" fmla="*/ 241825 h 690"/>
                <a:gd name="T24" fmla="*/ 33359 w 1037"/>
                <a:gd name="T25" fmla="*/ 235530 h 690"/>
                <a:gd name="T26" fmla="*/ 39857 w 1037"/>
                <a:gd name="T27" fmla="*/ 222416 h 690"/>
                <a:gd name="T28" fmla="*/ 56320 w 1037"/>
                <a:gd name="T29" fmla="*/ 214547 h 690"/>
                <a:gd name="T30" fmla="*/ 95311 w 1037"/>
                <a:gd name="T31" fmla="*/ 200384 h 690"/>
                <a:gd name="T32" fmla="*/ 98344 w 1037"/>
                <a:gd name="T33" fmla="*/ 177828 h 690"/>
                <a:gd name="T34" fmla="*/ 122605 w 1037"/>
                <a:gd name="T35" fmla="*/ 170484 h 690"/>
                <a:gd name="T36" fmla="*/ 122172 w 1037"/>
                <a:gd name="T37" fmla="*/ 162615 h 690"/>
                <a:gd name="T38" fmla="*/ 129103 w 1037"/>
                <a:gd name="T39" fmla="*/ 149501 h 690"/>
                <a:gd name="T40" fmla="*/ 145133 w 1037"/>
                <a:gd name="T41" fmla="*/ 127469 h 690"/>
                <a:gd name="T42" fmla="*/ 148599 w 1037"/>
                <a:gd name="T43" fmla="*/ 118552 h 690"/>
                <a:gd name="T44" fmla="*/ 168961 w 1037"/>
                <a:gd name="T45" fmla="*/ 104913 h 690"/>
                <a:gd name="T46" fmla="*/ 167661 w 1037"/>
                <a:gd name="T47" fmla="*/ 82357 h 690"/>
                <a:gd name="T48" fmla="*/ 161596 w 1037"/>
                <a:gd name="T49" fmla="*/ 74488 h 690"/>
                <a:gd name="T50" fmla="*/ 144700 w 1037"/>
                <a:gd name="T51" fmla="*/ 80783 h 690"/>
                <a:gd name="T52" fmla="*/ 168961 w 1037"/>
                <a:gd name="T53" fmla="*/ 54030 h 690"/>
                <a:gd name="T54" fmla="*/ 178059 w 1037"/>
                <a:gd name="T55" fmla="*/ 50358 h 690"/>
                <a:gd name="T56" fmla="*/ 200587 w 1037"/>
                <a:gd name="T57" fmla="*/ 59800 h 690"/>
                <a:gd name="T58" fmla="*/ 201886 w 1037"/>
                <a:gd name="T59" fmla="*/ 47735 h 690"/>
                <a:gd name="T60" fmla="*/ 241744 w 1037"/>
                <a:gd name="T61" fmla="*/ 31998 h 690"/>
                <a:gd name="T62" fmla="*/ 256040 w 1037"/>
                <a:gd name="T63" fmla="*/ 33048 h 690"/>
                <a:gd name="T64" fmla="*/ 279435 w 1037"/>
                <a:gd name="T65" fmla="*/ 28851 h 690"/>
                <a:gd name="T66" fmla="*/ 279435 w 1037"/>
                <a:gd name="T67" fmla="*/ 17311 h 690"/>
                <a:gd name="T68" fmla="*/ 302829 w 1037"/>
                <a:gd name="T69" fmla="*/ 6819 h 690"/>
                <a:gd name="T70" fmla="*/ 305429 w 1037"/>
                <a:gd name="T71" fmla="*/ 15212 h 690"/>
                <a:gd name="T72" fmla="*/ 308461 w 1037"/>
                <a:gd name="T73" fmla="*/ 20983 h 690"/>
                <a:gd name="T74" fmla="*/ 328390 w 1037"/>
                <a:gd name="T75" fmla="*/ 6295 h 690"/>
                <a:gd name="T76" fmla="*/ 353951 w 1037"/>
                <a:gd name="T77" fmla="*/ 3147 h 690"/>
                <a:gd name="T78" fmla="*/ 365648 w 1037"/>
                <a:gd name="T79" fmla="*/ 4197 h 690"/>
                <a:gd name="T80" fmla="*/ 373446 w 1037"/>
                <a:gd name="T81" fmla="*/ 5770 h 690"/>
                <a:gd name="T82" fmla="*/ 400307 w 1037"/>
                <a:gd name="T83" fmla="*/ 3147 h 690"/>
                <a:gd name="T84" fmla="*/ 449262 w 1037"/>
                <a:gd name="T85" fmla="*/ 22556 h 690"/>
                <a:gd name="T86" fmla="*/ 435399 w 1037"/>
                <a:gd name="T87" fmla="*/ 41441 h 690"/>
                <a:gd name="T88" fmla="*/ 402906 w 1037"/>
                <a:gd name="T89" fmla="*/ 28851 h 690"/>
                <a:gd name="T90" fmla="*/ 378212 w 1037"/>
                <a:gd name="T91" fmla="*/ 38818 h 690"/>
                <a:gd name="T92" fmla="*/ 367381 w 1037"/>
                <a:gd name="T93" fmla="*/ 60850 h 690"/>
                <a:gd name="T94" fmla="*/ 351351 w 1037"/>
                <a:gd name="T95" fmla="*/ 58227 h 690"/>
                <a:gd name="T96" fmla="*/ 322758 w 1037"/>
                <a:gd name="T97" fmla="*/ 67144 h 690"/>
                <a:gd name="T98" fmla="*/ 300663 w 1037"/>
                <a:gd name="T99" fmla="*/ 48260 h 690"/>
                <a:gd name="T100" fmla="*/ 268604 w 1037"/>
                <a:gd name="T101" fmla="*/ 58751 h 690"/>
                <a:gd name="T102" fmla="*/ 231346 w 1037"/>
                <a:gd name="T103" fmla="*/ 70292 h 690"/>
                <a:gd name="T104" fmla="*/ 210551 w 1037"/>
                <a:gd name="T105" fmla="*/ 110159 h 690"/>
                <a:gd name="T106" fmla="*/ 186290 w 1037"/>
                <a:gd name="T107" fmla="*/ 146354 h 690"/>
                <a:gd name="T108" fmla="*/ 172860 w 1037"/>
                <a:gd name="T109" fmla="*/ 190942 h 690"/>
                <a:gd name="T110" fmla="*/ 144266 w 1037"/>
                <a:gd name="T111" fmla="*/ 222940 h 690"/>
                <a:gd name="T112" fmla="*/ 153798 w 1037"/>
                <a:gd name="T113" fmla="*/ 260709 h 690"/>
                <a:gd name="T114" fmla="*/ 153364 w 1037"/>
                <a:gd name="T115" fmla="*/ 292707 h 690"/>
                <a:gd name="T116" fmla="*/ 143400 w 1037"/>
                <a:gd name="T117" fmla="*/ 322608 h 690"/>
                <a:gd name="T118" fmla="*/ 127804 w 1037"/>
                <a:gd name="T119" fmla="*/ 338345 h 6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58" name="Freeform 228">
              <a:extLst>
                <a:ext uri="{FF2B5EF4-FFF2-40B4-BE49-F238E27FC236}">
                  <a16:creationId xmlns:a16="http://schemas.microsoft.com/office/drawing/2014/main" xmlns="" id="{E6F29EEB-CDA7-7D5B-29A5-6BECD7D8B987}"/>
                </a:ext>
              </a:extLst>
            </p:cNvPr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4406105" y="1522537"/>
              <a:ext cx="42574" cy="66237"/>
            </a:xfrm>
            <a:custGeom>
              <a:avLst/>
              <a:gdLst>
                <a:gd name="T0" fmla="*/ 49212 w 120"/>
                <a:gd name="T1" fmla="*/ 51782 h 173"/>
                <a:gd name="T2" fmla="*/ 37729 w 120"/>
                <a:gd name="T3" fmla="*/ 31383 h 173"/>
                <a:gd name="T4" fmla="*/ 28707 w 120"/>
                <a:gd name="T5" fmla="*/ 14645 h 173"/>
                <a:gd name="T6" fmla="*/ 24606 w 120"/>
                <a:gd name="T7" fmla="*/ 8369 h 173"/>
                <a:gd name="T8" fmla="*/ 21735 w 120"/>
                <a:gd name="T9" fmla="*/ 4184 h 173"/>
                <a:gd name="T10" fmla="*/ 19685 w 120"/>
                <a:gd name="T11" fmla="*/ 2092 h 173"/>
                <a:gd name="T12" fmla="*/ 18455 w 120"/>
                <a:gd name="T13" fmla="*/ 1046 h 173"/>
                <a:gd name="T14" fmla="*/ 17634 w 120"/>
                <a:gd name="T15" fmla="*/ 523 h 173"/>
                <a:gd name="T16" fmla="*/ 15994 w 120"/>
                <a:gd name="T17" fmla="*/ 0 h 173"/>
                <a:gd name="T18" fmla="*/ 13533 w 120"/>
                <a:gd name="T19" fmla="*/ 0 h 173"/>
                <a:gd name="T20" fmla="*/ 11073 w 120"/>
                <a:gd name="T21" fmla="*/ 523 h 173"/>
                <a:gd name="T22" fmla="*/ 9842 w 120"/>
                <a:gd name="T23" fmla="*/ 1569 h 173"/>
                <a:gd name="T24" fmla="*/ 8612 w 120"/>
                <a:gd name="T25" fmla="*/ 2615 h 173"/>
                <a:gd name="T26" fmla="*/ 7792 w 120"/>
                <a:gd name="T27" fmla="*/ 4184 h 173"/>
                <a:gd name="T28" fmla="*/ 6562 w 120"/>
                <a:gd name="T29" fmla="*/ 6277 h 173"/>
                <a:gd name="T30" fmla="*/ 6152 w 120"/>
                <a:gd name="T31" fmla="*/ 7846 h 173"/>
                <a:gd name="T32" fmla="*/ 6152 w 120"/>
                <a:gd name="T33" fmla="*/ 10461 h 173"/>
                <a:gd name="T34" fmla="*/ 5741 w 120"/>
                <a:gd name="T35" fmla="*/ 15691 h 173"/>
                <a:gd name="T36" fmla="*/ 4921 w 120"/>
                <a:gd name="T37" fmla="*/ 21968 h 173"/>
                <a:gd name="T38" fmla="*/ 4101 w 120"/>
                <a:gd name="T39" fmla="*/ 25106 h 173"/>
                <a:gd name="T40" fmla="*/ 3281 w 120"/>
                <a:gd name="T41" fmla="*/ 28244 h 173"/>
                <a:gd name="T42" fmla="*/ 1640 w 120"/>
                <a:gd name="T43" fmla="*/ 31906 h 173"/>
                <a:gd name="T44" fmla="*/ 0 w 120"/>
                <a:gd name="T45" fmla="*/ 35567 h 173"/>
                <a:gd name="T46" fmla="*/ 2051 w 120"/>
                <a:gd name="T47" fmla="*/ 42890 h 173"/>
                <a:gd name="T48" fmla="*/ 4101 w 120"/>
                <a:gd name="T49" fmla="*/ 51782 h 173"/>
                <a:gd name="T50" fmla="*/ 6152 w 120"/>
                <a:gd name="T51" fmla="*/ 60150 h 173"/>
                <a:gd name="T52" fmla="*/ 8202 w 120"/>
                <a:gd name="T53" fmla="*/ 67473 h 173"/>
                <a:gd name="T54" fmla="*/ 9842 w 120"/>
                <a:gd name="T55" fmla="*/ 70088 h 173"/>
                <a:gd name="T56" fmla="*/ 12303 w 120"/>
                <a:gd name="T57" fmla="*/ 72703 h 173"/>
                <a:gd name="T58" fmla="*/ 15174 w 120"/>
                <a:gd name="T59" fmla="*/ 75842 h 173"/>
                <a:gd name="T60" fmla="*/ 18865 w 120"/>
                <a:gd name="T61" fmla="*/ 78980 h 173"/>
                <a:gd name="T62" fmla="*/ 22145 w 120"/>
                <a:gd name="T63" fmla="*/ 82118 h 173"/>
                <a:gd name="T64" fmla="*/ 24606 w 120"/>
                <a:gd name="T65" fmla="*/ 85257 h 173"/>
                <a:gd name="T66" fmla="*/ 25426 w 120"/>
                <a:gd name="T67" fmla="*/ 86303 h 173"/>
                <a:gd name="T68" fmla="*/ 26657 w 120"/>
                <a:gd name="T69" fmla="*/ 87872 h 173"/>
                <a:gd name="T70" fmla="*/ 27067 w 120"/>
                <a:gd name="T71" fmla="*/ 88918 h 173"/>
                <a:gd name="T72" fmla="*/ 27477 w 120"/>
                <a:gd name="T73" fmla="*/ 90487 h 173"/>
                <a:gd name="T74" fmla="*/ 31168 w 120"/>
                <a:gd name="T75" fmla="*/ 87349 h 173"/>
                <a:gd name="T76" fmla="*/ 35269 w 120"/>
                <a:gd name="T77" fmla="*/ 83687 h 173"/>
                <a:gd name="T78" fmla="*/ 38139 w 120"/>
                <a:gd name="T79" fmla="*/ 79503 h 173"/>
                <a:gd name="T80" fmla="*/ 41420 w 120"/>
                <a:gd name="T81" fmla="*/ 74273 h 173"/>
                <a:gd name="T82" fmla="*/ 43471 w 120"/>
                <a:gd name="T83" fmla="*/ 69042 h 173"/>
                <a:gd name="T84" fmla="*/ 45931 w 120"/>
                <a:gd name="T85" fmla="*/ 63289 h 173"/>
                <a:gd name="T86" fmla="*/ 47572 w 120"/>
                <a:gd name="T87" fmla="*/ 57535 h 173"/>
                <a:gd name="T88" fmla="*/ 49212 w 120"/>
                <a:gd name="T89" fmla="*/ 51782 h 17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59" name="Freeform 229">
              <a:extLst>
                <a:ext uri="{FF2B5EF4-FFF2-40B4-BE49-F238E27FC236}">
                  <a16:creationId xmlns:a16="http://schemas.microsoft.com/office/drawing/2014/main" xmlns="" id="{B71E8494-F687-FCE6-8DF1-F0DB44512C30}"/>
                </a:ext>
              </a:extLst>
            </p:cNvPr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4153404" y="1405169"/>
              <a:ext cx="72788" cy="42997"/>
            </a:xfrm>
            <a:custGeom>
              <a:avLst/>
              <a:gdLst>
                <a:gd name="T0" fmla="*/ 84137 w 200"/>
                <a:gd name="T1" fmla="*/ 32965 h 98"/>
                <a:gd name="T2" fmla="*/ 82034 w 200"/>
                <a:gd name="T3" fmla="*/ 33565 h 98"/>
                <a:gd name="T4" fmla="*/ 78247 w 200"/>
                <a:gd name="T5" fmla="*/ 35962 h 98"/>
                <a:gd name="T6" fmla="*/ 74461 w 200"/>
                <a:gd name="T7" fmla="*/ 38959 h 98"/>
                <a:gd name="T8" fmla="*/ 69834 w 200"/>
                <a:gd name="T9" fmla="*/ 43754 h 98"/>
                <a:gd name="T10" fmla="*/ 65206 w 200"/>
                <a:gd name="T11" fmla="*/ 47949 h 98"/>
                <a:gd name="T12" fmla="*/ 60999 w 200"/>
                <a:gd name="T13" fmla="*/ 52145 h 98"/>
                <a:gd name="T14" fmla="*/ 57634 w 200"/>
                <a:gd name="T15" fmla="*/ 55741 h 98"/>
                <a:gd name="T16" fmla="*/ 55951 w 200"/>
                <a:gd name="T17" fmla="*/ 58738 h 98"/>
                <a:gd name="T18" fmla="*/ 53427 w 200"/>
                <a:gd name="T19" fmla="*/ 58738 h 98"/>
                <a:gd name="T20" fmla="*/ 51324 w 200"/>
                <a:gd name="T21" fmla="*/ 58738 h 98"/>
                <a:gd name="T22" fmla="*/ 48799 w 200"/>
                <a:gd name="T23" fmla="*/ 58139 h 98"/>
                <a:gd name="T24" fmla="*/ 46696 w 200"/>
                <a:gd name="T25" fmla="*/ 56940 h 98"/>
                <a:gd name="T26" fmla="*/ 44593 w 200"/>
                <a:gd name="T27" fmla="*/ 55741 h 98"/>
                <a:gd name="T28" fmla="*/ 43331 w 200"/>
                <a:gd name="T29" fmla="*/ 52744 h 98"/>
                <a:gd name="T30" fmla="*/ 42489 w 200"/>
                <a:gd name="T31" fmla="*/ 49148 h 98"/>
                <a:gd name="T32" fmla="*/ 42069 w 200"/>
                <a:gd name="T33" fmla="*/ 44353 h 98"/>
                <a:gd name="T34" fmla="*/ 38282 w 200"/>
                <a:gd name="T35" fmla="*/ 47949 h 98"/>
                <a:gd name="T36" fmla="*/ 34496 w 200"/>
                <a:gd name="T37" fmla="*/ 51546 h 98"/>
                <a:gd name="T38" fmla="*/ 32813 w 200"/>
                <a:gd name="T39" fmla="*/ 53943 h 98"/>
                <a:gd name="T40" fmla="*/ 30289 w 200"/>
                <a:gd name="T41" fmla="*/ 55741 h 98"/>
                <a:gd name="T42" fmla="*/ 28186 w 200"/>
                <a:gd name="T43" fmla="*/ 57539 h 98"/>
                <a:gd name="T44" fmla="*/ 25241 w 200"/>
                <a:gd name="T45" fmla="*/ 58738 h 98"/>
                <a:gd name="T46" fmla="*/ 16407 w 200"/>
                <a:gd name="T47" fmla="*/ 58738 h 98"/>
                <a:gd name="T48" fmla="*/ 14303 w 200"/>
                <a:gd name="T49" fmla="*/ 58738 h 98"/>
                <a:gd name="T50" fmla="*/ 11779 w 200"/>
                <a:gd name="T51" fmla="*/ 56940 h 98"/>
                <a:gd name="T52" fmla="*/ 9255 w 200"/>
                <a:gd name="T53" fmla="*/ 55142 h 98"/>
                <a:gd name="T54" fmla="*/ 6310 w 200"/>
                <a:gd name="T55" fmla="*/ 53344 h 98"/>
                <a:gd name="T56" fmla="*/ 3786 w 200"/>
                <a:gd name="T57" fmla="*/ 50946 h 98"/>
                <a:gd name="T58" fmla="*/ 1683 w 200"/>
                <a:gd name="T59" fmla="*/ 48549 h 98"/>
                <a:gd name="T60" fmla="*/ 421 w 200"/>
                <a:gd name="T61" fmla="*/ 46151 h 98"/>
                <a:gd name="T62" fmla="*/ 0 w 200"/>
                <a:gd name="T63" fmla="*/ 44353 h 98"/>
                <a:gd name="T64" fmla="*/ 2103 w 200"/>
                <a:gd name="T65" fmla="*/ 42555 h 98"/>
                <a:gd name="T66" fmla="*/ 4207 w 200"/>
                <a:gd name="T67" fmla="*/ 40158 h 98"/>
                <a:gd name="T68" fmla="*/ 5890 w 200"/>
                <a:gd name="T69" fmla="*/ 35962 h 98"/>
                <a:gd name="T70" fmla="*/ 8414 w 200"/>
                <a:gd name="T71" fmla="*/ 31766 h 98"/>
                <a:gd name="T72" fmla="*/ 9676 w 200"/>
                <a:gd name="T73" fmla="*/ 26972 h 98"/>
                <a:gd name="T74" fmla="*/ 11358 w 200"/>
                <a:gd name="T75" fmla="*/ 22177 h 98"/>
                <a:gd name="T76" fmla="*/ 12621 w 200"/>
                <a:gd name="T77" fmla="*/ 16782 h 98"/>
                <a:gd name="T78" fmla="*/ 13883 w 200"/>
                <a:gd name="T79" fmla="*/ 11388 h 98"/>
                <a:gd name="T80" fmla="*/ 27765 w 200"/>
                <a:gd name="T81" fmla="*/ 8391 h 98"/>
                <a:gd name="T82" fmla="*/ 43331 w 200"/>
                <a:gd name="T83" fmla="*/ 5394 h 98"/>
                <a:gd name="T84" fmla="*/ 60999 w 200"/>
                <a:gd name="T85" fmla="*/ 2397 h 98"/>
                <a:gd name="T86" fmla="*/ 81192 w 200"/>
                <a:gd name="T87" fmla="*/ 0 h 98"/>
                <a:gd name="T88" fmla="*/ 69834 w 200"/>
                <a:gd name="T89" fmla="*/ 18580 h 98"/>
                <a:gd name="T90" fmla="*/ 69834 w 200"/>
                <a:gd name="T91" fmla="*/ 20378 h 98"/>
                <a:gd name="T92" fmla="*/ 68992 w 200"/>
                <a:gd name="T93" fmla="*/ 22177 h 98"/>
                <a:gd name="T94" fmla="*/ 68151 w 200"/>
                <a:gd name="T95" fmla="*/ 23375 h 98"/>
                <a:gd name="T96" fmla="*/ 67730 w 200"/>
                <a:gd name="T97" fmla="*/ 24574 h 98"/>
                <a:gd name="T98" fmla="*/ 66048 w 200"/>
                <a:gd name="T99" fmla="*/ 26972 h 98"/>
                <a:gd name="T100" fmla="*/ 65627 w 200"/>
                <a:gd name="T101" fmla="*/ 28170 h 98"/>
                <a:gd name="T102" fmla="*/ 65627 w 200"/>
                <a:gd name="T103" fmla="*/ 29369 h 98"/>
                <a:gd name="T104" fmla="*/ 66048 w 200"/>
                <a:gd name="T105" fmla="*/ 29968 h 98"/>
                <a:gd name="T106" fmla="*/ 66889 w 200"/>
                <a:gd name="T107" fmla="*/ 29968 h 98"/>
                <a:gd name="T108" fmla="*/ 68572 w 200"/>
                <a:gd name="T109" fmla="*/ 30568 h 98"/>
                <a:gd name="T110" fmla="*/ 74461 w 200"/>
                <a:gd name="T111" fmla="*/ 31766 h 98"/>
                <a:gd name="T112" fmla="*/ 84137 w 200"/>
                <a:gd name="T113" fmla="*/ 32965 h 9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60" name="Freeform 230">
              <a:extLst>
                <a:ext uri="{FF2B5EF4-FFF2-40B4-BE49-F238E27FC236}">
                  <a16:creationId xmlns:a16="http://schemas.microsoft.com/office/drawing/2014/main" xmlns="" id="{998C815A-3C62-BC92-2654-751F75493931}"/>
                </a:ext>
              </a:extLst>
            </p:cNvPr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4099842" y="1272694"/>
              <a:ext cx="72789" cy="53455"/>
            </a:xfrm>
            <a:custGeom>
              <a:avLst/>
              <a:gdLst>
                <a:gd name="T0" fmla="*/ 0 w 186"/>
                <a:gd name="T1" fmla="*/ 57597 h 142"/>
                <a:gd name="T2" fmla="*/ 905 w 186"/>
                <a:gd name="T3" fmla="*/ 59654 h 142"/>
                <a:gd name="T4" fmla="*/ 1357 w 186"/>
                <a:gd name="T5" fmla="*/ 55026 h 142"/>
                <a:gd name="T6" fmla="*/ 1357 w 186"/>
                <a:gd name="T7" fmla="*/ 47826 h 142"/>
                <a:gd name="T8" fmla="*/ 4071 w 186"/>
                <a:gd name="T9" fmla="*/ 42169 h 142"/>
                <a:gd name="T10" fmla="*/ 7690 w 186"/>
                <a:gd name="T11" fmla="*/ 35484 h 142"/>
                <a:gd name="T12" fmla="*/ 9047 w 186"/>
                <a:gd name="T13" fmla="*/ 28799 h 142"/>
                <a:gd name="T14" fmla="*/ 10404 w 186"/>
                <a:gd name="T15" fmla="*/ 23656 h 142"/>
                <a:gd name="T16" fmla="*/ 12666 w 186"/>
                <a:gd name="T17" fmla="*/ 19028 h 142"/>
                <a:gd name="T18" fmla="*/ 15832 w 186"/>
                <a:gd name="T19" fmla="*/ 16456 h 142"/>
                <a:gd name="T20" fmla="*/ 18547 w 186"/>
                <a:gd name="T21" fmla="*/ 19542 h 142"/>
                <a:gd name="T22" fmla="*/ 19451 w 186"/>
                <a:gd name="T23" fmla="*/ 25199 h 142"/>
                <a:gd name="T24" fmla="*/ 21261 w 186"/>
                <a:gd name="T25" fmla="*/ 29827 h 142"/>
                <a:gd name="T26" fmla="*/ 24880 w 186"/>
                <a:gd name="T27" fmla="*/ 33427 h 142"/>
                <a:gd name="T28" fmla="*/ 39355 w 186"/>
                <a:gd name="T29" fmla="*/ 34455 h 142"/>
                <a:gd name="T30" fmla="*/ 35736 w 186"/>
                <a:gd name="T31" fmla="*/ 21085 h 142"/>
                <a:gd name="T32" fmla="*/ 31212 w 186"/>
                <a:gd name="T33" fmla="*/ 18513 h 142"/>
                <a:gd name="T34" fmla="*/ 28498 w 186"/>
                <a:gd name="T35" fmla="*/ 15428 h 142"/>
                <a:gd name="T36" fmla="*/ 27594 w 186"/>
                <a:gd name="T37" fmla="*/ 11828 h 142"/>
                <a:gd name="T38" fmla="*/ 31665 w 186"/>
                <a:gd name="T39" fmla="*/ 8742 h 142"/>
                <a:gd name="T40" fmla="*/ 39355 w 186"/>
                <a:gd name="T41" fmla="*/ 7200 h 142"/>
                <a:gd name="T42" fmla="*/ 44331 w 186"/>
                <a:gd name="T43" fmla="*/ 5143 h 142"/>
                <a:gd name="T44" fmla="*/ 50211 w 186"/>
                <a:gd name="T45" fmla="*/ 3086 h 142"/>
                <a:gd name="T46" fmla="*/ 58806 w 186"/>
                <a:gd name="T47" fmla="*/ 1543 h 142"/>
                <a:gd name="T48" fmla="*/ 66496 w 186"/>
                <a:gd name="T49" fmla="*/ 514 h 142"/>
                <a:gd name="T50" fmla="*/ 71924 w 186"/>
                <a:gd name="T51" fmla="*/ 1029 h 142"/>
                <a:gd name="T52" fmla="*/ 79614 w 186"/>
                <a:gd name="T53" fmla="*/ 514 h 142"/>
                <a:gd name="T54" fmla="*/ 82781 w 186"/>
                <a:gd name="T55" fmla="*/ 5143 h 142"/>
                <a:gd name="T56" fmla="*/ 80519 w 186"/>
                <a:gd name="T57" fmla="*/ 13371 h 142"/>
                <a:gd name="T58" fmla="*/ 76448 w 186"/>
                <a:gd name="T59" fmla="*/ 20570 h 142"/>
                <a:gd name="T60" fmla="*/ 71924 w 186"/>
                <a:gd name="T61" fmla="*/ 26227 h 142"/>
                <a:gd name="T62" fmla="*/ 70115 w 186"/>
                <a:gd name="T63" fmla="*/ 32398 h 142"/>
                <a:gd name="T64" fmla="*/ 69210 w 186"/>
                <a:gd name="T65" fmla="*/ 39084 h 142"/>
                <a:gd name="T66" fmla="*/ 54283 w 186"/>
                <a:gd name="T67" fmla="*/ 73025 h 142"/>
                <a:gd name="T68" fmla="*/ 36188 w 186"/>
                <a:gd name="T69" fmla="*/ 62740 h 142"/>
                <a:gd name="T70" fmla="*/ 15832 w 186"/>
                <a:gd name="T71" fmla="*/ 60168 h 142"/>
                <a:gd name="T72" fmla="*/ 3619 w 186"/>
                <a:gd name="T73" fmla="*/ 58111 h 1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61" name="Freeform 231">
              <a:extLst>
                <a:ext uri="{FF2B5EF4-FFF2-40B4-BE49-F238E27FC236}">
                  <a16:creationId xmlns:a16="http://schemas.microsoft.com/office/drawing/2014/main" xmlns="" id="{CC8794C7-A921-3BDE-0015-037119D552DC}"/>
                </a:ext>
              </a:extLst>
            </p:cNvPr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4083362" y="1319177"/>
              <a:ext cx="72789" cy="41835"/>
            </a:xfrm>
            <a:custGeom>
              <a:avLst/>
              <a:gdLst>
                <a:gd name="T0" fmla="*/ 84138 w 192"/>
                <a:gd name="T1" fmla="*/ 33201 h 105"/>
                <a:gd name="T2" fmla="*/ 82823 w 192"/>
                <a:gd name="T3" fmla="*/ 33746 h 105"/>
                <a:gd name="T4" fmla="*/ 80632 w 192"/>
                <a:gd name="T5" fmla="*/ 34290 h 105"/>
                <a:gd name="T6" fmla="*/ 78879 w 192"/>
                <a:gd name="T7" fmla="*/ 34834 h 105"/>
                <a:gd name="T8" fmla="*/ 77565 w 192"/>
                <a:gd name="T9" fmla="*/ 36467 h 105"/>
                <a:gd name="T10" fmla="*/ 73621 w 192"/>
                <a:gd name="T11" fmla="*/ 39189 h 105"/>
                <a:gd name="T12" fmla="*/ 70115 w 192"/>
                <a:gd name="T13" fmla="*/ 42999 h 105"/>
                <a:gd name="T14" fmla="*/ 67486 w 192"/>
                <a:gd name="T15" fmla="*/ 46809 h 105"/>
                <a:gd name="T16" fmla="*/ 64418 w 192"/>
                <a:gd name="T17" fmla="*/ 50619 h 105"/>
                <a:gd name="T18" fmla="*/ 62665 w 192"/>
                <a:gd name="T19" fmla="*/ 53884 h 105"/>
                <a:gd name="T20" fmla="*/ 60912 w 192"/>
                <a:gd name="T21" fmla="*/ 57150 h 105"/>
                <a:gd name="T22" fmla="*/ 52586 w 192"/>
                <a:gd name="T23" fmla="*/ 52796 h 105"/>
                <a:gd name="T24" fmla="*/ 44698 w 192"/>
                <a:gd name="T25" fmla="*/ 48441 h 105"/>
                <a:gd name="T26" fmla="*/ 37687 w 192"/>
                <a:gd name="T27" fmla="*/ 43543 h 105"/>
                <a:gd name="T28" fmla="*/ 30237 w 192"/>
                <a:gd name="T29" fmla="*/ 38644 h 105"/>
                <a:gd name="T30" fmla="*/ 23226 w 192"/>
                <a:gd name="T31" fmla="*/ 33201 h 105"/>
                <a:gd name="T32" fmla="*/ 15776 w 192"/>
                <a:gd name="T33" fmla="*/ 28847 h 105"/>
                <a:gd name="T34" fmla="*/ 8326 w 192"/>
                <a:gd name="T35" fmla="*/ 23949 h 105"/>
                <a:gd name="T36" fmla="*/ 0 w 192"/>
                <a:gd name="T37" fmla="*/ 20139 h 105"/>
                <a:gd name="T38" fmla="*/ 0 w 192"/>
                <a:gd name="T39" fmla="*/ 7076 h 105"/>
                <a:gd name="T40" fmla="*/ 3068 w 192"/>
                <a:gd name="T41" fmla="*/ 3810 h 105"/>
                <a:gd name="T42" fmla="*/ 7012 w 192"/>
                <a:gd name="T43" fmla="*/ 2177 h 105"/>
                <a:gd name="T44" fmla="*/ 12708 w 192"/>
                <a:gd name="T45" fmla="*/ 544 h 105"/>
                <a:gd name="T46" fmla="*/ 17529 w 192"/>
                <a:gd name="T47" fmla="*/ 0 h 105"/>
                <a:gd name="T48" fmla="*/ 26293 w 192"/>
                <a:gd name="T49" fmla="*/ 1089 h 105"/>
                <a:gd name="T50" fmla="*/ 40754 w 192"/>
                <a:gd name="T51" fmla="*/ 2721 h 105"/>
                <a:gd name="T52" fmla="*/ 48642 w 192"/>
                <a:gd name="T53" fmla="*/ 3810 h 105"/>
                <a:gd name="T54" fmla="*/ 56092 w 192"/>
                <a:gd name="T55" fmla="*/ 3810 h 105"/>
                <a:gd name="T56" fmla="*/ 62665 w 192"/>
                <a:gd name="T57" fmla="*/ 3810 h 105"/>
                <a:gd name="T58" fmla="*/ 67047 w 192"/>
                <a:gd name="T59" fmla="*/ 3266 h 105"/>
                <a:gd name="T60" fmla="*/ 67924 w 192"/>
                <a:gd name="T61" fmla="*/ 5987 h 105"/>
                <a:gd name="T62" fmla="*/ 69677 w 192"/>
                <a:gd name="T63" fmla="*/ 9253 h 105"/>
                <a:gd name="T64" fmla="*/ 70553 w 192"/>
                <a:gd name="T65" fmla="*/ 10886 h 105"/>
                <a:gd name="T66" fmla="*/ 71868 w 192"/>
                <a:gd name="T67" fmla="*/ 12519 h 105"/>
                <a:gd name="T68" fmla="*/ 72306 w 192"/>
                <a:gd name="T69" fmla="*/ 14696 h 105"/>
                <a:gd name="T70" fmla="*/ 72744 w 192"/>
                <a:gd name="T71" fmla="*/ 16873 h 105"/>
                <a:gd name="T72" fmla="*/ 74497 w 192"/>
                <a:gd name="T73" fmla="*/ 17417 h 105"/>
                <a:gd name="T74" fmla="*/ 77565 w 192"/>
                <a:gd name="T75" fmla="*/ 17961 h 105"/>
                <a:gd name="T76" fmla="*/ 78879 w 192"/>
                <a:gd name="T77" fmla="*/ 18506 h 105"/>
                <a:gd name="T78" fmla="*/ 80194 w 192"/>
                <a:gd name="T79" fmla="*/ 18506 h 105"/>
                <a:gd name="T80" fmla="*/ 82385 w 192"/>
                <a:gd name="T81" fmla="*/ 17961 h 105"/>
                <a:gd name="T82" fmla="*/ 84138 w 192"/>
                <a:gd name="T83" fmla="*/ 16873 h 105"/>
                <a:gd name="T84" fmla="*/ 84138 w 192"/>
                <a:gd name="T85" fmla="*/ 33201 h 10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62" name="Freeform 232">
              <a:extLst>
                <a:ext uri="{FF2B5EF4-FFF2-40B4-BE49-F238E27FC236}">
                  <a16:creationId xmlns:a16="http://schemas.microsoft.com/office/drawing/2014/main" xmlns="" id="{D2A7C92E-C493-6EFB-DB23-45BF823F57A2}"/>
                </a:ext>
              </a:extLst>
            </p:cNvPr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4741210" y="1724734"/>
              <a:ext cx="28840" cy="96451"/>
            </a:xfrm>
            <a:custGeom>
              <a:avLst/>
              <a:gdLst>
                <a:gd name="T0" fmla="*/ 13752 w 80"/>
                <a:gd name="T1" fmla="*/ 0 h 254"/>
                <a:gd name="T2" fmla="*/ 15418 w 80"/>
                <a:gd name="T3" fmla="*/ 1037 h 254"/>
                <a:gd name="T4" fmla="*/ 16669 w 80"/>
                <a:gd name="T5" fmla="*/ 2075 h 254"/>
                <a:gd name="T6" fmla="*/ 17919 w 80"/>
                <a:gd name="T7" fmla="*/ 3631 h 254"/>
                <a:gd name="T8" fmla="*/ 19169 w 80"/>
                <a:gd name="T9" fmla="*/ 5187 h 254"/>
                <a:gd name="T10" fmla="*/ 21669 w 80"/>
                <a:gd name="T11" fmla="*/ 9337 h 254"/>
                <a:gd name="T12" fmla="*/ 23336 w 80"/>
                <a:gd name="T13" fmla="*/ 12969 h 254"/>
                <a:gd name="T14" fmla="*/ 25836 w 80"/>
                <a:gd name="T15" fmla="*/ 16600 h 254"/>
                <a:gd name="T16" fmla="*/ 27920 w 80"/>
                <a:gd name="T17" fmla="*/ 19712 h 254"/>
                <a:gd name="T18" fmla="*/ 29170 w 80"/>
                <a:gd name="T19" fmla="*/ 20750 h 254"/>
                <a:gd name="T20" fmla="*/ 30420 w 80"/>
                <a:gd name="T21" fmla="*/ 21787 h 254"/>
                <a:gd name="T22" fmla="*/ 31670 w 80"/>
                <a:gd name="T23" fmla="*/ 22306 h 254"/>
                <a:gd name="T24" fmla="*/ 33337 w 80"/>
                <a:gd name="T25" fmla="*/ 22825 h 254"/>
                <a:gd name="T26" fmla="*/ 33337 w 80"/>
                <a:gd name="T27" fmla="*/ 27494 h 254"/>
                <a:gd name="T28" fmla="*/ 33337 w 80"/>
                <a:gd name="T29" fmla="*/ 32162 h 254"/>
                <a:gd name="T30" fmla="*/ 22086 w 80"/>
                <a:gd name="T31" fmla="*/ 131762 h 254"/>
                <a:gd name="T32" fmla="*/ 0 w 80"/>
                <a:gd name="T33" fmla="*/ 48244 h 254"/>
                <a:gd name="T34" fmla="*/ 1667 w 80"/>
                <a:gd name="T35" fmla="*/ 45650 h 254"/>
                <a:gd name="T36" fmla="*/ 4584 w 80"/>
                <a:gd name="T37" fmla="*/ 36831 h 254"/>
                <a:gd name="T38" fmla="*/ 7084 w 80"/>
                <a:gd name="T39" fmla="*/ 29569 h 254"/>
                <a:gd name="T40" fmla="*/ 9168 w 80"/>
                <a:gd name="T41" fmla="*/ 21269 h 254"/>
                <a:gd name="T42" fmla="*/ 11668 w 80"/>
                <a:gd name="T43" fmla="*/ 11931 h 254"/>
                <a:gd name="T44" fmla="*/ 13752 w 80"/>
                <a:gd name="T45" fmla="*/ 0 h 25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63" name="Freeform 233">
              <a:extLst>
                <a:ext uri="{FF2B5EF4-FFF2-40B4-BE49-F238E27FC236}">
                  <a16:creationId xmlns:a16="http://schemas.microsoft.com/office/drawing/2014/main" xmlns="" id="{0E48D417-DCB2-7764-0804-E33D9C3BE6F5}"/>
                </a:ext>
              </a:extLst>
            </p:cNvPr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4697261" y="1763083"/>
              <a:ext cx="60428" cy="95288"/>
            </a:xfrm>
            <a:custGeom>
              <a:avLst/>
              <a:gdLst>
                <a:gd name="T0" fmla="*/ 47682 w 167"/>
                <a:gd name="T1" fmla="*/ 0 h 259"/>
                <a:gd name="T2" fmla="*/ 69850 w 167"/>
                <a:gd name="T3" fmla="*/ 77904 h 259"/>
                <a:gd name="T4" fmla="*/ 50610 w 167"/>
                <a:gd name="T5" fmla="*/ 130175 h 259"/>
                <a:gd name="T6" fmla="*/ 47264 w 167"/>
                <a:gd name="T7" fmla="*/ 130175 h 259"/>
                <a:gd name="T8" fmla="*/ 44754 w 167"/>
                <a:gd name="T9" fmla="*/ 129170 h 259"/>
                <a:gd name="T10" fmla="*/ 41826 w 167"/>
                <a:gd name="T11" fmla="*/ 127662 h 259"/>
                <a:gd name="T12" fmla="*/ 39735 w 167"/>
                <a:gd name="T13" fmla="*/ 126154 h 259"/>
                <a:gd name="T14" fmla="*/ 37225 w 167"/>
                <a:gd name="T15" fmla="*/ 123139 h 259"/>
                <a:gd name="T16" fmla="*/ 35552 w 167"/>
                <a:gd name="T17" fmla="*/ 120625 h 259"/>
                <a:gd name="T18" fmla="*/ 33461 w 167"/>
                <a:gd name="T19" fmla="*/ 118112 h 259"/>
                <a:gd name="T20" fmla="*/ 31788 w 167"/>
                <a:gd name="T21" fmla="*/ 115097 h 259"/>
                <a:gd name="T22" fmla="*/ 28860 w 167"/>
                <a:gd name="T23" fmla="*/ 109066 h 259"/>
                <a:gd name="T24" fmla="*/ 27187 w 167"/>
                <a:gd name="T25" fmla="*/ 103034 h 259"/>
                <a:gd name="T26" fmla="*/ 25932 w 167"/>
                <a:gd name="T27" fmla="*/ 97506 h 259"/>
                <a:gd name="T28" fmla="*/ 25932 w 167"/>
                <a:gd name="T29" fmla="*/ 92982 h 259"/>
                <a:gd name="T30" fmla="*/ 23004 w 167"/>
                <a:gd name="T31" fmla="*/ 92480 h 259"/>
                <a:gd name="T32" fmla="*/ 21331 w 167"/>
                <a:gd name="T33" fmla="*/ 91977 h 259"/>
                <a:gd name="T34" fmla="*/ 18822 w 167"/>
                <a:gd name="T35" fmla="*/ 91474 h 259"/>
                <a:gd name="T36" fmla="*/ 17567 w 167"/>
                <a:gd name="T37" fmla="*/ 90469 h 259"/>
                <a:gd name="T38" fmla="*/ 16312 w 167"/>
                <a:gd name="T39" fmla="*/ 88961 h 259"/>
                <a:gd name="T40" fmla="*/ 15057 w 167"/>
                <a:gd name="T41" fmla="*/ 87453 h 259"/>
                <a:gd name="T42" fmla="*/ 14221 w 167"/>
                <a:gd name="T43" fmla="*/ 85443 h 259"/>
                <a:gd name="T44" fmla="*/ 13384 w 167"/>
                <a:gd name="T45" fmla="*/ 83935 h 259"/>
                <a:gd name="T46" fmla="*/ 12548 w 167"/>
                <a:gd name="T47" fmla="*/ 79412 h 259"/>
                <a:gd name="T48" fmla="*/ 12130 w 167"/>
                <a:gd name="T49" fmla="*/ 74888 h 259"/>
                <a:gd name="T50" fmla="*/ 11711 w 167"/>
                <a:gd name="T51" fmla="*/ 70365 h 259"/>
                <a:gd name="T52" fmla="*/ 11711 w 167"/>
                <a:gd name="T53" fmla="*/ 64836 h 259"/>
                <a:gd name="T54" fmla="*/ 8784 w 167"/>
                <a:gd name="T55" fmla="*/ 64836 h 259"/>
                <a:gd name="T56" fmla="*/ 6692 w 167"/>
                <a:gd name="T57" fmla="*/ 63831 h 259"/>
                <a:gd name="T58" fmla="*/ 4601 w 167"/>
                <a:gd name="T59" fmla="*/ 62826 h 259"/>
                <a:gd name="T60" fmla="*/ 2928 w 167"/>
                <a:gd name="T61" fmla="*/ 60815 h 259"/>
                <a:gd name="T62" fmla="*/ 2091 w 167"/>
                <a:gd name="T63" fmla="*/ 58805 h 259"/>
                <a:gd name="T64" fmla="*/ 837 w 167"/>
                <a:gd name="T65" fmla="*/ 56292 h 259"/>
                <a:gd name="T66" fmla="*/ 0 w 167"/>
                <a:gd name="T67" fmla="*/ 53779 h 259"/>
                <a:gd name="T68" fmla="*/ 0 w 167"/>
                <a:gd name="T69" fmla="*/ 50763 h 259"/>
                <a:gd name="T70" fmla="*/ 0 w 167"/>
                <a:gd name="T71" fmla="*/ 37695 h 259"/>
                <a:gd name="T72" fmla="*/ 418 w 167"/>
                <a:gd name="T73" fmla="*/ 25130 h 259"/>
                <a:gd name="T74" fmla="*/ 5019 w 167"/>
                <a:gd name="T75" fmla="*/ 26136 h 259"/>
                <a:gd name="T76" fmla="*/ 9202 w 167"/>
                <a:gd name="T77" fmla="*/ 26638 h 259"/>
                <a:gd name="T78" fmla="*/ 13384 w 167"/>
                <a:gd name="T79" fmla="*/ 26638 h 259"/>
                <a:gd name="T80" fmla="*/ 17567 w 167"/>
                <a:gd name="T81" fmla="*/ 26136 h 259"/>
                <a:gd name="T82" fmla="*/ 20913 w 167"/>
                <a:gd name="T83" fmla="*/ 25633 h 259"/>
                <a:gd name="T84" fmla="*/ 24259 w 167"/>
                <a:gd name="T85" fmla="*/ 24628 h 259"/>
                <a:gd name="T86" fmla="*/ 27605 w 167"/>
                <a:gd name="T87" fmla="*/ 23622 h 259"/>
                <a:gd name="T88" fmla="*/ 30533 w 167"/>
                <a:gd name="T89" fmla="*/ 22115 h 259"/>
                <a:gd name="T90" fmla="*/ 33043 w 167"/>
                <a:gd name="T91" fmla="*/ 20104 h 259"/>
                <a:gd name="T92" fmla="*/ 35971 w 167"/>
                <a:gd name="T93" fmla="*/ 18094 h 259"/>
                <a:gd name="T94" fmla="*/ 38062 w 167"/>
                <a:gd name="T95" fmla="*/ 15581 h 259"/>
                <a:gd name="T96" fmla="*/ 40572 w 167"/>
                <a:gd name="T97" fmla="*/ 13068 h 259"/>
                <a:gd name="T98" fmla="*/ 44754 w 167"/>
                <a:gd name="T99" fmla="*/ 6534 h 259"/>
                <a:gd name="T100" fmla="*/ 47682 w 167"/>
                <a:gd name="T101" fmla="*/ 0 h 2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64" name="Freeform 234">
              <a:extLst>
                <a:ext uri="{FF2B5EF4-FFF2-40B4-BE49-F238E27FC236}">
                  <a16:creationId xmlns:a16="http://schemas.microsoft.com/office/drawing/2014/main" xmlns="" id="{85FFC5B4-62E4-137B-618F-2BD6A0E3B0B8}"/>
                </a:ext>
              </a:extLst>
            </p:cNvPr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3833408" y="1216916"/>
              <a:ext cx="83776" cy="105747"/>
            </a:xfrm>
            <a:custGeom>
              <a:avLst/>
              <a:gdLst>
                <a:gd name="T0" fmla="*/ 79622 w 225"/>
                <a:gd name="T1" fmla="*/ 35454 h 273"/>
                <a:gd name="T2" fmla="*/ 74458 w 225"/>
                <a:gd name="T3" fmla="*/ 41275 h 273"/>
                <a:gd name="T4" fmla="*/ 68432 w 225"/>
                <a:gd name="T5" fmla="*/ 43392 h 273"/>
                <a:gd name="T6" fmla="*/ 70154 w 225"/>
                <a:gd name="T7" fmla="*/ 49213 h 273"/>
                <a:gd name="T8" fmla="*/ 74888 w 225"/>
                <a:gd name="T9" fmla="*/ 53446 h 273"/>
                <a:gd name="T10" fmla="*/ 83926 w 225"/>
                <a:gd name="T11" fmla="*/ 55563 h 273"/>
                <a:gd name="T12" fmla="*/ 96838 w 225"/>
                <a:gd name="T13" fmla="*/ 56092 h 273"/>
                <a:gd name="T14" fmla="*/ 96838 w 225"/>
                <a:gd name="T15" fmla="*/ 80434 h 273"/>
                <a:gd name="T16" fmla="*/ 96408 w 225"/>
                <a:gd name="T17" fmla="*/ 93134 h 273"/>
                <a:gd name="T18" fmla="*/ 92534 w 225"/>
                <a:gd name="T19" fmla="*/ 98955 h 273"/>
                <a:gd name="T20" fmla="*/ 84787 w 225"/>
                <a:gd name="T21" fmla="*/ 108480 h 273"/>
                <a:gd name="T22" fmla="*/ 82635 w 225"/>
                <a:gd name="T23" fmla="*/ 113242 h 273"/>
                <a:gd name="T24" fmla="*/ 77040 w 225"/>
                <a:gd name="T25" fmla="*/ 115359 h 273"/>
                <a:gd name="T26" fmla="*/ 70584 w 225"/>
                <a:gd name="T27" fmla="*/ 119063 h 273"/>
                <a:gd name="T28" fmla="*/ 68432 w 225"/>
                <a:gd name="T29" fmla="*/ 124884 h 273"/>
                <a:gd name="T30" fmla="*/ 60255 w 225"/>
                <a:gd name="T31" fmla="*/ 128059 h 273"/>
                <a:gd name="T32" fmla="*/ 55090 w 225"/>
                <a:gd name="T33" fmla="*/ 133350 h 273"/>
                <a:gd name="T34" fmla="*/ 43470 w 225"/>
                <a:gd name="T35" fmla="*/ 134938 h 273"/>
                <a:gd name="T36" fmla="*/ 25823 w 225"/>
                <a:gd name="T37" fmla="*/ 138113 h 273"/>
                <a:gd name="T38" fmla="*/ 8177 w 225"/>
                <a:gd name="T39" fmla="*/ 138113 h 273"/>
                <a:gd name="T40" fmla="*/ 0 w 225"/>
                <a:gd name="T41" fmla="*/ 114830 h 273"/>
                <a:gd name="T42" fmla="*/ 9038 w 225"/>
                <a:gd name="T43" fmla="*/ 112184 h 273"/>
                <a:gd name="T44" fmla="*/ 11190 w 225"/>
                <a:gd name="T45" fmla="*/ 108480 h 273"/>
                <a:gd name="T46" fmla="*/ 25823 w 225"/>
                <a:gd name="T47" fmla="*/ 106892 h 273"/>
                <a:gd name="T48" fmla="*/ 30988 w 225"/>
                <a:gd name="T49" fmla="*/ 102130 h 273"/>
                <a:gd name="T50" fmla="*/ 20659 w 225"/>
                <a:gd name="T51" fmla="*/ 104775 h 273"/>
                <a:gd name="T52" fmla="*/ 17216 w 225"/>
                <a:gd name="T53" fmla="*/ 104246 h 273"/>
                <a:gd name="T54" fmla="*/ 16785 w 225"/>
                <a:gd name="T55" fmla="*/ 99484 h 273"/>
                <a:gd name="T56" fmla="*/ 19798 w 225"/>
                <a:gd name="T57" fmla="*/ 91546 h 273"/>
                <a:gd name="T58" fmla="*/ 16785 w 225"/>
                <a:gd name="T59" fmla="*/ 84667 h 273"/>
                <a:gd name="T60" fmla="*/ 6025 w 225"/>
                <a:gd name="T61" fmla="*/ 79375 h 273"/>
                <a:gd name="T62" fmla="*/ 2582 w 225"/>
                <a:gd name="T63" fmla="*/ 68792 h 273"/>
                <a:gd name="T64" fmla="*/ 9469 w 225"/>
                <a:gd name="T65" fmla="*/ 60854 h 273"/>
                <a:gd name="T66" fmla="*/ 15064 w 225"/>
                <a:gd name="T67" fmla="*/ 53975 h 273"/>
                <a:gd name="T68" fmla="*/ 29267 w 225"/>
                <a:gd name="T69" fmla="*/ 49742 h 273"/>
                <a:gd name="T70" fmla="*/ 38735 w 225"/>
                <a:gd name="T71" fmla="*/ 49742 h 273"/>
                <a:gd name="T72" fmla="*/ 43039 w 225"/>
                <a:gd name="T73" fmla="*/ 46567 h 273"/>
                <a:gd name="T74" fmla="*/ 46482 w 225"/>
                <a:gd name="T75" fmla="*/ 27517 h 273"/>
                <a:gd name="T76" fmla="*/ 51647 w 225"/>
                <a:gd name="T77" fmla="*/ 16404 h 273"/>
                <a:gd name="T78" fmla="*/ 55951 w 225"/>
                <a:gd name="T79" fmla="*/ 10583 h 273"/>
                <a:gd name="T80" fmla="*/ 60685 w 225"/>
                <a:gd name="T81" fmla="*/ 3704 h 273"/>
                <a:gd name="T82" fmla="*/ 66711 w 225"/>
                <a:gd name="T83" fmla="*/ 529 h 273"/>
                <a:gd name="T84" fmla="*/ 77040 w 225"/>
                <a:gd name="T85" fmla="*/ 1588 h 273"/>
                <a:gd name="T86" fmla="*/ 83926 w 225"/>
                <a:gd name="T87" fmla="*/ 20108 h 273"/>
                <a:gd name="T88" fmla="*/ 84357 w 225"/>
                <a:gd name="T89" fmla="*/ 24871 h 273"/>
                <a:gd name="T90" fmla="*/ 81774 w 225"/>
                <a:gd name="T91" fmla="*/ 29633 h 27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65" name="Freeform 235">
              <a:extLst>
                <a:ext uri="{FF2B5EF4-FFF2-40B4-BE49-F238E27FC236}">
                  <a16:creationId xmlns:a16="http://schemas.microsoft.com/office/drawing/2014/main" xmlns="" id="{9E8E9533-090A-6AE5-EF85-3A6AB9891CB9}"/>
                </a:ext>
              </a:extLst>
            </p:cNvPr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3671349" y="1883937"/>
              <a:ext cx="265062" cy="285866"/>
            </a:xfrm>
            <a:custGeom>
              <a:avLst/>
              <a:gdLst>
                <a:gd name="T0" fmla="*/ 124140 w 232"/>
                <a:gd name="T1" fmla="*/ 387376 h 248"/>
                <a:gd name="T2" fmla="*/ 126781 w 232"/>
                <a:gd name="T3" fmla="*/ 382652 h 248"/>
                <a:gd name="T4" fmla="*/ 129423 w 232"/>
                <a:gd name="T5" fmla="*/ 374778 h 248"/>
                <a:gd name="T6" fmla="*/ 132064 w 232"/>
                <a:gd name="T7" fmla="*/ 365330 h 248"/>
                <a:gd name="T8" fmla="*/ 136026 w 232"/>
                <a:gd name="T9" fmla="*/ 363755 h 248"/>
                <a:gd name="T10" fmla="*/ 137346 w 232"/>
                <a:gd name="T11" fmla="*/ 374778 h 248"/>
                <a:gd name="T12" fmla="*/ 139988 w 232"/>
                <a:gd name="T13" fmla="*/ 379502 h 248"/>
                <a:gd name="T14" fmla="*/ 142629 w 232"/>
                <a:gd name="T15" fmla="*/ 381077 h 248"/>
                <a:gd name="T16" fmla="*/ 145270 w 232"/>
                <a:gd name="T17" fmla="*/ 381077 h 248"/>
                <a:gd name="T18" fmla="*/ 149232 w 232"/>
                <a:gd name="T19" fmla="*/ 379502 h 248"/>
                <a:gd name="T20" fmla="*/ 153194 w 232"/>
                <a:gd name="T21" fmla="*/ 374778 h 248"/>
                <a:gd name="T22" fmla="*/ 285258 w 232"/>
                <a:gd name="T23" fmla="*/ 368479 h 248"/>
                <a:gd name="T24" fmla="*/ 281296 w 232"/>
                <a:gd name="T25" fmla="*/ 321238 h 248"/>
                <a:gd name="T26" fmla="*/ 273372 w 232"/>
                <a:gd name="T27" fmla="*/ 217308 h 248"/>
                <a:gd name="T28" fmla="*/ 265448 w 232"/>
                <a:gd name="T29" fmla="*/ 114953 h 248"/>
                <a:gd name="T30" fmla="*/ 261486 w 232"/>
                <a:gd name="T31" fmla="*/ 67712 h 248"/>
                <a:gd name="T32" fmla="*/ 283937 w 232"/>
                <a:gd name="T33" fmla="*/ 69287 h 248"/>
                <a:gd name="T34" fmla="*/ 306388 w 232"/>
                <a:gd name="T35" fmla="*/ 72436 h 248"/>
                <a:gd name="T36" fmla="*/ 212623 w 232"/>
                <a:gd name="T37" fmla="*/ 3149 h 248"/>
                <a:gd name="T38" fmla="*/ 211302 w 232"/>
                <a:gd name="T39" fmla="*/ 12598 h 248"/>
                <a:gd name="T40" fmla="*/ 212623 w 232"/>
                <a:gd name="T41" fmla="*/ 28345 h 248"/>
                <a:gd name="T42" fmla="*/ 129423 w 232"/>
                <a:gd name="T43" fmla="*/ 37793 h 248"/>
                <a:gd name="T44" fmla="*/ 129423 w 232"/>
                <a:gd name="T45" fmla="*/ 116528 h 248"/>
                <a:gd name="T46" fmla="*/ 125461 w 232"/>
                <a:gd name="T47" fmla="*/ 119677 h 248"/>
                <a:gd name="T48" fmla="*/ 114896 w 232"/>
                <a:gd name="T49" fmla="*/ 122826 h 248"/>
                <a:gd name="T50" fmla="*/ 95086 w 232"/>
                <a:gd name="T51" fmla="*/ 129125 h 248"/>
                <a:gd name="T52" fmla="*/ 97727 w 232"/>
                <a:gd name="T53" fmla="*/ 138573 h 248"/>
                <a:gd name="T54" fmla="*/ 103010 w 232"/>
                <a:gd name="T55" fmla="*/ 151171 h 248"/>
                <a:gd name="T56" fmla="*/ 105651 w 232"/>
                <a:gd name="T57" fmla="*/ 165343 h 248"/>
                <a:gd name="T58" fmla="*/ 106972 w 232"/>
                <a:gd name="T59" fmla="*/ 181090 h 248"/>
                <a:gd name="T60" fmla="*/ 11886 w 232"/>
                <a:gd name="T61" fmla="*/ 187389 h 248"/>
                <a:gd name="T62" fmla="*/ 6603 w 232"/>
                <a:gd name="T63" fmla="*/ 204711 h 248"/>
                <a:gd name="T64" fmla="*/ 7924 w 232"/>
                <a:gd name="T65" fmla="*/ 225182 h 248"/>
                <a:gd name="T66" fmla="*/ 10565 w 232"/>
                <a:gd name="T67" fmla="*/ 244078 h 248"/>
                <a:gd name="T68" fmla="*/ 11886 w 232"/>
                <a:gd name="T69" fmla="*/ 264549 h 248"/>
                <a:gd name="T70" fmla="*/ 11886 w 232"/>
                <a:gd name="T71" fmla="*/ 286595 h 248"/>
                <a:gd name="T72" fmla="*/ 10565 w 232"/>
                <a:gd name="T73" fmla="*/ 305491 h 248"/>
                <a:gd name="T74" fmla="*/ 7924 w 232"/>
                <a:gd name="T75" fmla="*/ 324388 h 248"/>
                <a:gd name="T76" fmla="*/ 2641 w 232"/>
                <a:gd name="T77" fmla="*/ 340135 h 248"/>
                <a:gd name="T78" fmla="*/ 2641 w 232"/>
                <a:gd name="T79" fmla="*/ 344859 h 248"/>
                <a:gd name="T80" fmla="*/ 3962 w 232"/>
                <a:gd name="T81" fmla="*/ 346433 h 248"/>
                <a:gd name="T82" fmla="*/ 3962 w 232"/>
                <a:gd name="T83" fmla="*/ 349583 h 248"/>
                <a:gd name="T84" fmla="*/ 9244 w 232"/>
                <a:gd name="T85" fmla="*/ 341709 h 248"/>
                <a:gd name="T86" fmla="*/ 23771 w 232"/>
                <a:gd name="T87" fmla="*/ 335411 h 248"/>
                <a:gd name="T88" fmla="*/ 47543 w 232"/>
                <a:gd name="T89" fmla="*/ 325962 h 248"/>
                <a:gd name="T90" fmla="*/ 59429 w 232"/>
                <a:gd name="T91" fmla="*/ 327537 h 248"/>
                <a:gd name="T92" fmla="*/ 67353 w 232"/>
                <a:gd name="T93" fmla="*/ 333836 h 248"/>
                <a:gd name="T94" fmla="*/ 73956 w 232"/>
                <a:gd name="T95" fmla="*/ 336985 h 248"/>
                <a:gd name="T96" fmla="*/ 81880 w 232"/>
                <a:gd name="T97" fmla="*/ 338560 h 248"/>
                <a:gd name="T98" fmla="*/ 87162 w 232"/>
                <a:gd name="T99" fmla="*/ 344859 h 248"/>
                <a:gd name="T100" fmla="*/ 88483 w 232"/>
                <a:gd name="T101" fmla="*/ 354307 h 248"/>
                <a:gd name="T102" fmla="*/ 92445 w 232"/>
                <a:gd name="T103" fmla="*/ 363755 h 248"/>
                <a:gd name="T104" fmla="*/ 97727 w 232"/>
                <a:gd name="T105" fmla="*/ 370054 h 248"/>
                <a:gd name="T106" fmla="*/ 112254 w 232"/>
                <a:gd name="T107" fmla="*/ 382652 h 2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66" name="Freeform 236">
              <a:extLst>
                <a:ext uri="{FF2B5EF4-FFF2-40B4-BE49-F238E27FC236}">
                  <a16:creationId xmlns:a16="http://schemas.microsoft.com/office/drawing/2014/main" xmlns="" id="{56C64CFB-5BA7-758B-EE7D-052C4FA0E7DC}"/>
                </a:ext>
              </a:extLst>
            </p:cNvPr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3771607" y="1928095"/>
              <a:ext cx="358450" cy="342807"/>
            </a:xfrm>
            <a:custGeom>
              <a:avLst/>
              <a:gdLst>
                <a:gd name="T0" fmla="*/ 39336 w 948"/>
                <a:gd name="T1" fmla="*/ 413248 h 893"/>
                <a:gd name="T2" fmla="*/ 52885 w 948"/>
                <a:gd name="T3" fmla="*/ 413248 h 893"/>
                <a:gd name="T4" fmla="*/ 63811 w 948"/>
                <a:gd name="T5" fmla="*/ 410626 h 893"/>
                <a:gd name="T6" fmla="*/ 81294 w 948"/>
                <a:gd name="T7" fmla="*/ 406955 h 893"/>
                <a:gd name="T8" fmla="*/ 86102 w 948"/>
                <a:gd name="T9" fmla="*/ 426359 h 893"/>
                <a:gd name="T10" fmla="*/ 92658 w 948"/>
                <a:gd name="T11" fmla="*/ 437896 h 893"/>
                <a:gd name="T12" fmla="*/ 98777 w 948"/>
                <a:gd name="T13" fmla="*/ 443665 h 893"/>
                <a:gd name="T14" fmla="*/ 107518 w 948"/>
                <a:gd name="T15" fmla="*/ 445763 h 893"/>
                <a:gd name="T16" fmla="*/ 107518 w 948"/>
                <a:gd name="T17" fmla="*/ 462020 h 893"/>
                <a:gd name="T18" fmla="*/ 142483 w 948"/>
                <a:gd name="T19" fmla="*/ 466215 h 893"/>
                <a:gd name="T20" fmla="*/ 145979 w 948"/>
                <a:gd name="T21" fmla="*/ 459398 h 893"/>
                <a:gd name="T22" fmla="*/ 151661 w 948"/>
                <a:gd name="T23" fmla="*/ 456776 h 893"/>
                <a:gd name="T24" fmla="*/ 152098 w 948"/>
                <a:gd name="T25" fmla="*/ 465691 h 893"/>
                <a:gd name="T26" fmla="*/ 156469 w 948"/>
                <a:gd name="T27" fmla="*/ 468313 h 893"/>
                <a:gd name="T28" fmla="*/ 168270 w 948"/>
                <a:gd name="T29" fmla="*/ 468313 h 893"/>
                <a:gd name="T30" fmla="*/ 175263 w 948"/>
                <a:gd name="T31" fmla="*/ 447860 h 893"/>
                <a:gd name="T32" fmla="*/ 180071 w 948"/>
                <a:gd name="T33" fmla="*/ 413248 h 893"/>
                <a:gd name="T34" fmla="*/ 185315 w 948"/>
                <a:gd name="T35" fmla="*/ 404333 h 893"/>
                <a:gd name="T36" fmla="*/ 197553 w 948"/>
                <a:gd name="T37" fmla="*/ 395418 h 893"/>
                <a:gd name="T38" fmla="*/ 211976 w 948"/>
                <a:gd name="T39" fmla="*/ 389649 h 893"/>
                <a:gd name="T40" fmla="*/ 218969 w 948"/>
                <a:gd name="T41" fmla="*/ 382307 h 893"/>
                <a:gd name="T42" fmla="*/ 225088 w 948"/>
                <a:gd name="T43" fmla="*/ 368148 h 893"/>
                <a:gd name="T44" fmla="*/ 233829 w 948"/>
                <a:gd name="T45" fmla="*/ 350317 h 893"/>
                <a:gd name="T46" fmla="*/ 239074 w 948"/>
                <a:gd name="T47" fmla="*/ 346122 h 893"/>
                <a:gd name="T48" fmla="*/ 250001 w 948"/>
                <a:gd name="T49" fmla="*/ 345597 h 893"/>
                <a:gd name="T50" fmla="*/ 264424 w 948"/>
                <a:gd name="T51" fmla="*/ 337731 h 893"/>
                <a:gd name="T52" fmla="*/ 279284 w 948"/>
                <a:gd name="T53" fmla="*/ 327242 h 893"/>
                <a:gd name="T54" fmla="*/ 294581 w 948"/>
                <a:gd name="T55" fmla="*/ 321474 h 893"/>
                <a:gd name="T56" fmla="*/ 316435 w 948"/>
                <a:gd name="T57" fmla="*/ 319900 h 893"/>
                <a:gd name="T58" fmla="*/ 344407 w 948"/>
                <a:gd name="T59" fmla="*/ 315705 h 893"/>
                <a:gd name="T60" fmla="*/ 356207 w 948"/>
                <a:gd name="T61" fmla="*/ 311509 h 893"/>
                <a:gd name="T62" fmla="*/ 377187 w 948"/>
                <a:gd name="T63" fmla="*/ 309412 h 893"/>
                <a:gd name="T64" fmla="*/ 393795 w 948"/>
                <a:gd name="T65" fmla="*/ 305741 h 893"/>
                <a:gd name="T66" fmla="*/ 399040 w 948"/>
                <a:gd name="T67" fmla="*/ 301021 h 893"/>
                <a:gd name="T68" fmla="*/ 406907 w 948"/>
                <a:gd name="T69" fmla="*/ 285288 h 893"/>
                <a:gd name="T70" fmla="*/ 412152 w 948"/>
                <a:gd name="T71" fmla="*/ 264311 h 893"/>
                <a:gd name="T72" fmla="*/ 414337 w 948"/>
                <a:gd name="T73" fmla="*/ 241761 h 893"/>
                <a:gd name="T74" fmla="*/ 413900 w 948"/>
                <a:gd name="T75" fmla="*/ 220784 h 893"/>
                <a:gd name="T76" fmla="*/ 412152 w 948"/>
                <a:gd name="T77" fmla="*/ 190367 h 893"/>
                <a:gd name="T78" fmla="*/ 402973 w 948"/>
                <a:gd name="T79" fmla="*/ 186696 h 893"/>
                <a:gd name="T80" fmla="*/ 376749 w 948"/>
                <a:gd name="T81" fmla="*/ 168865 h 893"/>
                <a:gd name="T82" fmla="*/ 347029 w 948"/>
                <a:gd name="T83" fmla="*/ 145791 h 893"/>
                <a:gd name="T84" fmla="*/ 322553 w 948"/>
                <a:gd name="T85" fmla="*/ 113276 h 893"/>
                <a:gd name="T86" fmla="*/ 180071 w 948"/>
                <a:gd name="T87" fmla="*/ 6293 h 893"/>
                <a:gd name="T88" fmla="*/ 152098 w 948"/>
                <a:gd name="T89" fmla="*/ 53492 h 893"/>
                <a:gd name="T90" fmla="*/ 165647 w 948"/>
                <a:gd name="T91" fmla="*/ 212393 h 893"/>
                <a:gd name="T92" fmla="*/ 171329 w 948"/>
                <a:gd name="T93" fmla="*/ 296301 h 893"/>
                <a:gd name="T94" fmla="*/ 40647 w 948"/>
                <a:gd name="T95" fmla="*/ 309936 h 893"/>
                <a:gd name="T96" fmla="*/ 34528 w 948"/>
                <a:gd name="T97" fmla="*/ 317803 h 893"/>
                <a:gd name="T98" fmla="*/ 29283 w 948"/>
                <a:gd name="T99" fmla="*/ 319900 h 893"/>
                <a:gd name="T100" fmla="*/ 24913 w 948"/>
                <a:gd name="T101" fmla="*/ 318327 h 893"/>
                <a:gd name="T102" fmla="*/ 21416 w 948"/>
                <a:gd name="T103" fmla="*/ 309936 h 893"/>
                <a:gd name="T104" fmla="*/ 17483 w 948"/>
                <a:gd name="T105" fmla="*/ 304692 h 893"/>
                <a:gd name="T106" fmla="*/ 12675 w 948"/>
                <a:gd name="T107" fmla="*/ 317278 h 893"/>
                <a:gd name="T108" fmla="*/ 6556 w 948"/>
                <a:gd name="T109" fmla="*/ 326718 h 893"/>
                <a:gd name="T110" fmla="*/ 29283 w 948"/>
                <a:gd name="T111" fmla="*/ 384405 h 893"/>
                <a:gd name="T112" fmla="*/ 26661 w 948"/>
                <a:gd name="T113" fmla="*/ 392271 h 893"/>
                <a:gd name="T114" fmla="*/ 27098 w 948"/>
                <a:gd name="T115" fmla="*/ 398564 h 893"/>
                <a:gd name="T116" fmla="*/ 23601 w 948"/>
                <a:gd name="T117" fmla="*/ 413248 h 89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67" name="Freeform 237">
              <a:extLst>
                <a:ext uri="{FF2B5EF4-FFF2-40B4-BE49-F238E27FC236}">
                  <a16:creationId xmlns:a16="http://schemas.microsoft.com/office/drawing/2014/main" xmlns="" id="{C923AD18-88F5-D8F3-5994-40BC8EA9BC5D}"/>
                </a:ext>
              </a:extLst>
            </p:cNvPr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3856755" y="1639904"/>
              <a:ext cx="427119" cy="424152"/>
            </a:xfrm>
            <a:custGeom>
              <a:avLst/>
              <a:gdLst>
                <a:gd name="T0" fmla="*/ 315023 w 373"/>
                <a:gd name="T1" fmla="*/ 574740 h 370"/>
                <a:gd name="T2" fmla="*/ 322964 w 373"/>
                <a:gd name="T3" fmla="*/ 571608 h 370"/>
                <a:gd name="T4" fmla="*/ 337524 w 373"/>
                <a:gd name="T5" fmla="*/ 576306 h 370"/>
                <a:gd name="T6" fmla="*/ 492388 w 373"/>
                <a:gd name="T7" fmla="*/ 433795 h 370"/>
                <a:gd name="T8" fmla="*/ 488418 w 373"/>
                <a:gd name="T9" fmla="*/ 422833 h 370"/>
                <a:gd name="T10" fmla="*/ 477829 w 373"/>
                <a:gd name="T11" fmla="*/ 413437 h 370"/>
                <a:gd name="T12" fmla="*/ 459298 w 373"/>
                <a:gd name="T13" fmla="*/ 405607 h 370"/>
                <a:gd name="T14" fmla="*/ 448709 w 373"/>
                <a:gd name="T15" fmla="*/ 397776 h 370"/>
                <a:gd name="T16" fmla="*/ 444738 w 373"/>
                <a:gd name="T17" fmla="*/ 386814 h 370"/>
                <a:gd name="T18" fmla="*/ 446062 w 373"/>
                <a:gd name="T19" fmla="*/ 357059 h 370"/>
                <a:gd name="T20" fmla="*/ 446062 w 373"/>
                <a:gd name="T21" fmla="*/ 306946 h 370"/>
                <a:gd name="T22" fmla="*/ 442091 w 373"/>
                <a:gd name="T23" fmla="*/ 263096 h 370"/>
                <a:gd name="T24" fmla="*/ 435473 w 373"/>
                <a:gd name="T25" fmla="*/ 242738 h 370"/>
                <a:gd name="T26" fmla="*/ 427531 w 373"/>
                <a:gd name="T27" fmla="*/ 222379 h 370"/>
                <a:gd name="T28" fmla="*/ 416942 w 373"/>
                <a:gd name="T29" fmla="*/ 170699 h 370"/>
                <a:gd name="T30" fmla="*/ 405029 w 373"/>
                <a:gd name="T31" fmla="*/ 140944 h 370"/>
                <a:gd name="T32" fmla="*/ 393117 w 373"/>
                <a:gd name="T33" fmla="*/ 122152 h 370"/>
                <a:gd name="T34" fmla="*/ 397087 w 373"/>
                <a:gd name="T35" fmla="*/ 98661 h 370"/>
                <a:gd name="T36" fmla="*/ 398411 w 373"/>
                <a:gd name="T37" fmla="*/ 67340 h 370"/>
                <a:gd name="T38" fmla="*/ 399735 w 373"/>
                <a:gd name="T39" fmla="*/ 36019 h 370"/>
                <a:gd name="T40" fmla="*/ 410324 w 373"/>
                <a:gd name="T41" fmla="*/ 10962 h 370"/>
                <a:gd name="T42" fmla="*/ 399735 w 373"/>
                <a:gd name="T43" fmla="*/ 9396 h 370"/>
                <a:gd name="T44" fmla="*/ 367968 w 373"/>
                <a:gd name="T45" fmla="*/ 18793 h 370"/>
                <a:gd name="T46" fmla="*/ 324288 w 373"/>
                <a:gd name="T47" fmla="*/ 18793 h 370"/>
                <a:gd name="T48" fmla="*/ 272667 w 373"/>
                <a:gd name="T49" fmla="*/ 21925 h 370"/>
                <a:gd name="T50" fmla="*/ 222369 w 373"/>
                <a:gd name="T51" fmla="*/ 37585 h 370"/>
                <a:gd name="T52" fmla="*/ 191926 w 373"/>
                <a:gd name="T53" fmla="*/ 50114 h 370"/>
                <a:gd name="T54" fmla="*/ 164129 w 373"/>
                <a:gd name="T55" fmla="*/ 68906 h 370"/>
                <a:gd name="T56" fmla="*/ 162806 w 373"/>
                <a:gd name="T57" fmla="*/ 81435 h 370"/>
                <a:gd name="T58" fmla="*/ 173395 w 373"/>
                <a:gd name="T59" fmla="*/ 139378 h 370"/>
                <a:gd name="T60" fmla="*/ 177366 w 373"/>
                <a:gd name="T61" fmla="*/ 145643 h 370"/>
                <a:gd name="T62" fmla="*/ 186631 w 373"/>
                <a:gd name="T63" fmla="*/ 153473 h 370"/>
                <a:gd name="T64" fmla="*/ 187955 w 373"/>
                <a:gd name="T65" fmla="*/ 159737 h 370"/>
                <a:gd name="T66" fmla="*/ 183984 w 373"/>
                <a:gd name="T67" fmla="*/ 167567 h 370"/>
                <a:gd name="T68" fmla="*/ 169424 w 373"/>
                <a:gd name="T69" fmla="*/ 167567 h 370"/>
                <a:gd name="T70" fmla="*/ 140304 w 373"/>
                <a:gd name="T71" fmla="*/ 176963 h 370"/>
                <a:gd name="T72" fmla="*/ 125744 w 373"/>
                <a:gd name="T73" fmla="*/ 191058 h 370"/>
                <a:gd name="T74" fmla="*/ 119126 w 373"/>
                <a:gd name="T75" fmla="*/ 205152 h 370"/>
                <a:gd name="T76" fmla="*/ 108537 w 373"/>
                <a:gd name="T77" fmla="*/ 214549 h 370"/>
                <a:gd name="T78" fmla="*/ 87359 w 373"/>
                <a:gd name="T79" fmla="*/ 234907 h 370"/>
                <a:gd name="T80" fmla="*/ 67505 w 373"/>
                <a:gd name="T81" fmla="*/ 247436 h 370"/>
                <a:gd name="T82" fmla="*/ 41032 w 373"/>
                <a:gd name="T83" fmla="*/ 250568 h 370"/>
                <a:gd name="T84" fmla="*/ 26472 w 373"/>
                <a:gd name="T85" fmla="*/ 256832 h 370"/>
                <a:gd name="T86" fmla="*/ 10589 w 373"/>
                <a:gd name="T87" fmla="*/ 272492 h 370"/>
                <a:gd name="T88" fmla="*/ 0 w 373"/>
                <a:gd name="T89" fmla="*/ 313210 h 370"/>
                <a:gd name="T90" fmla="*/ 236929 w 373"/>
                <a:gd name="T91" fmla="*/ 518362 h 370"/>
                <a:gd name="T92" fmla="*/ 266049 w 373"/>
                <a:gd name="T93" fmla="*/ 551249 h 370"/>
                <a:gd name="T94" fmla="*/ 303110 w 373"/>
                <a:gd name="T95" fmla="*/ 576306 h 3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68" name="Freeform 238">
              <a:extLst>
                <a:ext uri="{FF2B5EF4-FFF2-40B4-BE49-F238E27FC236}">
                  <a16:creationId xmlns:a16="http://schemas.microsoft.com/office/drawing/2014/main" xmlns="" id="{AD5EF06F-6B1F-9B33-068A-8977368CE587}"/>
                </a:ext>
              </a:extLst>
            </p:cNvPr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4234434" y="1738680"/>
              <a:ext cx="332357" cy="319566"/>
            </a:xfrm>
            <a:custGeom>
              <a:avLst/>
              <a:gdLst>
                <a:gd name="T0" fmla="*/ 15770 w 877"/>
                <a:gd name="T1" fmla="*/ 74522 h 826"/>
                <a:gd name="T2" fmla="*/ 20151 w 877"/>
                <a:gd name="T3" fmla="*/ 57609 h 826"/>
                <a:gd name="T4" fmla="*/ 20151 w 877"/>
                <a:gd name="T5" fmla="*/ 36997 h 826"/>
                <a:gd name="T6" fmla="*/ 26721 w 877"/>
                <a:gd name="T7" fmla="*/ 33826 h 826"/>
                <a:gd name="T8" fmla="*/ 38987 w 877"/>
                <a:gd name="T9" fmla="*/ 29069 h 826"/>
                <a:gd name="T10" fmla="*/ 43368 w 877"/>
                <a:gd name="T11" fmla="*/ 10571 h 826"/>
                <a:gd name="T12" fmla="*/ 73593 w 877"/>
                <a:gd name="T13" fmla="*/ 3171 h 826"/>
                <a:gd name="T14" fmla="*/ 106010 w 877"/>
                <a:gd name="T15" fmla="*/ 12685 h 826"/>
                <a:gd name="T16" fmla="*/ 119589 w 877"/>
                <a:gd name="T17" fmla="*/ 22727 h 826"/>
                <a:gd name="T18" fmla="*/ 124846 w 877"/>
                <a:gd name="T19" fmla="*/ 41225 h 826"/>
                <a:gd name="T20" fmla="*/ 129226 w 877"/>
                <a:gd name="T21" fmla="*/ 53381 h 826"/>
                <a:gd name="T22" fmla="*/ 142368 w 877"/>
                <a:gd name="T23" fmla="*/ 58138 h 826"/>
                <a:gd name="T24" fmla="*/ 159014 w 877"/>
                <a:gd name="T25" fmla="*/ 57609 h 826"/>
                <a:gd name="T26" fmla="*/ 184422 w 877"/>
                <a:gd name="T27" fmla="*/ 70294 h 826"/>
                <a:gd name="T28" fmla="*/ 209391 w 877"/>
                <a:gd name="T29" fmla="*/ 85621 h 826"/>
                <a:gd name="T30" fmla="*/ 224723 w 877"/>
                <a:gd name="T31" fmla="*/ 87735 h 826"/>
                <a:gd name="T32" fmla="*/ 235674 w 877"/>
                <a:gd name="T33" fmla="*/ 83507 h 826"/>
                <a:gd name="T34" fmla="*/ 240493 w 877"/>
                <a:gd name="T35" fmla="*/ 66594 h 826"/>
                <a:gd name="T36" fmla="*/ 238302 w 877"/>
                <a:gd name="T37" fmla="*/ 54438 h 826"/>
                <a:gd name="T38" fmla="*/ 232608 w 877"/>
                <a:gd name="T39" fmla="*/ 42811 h 826"/>
                <a:gd name="T40" fmla="*/ 236112 w 877"/>
                <a:gd name="T41" fmla="*/ 25898 h 826"/>
                <a:gd name="T42" fmla="*/ 251444 w 877"/>
                <a:gd name="T43" fmla="*/ 17970 h 826"/>
                <a:gd name="T44" fmla="*/ 270280 w 877"/>
                <a:gd name="T45" fmla="*/ 2114 h 826"/>
                <a:gd name="T46" fmla="*/ 284736 w 877"/>
                <a:gd name="T47" fmla="*/ 0 h 826"/>
                <a:gd name="T48" fmla="*/ 298316 w 877"/>
                <a:gd name="T49" fmla="*/ 3171 h 826"/>
                <a:gd name="T50" fmla="*/ 304449 w 877"/>
                <a:gd name="T51" fmla="*/ 12685 h 826"/>
                <a:gd name="T52" fmla="*/ 309267 w 877"/>
                <a:gd name="T53" fmla="*/ 26426 h 826"/>
                <a:gd name="T54" fmla="*/ 318905 w 877"/>
                <a:gd name="T55" fmla="*/ 33297 h 826"/>
                <a:gd name="T56" fmla="*/ 349569 w 877"/>
                <a:gd name="T57" fmla="*/ 37525 h 826"/>
                <a:gd name="T58" fmla="*/ 363586 w 877"/>
                <a:gd name="T59" fmla="*/ 51267 h 826"/>
                <a:gd name="T60" fmla="*/ 365339 w 877"/>
                <a:gd name="T61" fmla="*/ 61837 h 826"/>
                <a:gd name="T62" fmla="*/ 369281 w 877"/>
                <a:gd name="T63" fmla="*/ 73994 h 826"/>
                <a:gd name="T64" fmla="*/ 366215 w 877"/>
                <a:gd name="T65" fmla="*/ 84036 h 826"/>
                <a:gd name="T66" fmla="*/ 360958 w 877"/>
                <a:gd name="T67" fmla="*/ 89849 h 826"/>
                <a:gd name="T68" fmla="*/ 363148 w 877"/>
                <a:gd name="T69" fmla="*/ 109405 h 826"/>
                <a:gd name="T70" fmla="*/ 375852 w 877"/>
                <a:gd name="T71" fmla="*/ 129489 h 826"/>
                <a:gd name="T72" fmla="*/ 383737 w 877"/>
                <a:gd name="T73" fmla="*/ 363097 h 826"/>
                <a:gd name="T74" fmla="*/ 384175 w 877"/>
                <a:gd name="T75" fmla="*/ 391637 h 826"/>
                <a:gd name="T76" fmla="*/ 381109 w 877"/>
                <a:gd name="T77" fmla="*/ 409607 h 826"/>
                <a:gd name="T78" fmla="*/ 371471 w 877"/>
                <a:gd name="T79" fmla="*/ 413835 h 826"/>
                <a:gd name="T80" fmla="*/ 363586 w 877"/>
                <a:gd name="T81" fmla="*/ 424934 h 826"/>
                <a:gd name="T82" fmla="*/ 160328 w 877"/>
                <a:gd name="T83" fmla="*/ 313416 h 826"/>
                <a:gd name="T84" fmla="*/ 144996 w 877"/>
                <a:gd name="T85" fmla="*/ 320815 h 826"/>
                <a:gd name="T86" fmla="*/ 127912 w 877"/>
                <a:gd name="T87" fmla="*/ 330857 h 826"/>
                <a:gd name="T88" fmla="*/ 115209 w 877"/>
                <a:gd name="T89" fmla="*/ 331385 h 826"/>
                <a:gd name="T90" fmla="*/ 100753 w 877"/>
                <a:gd name="T91" fmla="*/ 321872 h 826"/>
                <a:gd name="T92" fmla="*/ 84545 w 877"/>
                <a:gd name="T93" fmla="*/ 309716 h 826"/>
                <a:gd name="T94" fmla="*/ 66584 w 877"/>
                <a:gd name="T95" fmla="*/ 305488 h 826"/>
                <a:gd name="T96" fmla="*/ 60452 w 877"/>
                <a:gd name="T97" fmla="*/ 304959 h 826"/>
                <a:gd name="T98" fmla="*/ 56947 w 877"/>
                <a:gd name="T99" fmla="*/ 292275 h 826"/>
                <a:gd name="T100" fmla="*/ 47748 w 877"/>
                <a:gd name="T101" fmla="*/ 282761 h 826"/>
                <a:gd name="T102" fmla="*/ 27598 w 877"/>
                <a:gd name="T103" fmla="*/ 273248 h 826"/>
                <a:gd name="T104" fmla="*/ 12266 w 877"/>
                <a:gd name="T105" fmla="*/ 263734 h 826"/>
                <a:gd name="T106" fmla="*/ 7009 w 877"/>
                <a:gd name="T107" fmla="*/ 254749 h 826"/>
                <a:gd name="T108" fmla="*/ 6133 w 877"/>
                <a:gd name="T109" fmla="*/ 232023 h 826"/>
                <a:gd name="T110" fmla="*/ 8323 w 877"/>
                <a:gd name="T111" fmla="*/ 186041 h 826"/>
                <a:gd name="T112" fmla="*/ 7447 w 877"/>
                <a:gd name="T113" fmla="*/ 136360 h 826"/>
                <a:gd name="T114" fmla="*/ 1752 w 877"/>
                <a:gd name="T115" fmla="*/ 106762 h 8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69" name="Freeform 239">
              <a:extLst>
                <a:ext uri="{FF2B5EF4-FFF2-40B4-BE49-F238E27FC236}">
                  <a16:creationId xmlns:a16="http://schemas.microsoft.com/office/drawing/2014/main" xmlns="" id="{E03A9474-D368-79E6-5FE0-D874EBD49BF6}"/>
                </a:ext>
              </a:extLst>
            </p:cNvPr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4193233" y="1639904"/>
              <a:ext cx="81030" cy="173147"/>
            </a:xfrm>
            <a:custGeom>
              <a:avLst/>
              <a:gdLst>
                <a:gd name="T0" fmla="*/ 46832 w 206"/>
                <a:gd name="T1" fmla="*/ 229260 h 455"/>
                <a:gd name="T2" fmla="*/ 56834 w 206"/>
                <a:gd name="T3" fmla="*/ 218343 h 455"/>
                <a:gd name="T4" fmla="*/ 63654 w 206"/>
                <a:gd name="T5" fmla="*/ 210025 h 455"/>
                <a:gd name="T6" fmla="*/ 66837 w 206"/>
                <a:gd name="T7" fmla="*/ 202747 h 455"/>
                <a:gd name="T8" fmla="*/ 69111 w 206"/>
                <a:gd name="T9" fmla="*/ 193909 h 455"/>
                <a:gd name="T10" fmla="*/ 70020 w 206"/>
                <a:gd name="T11" fmla="*/ 182992 h 455"/>
                <a:gd name="T12" fmla="*/ 69565 w 206"/>
                <a:gd name="T13" fmla="*/ 174154 h 455"/>
                <a:gd name="T14" fmla="*/ 70929 w 206"/>
                <a:gd name="T15" fmla="*/ 172075 h 455"/>
                <a:gd name="T16" fmla="*/ 76385 w 206"/>
                <a:gd name="T17" fmla="*/ 171035 h 455"/>
                <a:gd name="T18" fmla="*/ 84115 w 206"/>
                <a:gd name="T19" fmla="*/ 168956 h 455"/>
                <a:gd name="T20" fmla="*/ 89116 w 206"/>
                <a:gd name="T21" fmla="*/ 165317 h 455"/>
                <a:gd name="T22" fmla="*/ 92299 w 206"/>
                <a:gd name="T23" fmla="*/ 158039 h 455"/>
                <a:gd name="T24" fmla="*/ 93663 w 206"/>
                <a:gd name="T25" fmla="*/ 145562 h 455"/>
                <a:gd name="T26" fmla="*/ 91844 w 206"/>
                <a:gd name="T27" fmla="*/ 137764 h 455"/>
                <a:gd name="T28" fmla="*/ 87752 w 206"/>
                <a:gd name="T29" fmla="*/ 137244 h 455"/>
                <a:gd name="T30" fmla="*/ 80477 w 206"/>
                <a:gd name="T31" fmla="*/ 133085 h 455"/>
                <a:gd name="T32" fmla="*/ 70475 w 206"/>
                <a:gd name="T33" fmla="*/ 125807 h 455"/>
                <a:gd name="T34" fmla="*/ 63654 w 206"/>
                <a:gd name="T35" fmla="*/ 120089 h 455"/>
                <a:gd name="T36" fmla="*/ 59108 w 206"/>
                <a:gd name="T37" fmla="*/ 118529 h 455"/>
                <a:gd name="T38" fmla="*/ 54106 w 206"/>
                <a:gd name="T39" fmla="*/ 115410 h 455"/>
                <a:gd name="T40" fmla="*/ 45922 w 206"/>
                <a:gd name="T41" fmla="*/ 110211 h 455"/>
                <a:gd name="T42" fmla="*/ 43194 w 206"/>
                <a:gd name="T43" fmla="*/ 107092 h 455"/>
                <a:gd name="T44" fmla="*/ 43194 w 206"/>
                <a:gd name="T45" fmla="*/ 103453 h 455"/>
                <a:gd name="T46" fmla="*/ 47286 w 206"/>
                <a:gd name="T47" fmla="*/ 94095 h 455"/>
                <a:gd name="T48" fmla="*/ 54106 w 206"/>
                <a:gd name="T49" fmla="*/ 82138 h 455"/>
                <a:gd name="T50" fmla="*/ 60926 w 206"/>
                <a:gd name="T51" fmla="*/ 72781 h 455"/>
                <a:gd name="T52" fmla="*/ 61836 w 206"/>
                <a:gd name="T53" fmla="*/ 67062 h 455"/>
                <a:gd name="T54" fmla="*/ 57289 w 206"/>
                <a:gd name="T55" fmla="*/ 60304 h 455"/>
                <a:gd name="T56" fmla="*/ 52288 w 206"/>
                <a:gd name="T57" fmla="*/ 54586 h 455"/>
                <a:gd name="T58" fmla="*/ 49105 w 206"/>
                <a:gd name="T59" fmla="*/ 48347 h 455"/>
                <a:gd name="T60" fmla="*/ 48650 w 206"/>
                <a:gd name="T61" fmla="*/ 43669 h 455"/>
                <a:gd name="T62" fmla="*/ 50469 w 206"/>
                <a:gd name="T63" fmla="*/ 40549 h 455"/>
                <a:gd name="T64" fmla="*/ 52742 w 206"/>
                <a:gd name="T65" fmla="*/ 37430 h 455"/>
                <a:gd name="T66" fmla="*/ 55925 w 206"/>
                <a:gd name="T67" fmla="*/ 35871 h 455"/>
                <a:gd name="T68" fmla="*/ 57289 w 206"/>
                <a:gd name="T69" fmla="*/ 19235 h 455"/>
                <a:gd name="T70" fmla="*/ 50014 w 206"/>
                <a:gd name="T71" fmla="*/ 16636 h 455"/>
                <a:gd name="T72" fmla="*/ 39557 w 206"/>
                <a:gd name="T73" fmla="*/ 10917 h 455"/>
                <a:gd name="T74" fmla="*/ 24098 w 206"/>
                <a:gd name="T75" fmla="*/ 0 h 455"/>
                <a:gd name="T76" fmla="*/ 21370 w 206"/>
                <a:gd name="T77" fmla="*/ 5719 h 455"/>
                <a:gd name="T78" fmla="*/ 15459 w 206"/>
                <a:gd name="T79" fmla="*/ 22874 h 455"/>
                <a:gd name="T80" fmla="*/ 12731 w 206"/>
                <a:gd name="T81" fmla="*/ 36390 h 455"/>
                <a:gd name="T82" fmla="*/ 10003 w 206"/>
                <a:gd name="T83" fmla="*/ 51467 h 455"/>
                <a:gd name="T84" fmla="*/ 9093 w 206"/>
                <a:gd name="T85" fmla="*/ 69142 h 455"/>
                <a:gd name="T86" fmla="*/ 9093 w 206"/>
                <a:gd name="T87" fmla="*/ 89417 h 455"/>
                <a:gd name="T88" fmla="*/ 5456 w 206"/>
                <a:gd name="T89" fmla="*/ 97734 h 455"/>
                <a:gd name="T90" fmla="*/ 3637 w 206"/>
                <a:gd name="T91" fmla="*/ 107092 h 455"/>
                <a:gd name="T92" fmla="*/ 0 w 206"/>
                <a:gd name="T93" fmla="*/ 122168 h 455"/>
                <a:gd name="T94" fmla="*/ 10003 w 206"/>
                <a:gd name="T95" fmla="*/ 134645 h 455"/>
                <a:gd name="T96" fmla="*/ 18642 w 206"/>
                <a:gd name="T97" fmla="*/ 146082 h 455"/>
                <a:gd name="T98" fmla="*/ 25007 w 206"/>
                <a:gd name="T99" fmla="*/ 158558 h 455"/>
                <a:gd name="T100" fmla="*/ 30009 w 206"/>
                <a:gd name="T101" fmla="*/ 171035 h 455"/>
                <a:gd name="T102" fmla="*/ 34101 w 206"/>
                <a:gd name="T103" fmla="*/ 184552 h 455"/>
                <a:gd name="T104" fmla="*/ 37283 w 206"/>
                <a:gd name="T105" fmla="*/ 199628 h 455"/>
                <a:gd name="T106" fmla="*/ 42285 w 206"/>
                <a:gd name="T107" fmla="*/ 236538 h 45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70" name="Freeform 241">
              <a:extLst>
                <a:ext uri="{FF2B5EF4-FFF2-40B4-BE49-F238E27FC236}">
                  <a16:creationId xmlns:a16="http://schemas.microsoft.com/office/drawing/2014/main" xmlns="" id="{DE0AFC50-B7B0-3C0D-6933-DE1E9EB4AF8F}"/>
                </a:ext>
              </a:extLst>
            </p:cNvPr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3631522" y="994963"/>
              <a:ext cx="164805" cy="68561"/>
            </a:xfrm>
            <a:custGeom>
              <a:avLst/>
              <a:gdLst>
                <a:gd name="T0" fmla="*/ 14522 w 446"/>
                <a:gd name="T1" fmla="*/ 32098 h 178"/>
                <a:gd name="T2" fmla="*/ 17512 w 446"/>
                <a:gd name="T3" fmla="*/ 22100 h 178"/>
                <a:gd name="T4" fmla="*/ 29045 w 446"/>
                <a:gd name="T5" fmla="*/ 19469 h 178"/>
                <a:gd name="T6" fmla="*/ 34170 w 446"/>
                <a:gd name="T7" fmla="*/ 9471 h 178"/>
                <a:gd name="T8" fmla="*/ 30753 w 446"/>
                <a:gd name="T9" fmla="*/ 7367 h 178"/>
                <a:gd name="T10" fmla="*/ 25628 w 446"/>
                <a:gd name="T11" fmla="*/ 0 h 178"/>
                <a:gd name="T12" fmla="*/ 36306 w 446"/>
                <a:gd name="T13" fmla="*/ 5262 h 178"/>
                <a:gd name="T14" fmla="*/ 46130 w 446"/>
                <a:gd name="T15" fmla="*/ 20521 h 178"/>
                <a:gd name="T16" fmla="*/ 53391 w 446"/>
                <a:gd name="T17" fmla="*/ 32624 h 178"/>
                <a:gd name="T18" fmla="*/ 59371 w 446"/>
                <a:gd name="T19" fmla="*/ 35255 h 178"/>
                <a:gd name="T20" fmla="*/ 67059 w 446"/>
                <a:gd name="T21" fmla="*/ 33150 h 178"/>
                <a:gd name="T22" fmla="*/ 77311 w 446"/>
                <a:gd name="T23" fmla="*/ 23679 h 178"/>
                <a:gd name="T24" fmla="*/ 87562 w 446"/>
                <a:gd name="T25" fmla="*/ 12102 h 178"/>
                <a:gd name="T26" fmla="*/ 93969 w 446"/>
                <a:gd name="T27" fmla="*/ 16312 h 178"/>
                <a:gd name="T28" fmla="*/ 153340 w 446"/>
                <a:gd name="T29" fmla="*/ 5788 h 178"/>
                <a:gd name="T30" fmla="*/ 160601 w 446"/>
                <a:gd name="T31" fmla="*/ 12102 h 178"/>
                <a:gd name="T32" fmla="*/ 169143 w 446"/>
                <a:gd name="T33" fmla="*/ 11576 h 178"/>
                <a:gd name="T34" fmla="*/ 176405 w 446"/>
                <a:gd name="T35" fmla="*/ 19469 h 178"/>
                <a:gd name="T36" fmla="*/ 177259 w 446"/>
                <a:gd name="T37" fmla="*/ 22626 h 178"/>
                <a:gd name="T38" fmla="*/ 183239 w 446"/>
                <a:gd name="T39" fmla="*/ 28414 h 178"/>
                <a:gd name="T40" fmla="*/ 189219 w 446"/>
                <a:gd name="T41" fmla="*/ 35781 h 178"/>
                <a:gd name="T42" fmla="*/ 190500 w 446"/>
                <a:gd name="T43" fmla="*/ 42095 h 178"/>
                <a:gd name="T44" fmla="*/ 187083 w 446"/>
                <a:gd name="T45" fmla="*/ 50514 h 178"/>
                <a:gd name="T46" fmla="*/ 176405 w 446"/>
                <a:gd name="T47" fmla="*/ 58407 h 178"/>
                <a:gd name="T48" fmla="*/ 169571 w 446"/>
                <a:gd name="T49" fmla="*/ 63143 h 178"/>
                <a:gd name="T50" fmla="*/ 156330 w 446"/>
                <a:gd name="T51" fmla="*/ 64721 h 178"/>
                <a:gd name="T52" fmla="*/ 128139 w 446"/>
                <a:gd name="T53" fmla="*/ 76824 h 178"/>
                <a:gd name="T54" fmla="*/ 99948 w 446"/>
                <a:gd name="T55" fmla="*/ 89979 h 178"/>
                <a:gd name="T56" fmla="*/ 84999 w 446"/>
                <a:gd name="T57" fmla="*/ 93662 h 178"/>
                <a:gd name="T58" fmla="*/ 75602 w 446"/>
                <a:gd name="T59" fmla="*/ 91557 h 178"/>
                <a:gd name="T60" fmla="*/ 73466 w 446"/>
                <a:gd name="T61" fmla="*/ 86295 h 178"/>
                <a:gd name="T62" fmla="*/ 72612 w 446"/>
                <a:gd name="T63" fmla="*/ 84717 h 178"/>
                <a:gd name="T64" fmla="*/ 66632 w 446"/>
                <a:gd name="T65" fmla="*/ 84717 h 178"/>
                <a:gd name="T66" fmla="*/ 59371 w 446"/>
                <a:gd name="T67" fmla="*/ 84191 h 178"/>
                <a:gd name="T68" fmla="*/ 42713 w 446"/>
                <a:gd name="T69" fmla="*/ 77350 h 178"/>
                <a:gd name="T70" fmla="*/ 36306 w 446"/>
                <a:gd name="T71" fmla="*/ 72088 h 178"/>
                <a:gd name="T72" fmla="*/ 34598 w 446"/>
                <a:gd name="T73" fmla="*/ 65774 h 178"/>
                <a:gd name="T74" fmla="*/ 37160 w 446"/>
                <a:gd name="T75" fmla="*/ 58407 h 178"/>
                <a:gd name="T76" fmla="*/ 11533 w 446"/>
                <a:gd name="T77" fmla="*/ 54198 h 178"/>
                <a:gd name="T78" fmla="*/ 3844 w 446"/>
                <a:gd name="T79" fmla="*/ 55250 h 178"/>
                <a:gd name="T80" fmla="*/ 0 w 446"/>
                <a:gd name="T81" fmla="*/ 42095 h 178"/>
                <a:gd name="T82" fmla="*/ 25628 w 446"/>
                <a:gd name="T83" fmla="*/ 45252 h 178"/>
                <a:gd name="T84" fmla="*/ 37160 w 446"/>
                <a:gd name="T85" fmla="*/ 42095 h 178"/>
                <a:gd name="T86" fmla="*/ 9824 w 446"/>
                <a:gd name="T87" fmla="*/ 35781 h 178"/>
                <a:gd name="T88" fmla="*/ 6834 w 446"/>
                <a:gd name="T89" fmla="*/ 28941 h 17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71" name="Freeform 242">
              <a:extLst>
                <a:ext uri="{FF2B5EF4-FFF2-40B4-BE49-F238E27FC236}">
                  <a16:creationId xmlns:a16="http://schemas.microsoft.com/office/drawing/2014/main" xmlns="" id="{B76F37A7-98C6-7EDC-7278-02D65B4B3E4D}"/>
                </a:ext>
              </a:extLst>
            </p:cNvPr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4316836" y="1187864"/>
              <a:ext cx="12361" cy="41835"/>
            </a:xfrm>
            <a:custGeom>
              <a:avLst/>
              <a:gdLst>
                <a:gd name="T0" fmla="*/ 0 w 28"/>
                <a:gd name="T1" fmla="*/ 57150 h 73"/>
                <a:gd name="T2" fmla="*/ 1021 w 28"/>
                <a:gd name="T3" fmla="*/ 36795 h 73"/>
                <a:gd name="T4" fmla="*/ 3062 w 28"/>
                <a:gd name="T5" fmla="*/ 21921 h 73"/>
                <a:gd name="T6" fmla="*/ 3572 w 28"/>
                <a:gd name="T7" fmla="*/ 15658 h 73"/>
                <a:gd name="T8" fmla="*/ 3062 w 28"/>
                <a:gd name="T9" fmla="*/ 10177 h 73"/>
                <a:gd name="T10" fmla="*/ 2041 w 28"/>
                <a:gd name="T11" fmla="*/ 5480 h 73"/>
                <a:gd name="T12" fmla="*/ 0 w 28"/>
                <a:gd name="T13" fmla="*/ 0 h 73"/>
                <a:gd name="T14" fmla="*/ 14288 w 28"/>
                <a:gd name="T15" fmla="*/ 0 h 73"/>
                <a:gd name="T16" fmla="*/ 11226 w 28"/>
                <a:gd name="T17" fmla="*/ 12526 h 73"/>
                <a:gd name="T18" fmla="*/ 8675 w 28"/>
                <a:gd name="T19" fmla="*/ 23486 h 73"/>
                <a:gd name="T20" fmla="*/ 6123 w 28"/>
                <a:gd name="T21" fmla="*/ 33664 h 73"/>
                <a:gd name="T22" fmla="*/ 3572 w 28"/>
                <a:gd name="T23" fmla="*/ 43058 h 73"/>
                <a:gd name="T24" fmla="*/ 0 w 28"/>
                <a:gd name="T25" fmla="*/ 57150 h 7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72" name="Freeform 243">
              <a:extLst>
                <a:ext uri="{FF2B5EF4-FFF2-40B4-BE49-F238E27FC236}">
                  <a16:creationId xmlns:a16="http://schemas.microsoft.com/office/drawing/2014/main" xmlns="" id="{46D14561-D991-7F6E-130C-E9C35C900849}"/>
                </a:ext>
              </a:extLst>
            </p:cNvPr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4219326" y="941509"/>
              <a:ext cx="203259" cy="289352"/>
            </a:xfrm>
            <a:custGeom>
              <a:avLst/>
              <a:gdLst>
                <a:gd name="T0" fmla="*/ 185394 w 531"/>
                <a:gd name="T1" fmla="*/ 106002 h 757"/>
                <a:gd name="T2" fmla="*/ 179642 w 531"/>
                <a:gd name="T3" fmla="*/ 115401 h 757"/>
                <a:gd name="T4" fmla="*/ 178757 w 531"/>
                <a:gd name="T5" fmla="*/ 123756 h 757"/>
                <a:gd name="T6" fmla="*/ 169022 w 531"/>
                <a:gd name="T7" fmla="*/ 143598 h 757"/>
                <a:gd name="T8" fmla="*/ 143802 w 531"/>
                <a:gd name="T9" fmla="*/ 159786 h 757"/>
                <a:gd name="T10" fmla="*/ 111502 w 531"/>
                <a:gd name="T11" fmla="*/ 184850 h 757"/>
                <a:gd name="T12" fmla="*/ 104865 w 531"/>
                <a:gd name="T13" fmla="*/ 192683 h 757"/>
                <a:gd name="T14" fmla="*/ 108404 w 531"/>
                <a:gd name="T15" fmla="*/ 198949 h 757"/>
                <a:gd name="T16" fmla="*/ 106192 w 531"/>
                <a:gd name="T17" fmla="*/ 221402 h 757"/>
                <a:gd name="T18" fmla="*/ 105750 w 531"/>
                <a:gd name="T19" fmla="*/ 234457 h 757"/>
                <a:gd name="T20" fmla="*/ 115926 w 531"/>
                <a:gd name="T21" fmla="*/ 244378 h 757"/>
                <a:gd name="T22" fmla="*/ 141589 w 531"/>
                <a:gd name="T23" fmla="*/ 253255 h 757"/>
                <a:gd name="T24" fmla="*/ 146899 w 531"/>
                <a:gd name="T25" fmla="*/ 263699 h 757"/>
                <a:gd name="T26" fmla="*/ 137165 w 531"/>
                <a:gd name="T27" fmla="*/ 277275 h 757"/>
                <a:gd name="T28" fmla="*/ 120351 w 531"/>
                <a:gd name="T29" fmla="*/ 285630 h 757"/>
                <a:gd name="T30" fmla="*/ 117254 w 531"/>
                <a:gd name="T31" fmla="*/ 292418 h 757"/>
                <a:gd name="T32" fmla="*/ 111502 w 531"/>
                <a:gd name="T33" fmla="*/ 329493 h 757"/>
                <a:gd name="T34" fmla="*/ 105750 w 531"/>
                <a:gd name="T35" fmla="*/ 376489 h 757"/>
                <a:gd name="T36" fmla="*/ 76547 w 531"/>
                <a:gd name="T37" fmla="*/ 379622 h 757"/>
                <a:gd name="T38" fmla="*/ 67255 w 531"/>
                <a:gd name="T39" fmla="*/ 385366 h 757"/>
                <a:gd name="T40" fmla="*/ 67697 w 531"/>
                <a:gd name="T41" fmla="*/ 395287 h 757"/>
                <a:gd name="T42" fmla="*/ 46902 w 531"/>
                <a:gd name="T43" fmla="*/ 395287 h 757"/>
                <a:gd name="T44" fmla="*/ 42034 w 531"/>
                <a:gd name="T45" fmla="*/ 392676 h 757"/>
                <a:gd name="T46" fmla="*/ 31415 w 531"/>
                <a:gd name="T47" fmla="*/ 374922 h 757"/>
                <a:gd name="T48" fmla="*/ 18141 w 531"/>
                <a:gd name="T49" fmla="*/ 334192 h 757"/>
                <a:gd name="T50" fmla="*/ 15044 w 531"/>
                <a:gd name="T51" fmla="*/ 311739 h 757"/>
                <a:gd name="T52" fmla="*/ 6195 w 531"/>
                <a:gd name="T53" fmla="*/ 305995 h 757"/>
                <a:gd name="T54" fmla="*/ 8407 w 531"/>
                <a:gd name="T55" fmla="*/ 292941 h 757"/>
                <a:gd name="T56" fmla="*/ 15929 w 531"/>
                <a:gd name="T57" fmla="*/ 280931 h 757"/>
                <a:gd name="T58" fmla="*/ 23451 w 531"/>
                <a:gd name="T59" fmla="*/ 263177 h 757"/>
                <a:gd name="T60" fmla="*/ 26990 w 531"/>
                <a:gd name="T61" fmla="*/ 245945 h 757"/>
                <a:gd name="T62" fmla="*/ 28318 w 531"/>
                <a:gd name="T63" fmla="*/ 230279 h 757"/>
                <a:gd name="T64" fmla="*/ 25663 w 531"/>
                <a:gd name="T65" fmla="*/ 213048 h 757"/>
                <a:gd name="T66" fmla="*/ 19026 w 531"/>
                <a:gd name="T67" fmla="*/ 196860 h 757"/>
                <a:gd name="T68" fmla="*/ 32743 w 531"/>
                <a:gd name="T69" fmla="*/ 144120 h 757"/>
                <a:gd name="T70" fmla="*/ 45574 w 531"/>
                <a:gd name="T71" fmla="*/ 143598 h 757"/>
                <a:gd name="T72" fmla="*/ 49999 w 531"/>
                <a:gd name="T73" fmla="*/ 122189 h 757"/>
                <a:gd name="T74" fmla="*/ 60618 w 531"/>
                <a:gd name="T75" fmla="*/ 100258 h 757"/>
                <a:gd name="T76" fmla="*/ 79644 w 531"/>
                <a:gd name="T77" fmla="*/ 75715 h 757"/>
                <a:gd name="T78" fmla="*/ 87608 w 531"/>
                <a:gd name="T79" fmla="*/ 57962 h 757"/>
                <a:gd name="T80" fmla="*/ 100882 w 531"/>
                <a:gd name="T81" fmla="*/ 31331 h 757"/>
                <a:gd name="T82" fmla="*/ 110174 w 531"/>
                <a:gd name="T83" fmla="*/ 22454 h 757"/>
                <a:gd name="T84" fmla="*/ 136722 w 531"/>
                <a:gd name="T85" fmla="*/ 15143 h 757"/>
                <a:gd name="T86" fmla="*/ 162828 w 531"/>
                <a:gd name="T87" fmla="*/ 6788 h 757"/>
                <a:gd name="T88" fmla="*/ 177429 w 531"/>
                <a:gd name="T89" fmla="*/ 2611 h 757"/>
                <a:gd name="T90" fmla="*/ 190703 w 531"/>
                <a:gd name="T91" fmla="*/ 16710 h 757"/>
                <a:gd name="T92" fmla="*/ 202207 w 531"/>
                <a:gd name="T93" fmla="*/ 21931 h 757"/>
                <a:gd name="T94" fmla="*/ 226986 w 531"/>
                <a:gd name="T95" fmla="*/ 57962 h 757"/>
                <a:gd name="T96" fmla="*/ 233623 w 531"/>
                <a:gd name="T97" fmla="*/ 78326 h 75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73" name="Freeform 244">
              <a:extLst>
                <a:ext uri="{FF2B5EF4-FFF2-40B4-BE49-F238E27FC236}">
                  <a16:creationId xmlns:a16="http://schemas.microsoft.com/office/drawing/2014/main" xmlns="" id="{111C523D-C25E-1E59-D06A-52AB0AE13994}"/>
                </a:ext>
              </a:extLst>
            </p:cNvPr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4338810" y="1171596"/>
              <a:ext cx="23348" cy="41835"/>
            </a:xfrm>
            <a:custGeom>
              <a:avLst/>
              <a:gdLst>
                <a:gd name="T0" fmla="*/ 0 w 60"/>
                <a:gd name="T1" fmla="*/ 41462 h 51"/>
                <a:gd name="T2" fmla="*/ 2699 w 60"/>
                <a:gd name="T3" fmla="*/ 33618 h 51"/>
                <a:gd name="T4" fmla="*/ 6747 w 60"/>
                <a:gd name="T5" fmla="*/ 21291 h 51"/>
                <a:gd name="T6" fmla="*/ 8996 w 60"/>
                <a:gd name="T7" fmla="*/ 14568 h 51"/>
                <a:gd name="T8" fmla="*/ 12145 w 60"/>
                <a:gd name="T9" fmla="*/ 8965 h 51"/>
                <a:gd name="T10" fmla="*/ 14843 w 60"/>
                <a:gd name="T11" fmla="*/ 4482 h 51"/>
                <a:gd name="T12" fmla="*/ 17992 w 60"/>
                <a:gd name="T13" fmla="*/ 0 h 51"/>
                <a:gd name="T14" fmla="*/ 22490 w 60"/>
                <a:gd name="T15" fmla="*/ 7844 h 51"/>
                <a:gd name="T16" fmla="*/ 26988 w 60"/>
                <a:gd name="T17" fmla="*/ 14568 h 51"/>
                <a:gd name="T18" fmla="*/ 26538 w 60"/>
                <a:gd name="T19" fmla="*/ 22412 h 51"/>
                <a:gd name="T20" fmla="*/ 25189 w 60"/>
                <a:gd name="T21" fmla="*/ 32497 h 51"/>
                <a:gd name="T22" fmla="*/ 24289 w 60"/>
                <a:gd name="T23" fmla="*/ 38100 h 51"/>
                <a:gd name="T24" fmla="*/ 23390 w 60"/>
                <a:gd name="T25" fmla="*/ 42582 h 51"/>
                <a:gd name="T26" fmla="*/ 22040 w 60"/>
                <a:gd name="T27" fmla="*/ 47065 h 51"/>
                <a:gd name="T28" fmla="*/ 20241 w 60"/>
                <a:gd name="T29" fmla="*/ 50426 h 51"/>
                <a:gd name="T30" fmla="*/ 18442 w 60"/>
                <a:gd name="T31" fmla="*/ 53788 h 51"/>
                <a:gd name="T32" fmla="*/ 16643 w 60"/>
                <a:gd name="T33" fmla="*/ 56029 h 51"/>
                <a:gd name="T34" fmla="*/ 13944 w 60"/>
                <a:gd name="T35" fmla="*/ 57150 h 51"/>
                <a:gd name="T36" fmla="*/ 12145 w 60"/>
                <a:gd name="T37" fmla="*/ 57150 h 51"/>
                <a:gd name="T38" fmla="*/ 8996 w 60"/>
                <a:gd name="T39" fmla="*/ 56029 h 51"/>
                <a:gd name="T40" fmla="*/ 6747 w 60"/>
                <a:gd name="T41" fmla="*/ 52668 h 51"/>
                <a:gd name="T42" fmla="*/ 3149 w 60"/>
                <a:gd name="T43" fmla="*/ 48185 h 51"/>
                <a:gd name="T44" fmla="*/ 0 w 60"/>
                <a:gd name="T45" fmla="*/ 41462 h 5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74" name="Freeform 245">
              <a:extLst>
                <a:ext uri="{FF2B5EF4-FFF2-40B4-BE49-F238E27FC236}">
                  <a16:creationId xmlns:a16="http://schemas.microsoft.com/office/drawing/2014/main" xmlns="" id="{63A2440B-CC31-1134-E670-5BEEE54EC734}"/>
                </a:ext>
              </a:extLst>
            </p:cNvPr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3858129" y="1290125"/>
              <a:ext cx="24721" cy="41835"/>
            </a:xfrm>
            <a:custGeom>
              <a:avLst/>
              <a:gdLst>
                <a:gd name="T0" fmla="*/ 25544 w 66"/>
                <a:gd name="T1" fmla="*/ 53788 h 51"/>
                <a:gd name="T2" fmla="*/ 18184 w 66"/>
                <a:gd name="T3" fmla="*/ 56029 h 51"/>
                <a:gd name="T4" fmla="*/ 9525 w 66"/>
                <a:gd name="T5" fmla="*/ 57150 h 51"/>
                <a:gd name="T6" fmla="*/ 7360 w 66"/>
                <a:gd name="T7" fmla="*/ 56029 h 51"/>
                <a:gd name="T8" fmla="*/ 5628 w 66"/>
                <a:gd name="T9" fmla="*/ 54909 h 51"/>
                <a:gd name="T10" fmla="*/ 4330 w 66"/>
                <a:gd name="T11" fmla="*/ 53788 h 51"/>
                <a:gd name="T12" fmla="*/ 3031 w 66"/>
                <a:gd name="T13" fmla="*/ 51547 h 51"/>
                <a:gd name="T14" fmla="*/ 1299 w 66"/>
                <a:gd name="T15" fmla="*/ 48185 h 51"/>
                <a:gd name="T16" fmla="*/ 433 w 66"/>
                <a:gd name="T17" fmla="*/ 44824 h 51"/>
                <a:gd name="T18" fmla="*/ 0 w 66"/>
                <a:gd name="T19" fmla="*/ 39221 h 51"/>
                <a:gd name="T20" fmla="*/ 0 w 66"/>
                <a:gd name="T21" fmla="*/ 33618 h 51"/>
                <a:gd name="T22" fmla="*/ 1732 w 66"/>
                <a:gd name="T23" fmla="*/ 32497 h 51"/>
                <a:gd name="T24" fmla="*/ 4330 w 66"/>
                <a:gd name="T25" fmla="*/ 30256 h 51"/>
                <a:gd name="T26" fmla="*/ 6061 w 66"/>
                <a:gd name="T27" fmla="*/ 26894 h 51"/>
                <a:gd name="T28" fmla="*/ 8226 w 66"/>
                <a:gd name="T29" fmla="*/ 22412 h 51"/>
                <a:gd name="T30" fmla="*/ 11257 w 66"/>
                <a:gd name="T31" fmla="*/ 11206 h 51"/>
                <a:gd name="T32" fmla="*/ 14288 w 66"/>
                <a:gd name="T33" fmla="*/ 0 h 51"/>
                <a:gd name="T34" fmla="*/ 19916 w 66"/>
                <a:gd name="T35" fmla="*/ 1121 h 51"/>
                <a:gd name="T36" fmla="*/ 22514 w 66"/>
                <a:gd name="T37" fmla="*/ 2241 h 51"/>
                <a:gd name="T38" fmla="*/ 24245 w 66"/>
                <a:gd name="T39" fmla="*/ 3362 h 51"/>
                <a:gd name="T40" fmla="*/ 28575 w 66"/>
                <a:gd name="T41" fmla="*/ 0 h 51"/>
                <a:gd name="T42" fmla="*/ 28142 w 66"/>
                <a:gd name="T43" fmla="*/ 14568 h 51"/>
                <a:gd name="T44" fmla="*/ 27276 w 66"/>
                <a:gd name="T45" fmla="*/ 26894 h 51"/>
                <a:gd name="T46" fmla="*/ 25977 w 66"/>
                <a:gd name="T47" fmla="*/ 40341 h 51"/>
                <a:gd name="T48" fmla="*/ 25544 w 66"/>
                <a:gd name="T49" fmla="*/ 53788 h 5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75" name="Freeform 246">
              <a:extLst>
                <a:ext uri="{FF2B5EF4-FFF2-40B4-BE49-F238E27FC236}">
                  <a16:creationId xmlns:a16="http://schemas.microsoft.com/office/drawing/2014/main" xmlns="" id="{C4418E62-C942-DA82-49EE-8FCC937D0E2C}"/>
                </a:ext>
              </a:extLst>
            </p:cNvPr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4682153" y="1677090"/>
              <a:ext cx="43948" cy="41835"/>
            </a:xfrm>
            <a:custGeom>
              <a:avLst/>
              <a:gdLst>
                <a:gd name="T0" fmla="*/ 0 w 113"/>
                <a:gd name="T1" fmla="*/ 33981 h 74"/>
                <a:gd name="T2" fmla="*/ 8991 w 113"/>
                <a:gd name="T3" fmla="*/ 57150 h 74"/>
                <a:gd name="T4" fmla="*/ 16634 w 113"/>
                <a:gd name="T5" fmla="*/ 53289 h 74"/>
                <a:gd name="T6" fmla="*/ 22927 w 113"/>
                <a:gd name="T7" fmla="*/ 50199 h 74"/>
                <a:gd name="T8" fmla="*/ 28772 w 113"/>
                <a:gd name="T9" fmla="*/ 45566 h 74"/>
                <a:gd name="T10" fmla="*/ 33267 w 113"/>
                <a:gd name="T11" fmla="*/ 40932 h 74"/>
                <a:gd name="T12" fmla="*/ 35065 w 113"/>
                <a:gd name="T13" fmla="*/ 37843 h 74"/>
                <a:gd name="T14" fmla="*/ 37313 w 113"/>
                <a:gd name="T15" fmla="*/ 34753 h 74"/>
                <a:gd name="T16" fmla="*/ 38662 w 113"/>
                <a:gd name="T17" fmla="*/ 31664 h 74"/>
                <a:gd name="T18" fmla="*/ 39561 w 113"/>
                <a:gd name="T19" fmla="*/ 28575 h 74"/>
                <a:gd name="T20" fmla="*/ 40460 w 113"/>
                <a:gd name="T21" fmla="*/ 24714 h 74"/>
                <a:gd name="T22" fmla="*/ 40910 w 113"/>
                <a:gd name="T23" fmla="*/ 20080 h 74"/>
                <a:gd name="T24" fmla="*/ 41809 w 113"/>
                <a:gd name="T25" fmla="*/ 14674 h 74"/>
                <a:gd name="T26" fmla="*/ 42258 w 113"/>
                <a:gd name="T27" fmla="*/ 10040 h 74"/>
                <a:gd name="T28" fmla="*/ 44506 w 113"/>
                <a:gd name="T29" fmla="*/ 9268 h 74"/>
                <a:gd name="T30" fmla="*/ 47653 w 113"/>
                <a:gd name="T31" fmla="*/ 6951 h 74"/>
                <a:gd name="T32" fmla="*/ 48552 w 113"/>
                <a:gd name="T33" fmla="*/ 5406 h 74"/>
                <a:gd name="T34" fmla="*/ 49901 w 113"/>
                <a:gd name="T35" fmla="*/ 3861 h 74"/>
                <a:gd name="T36" fmla="*/ 50350 w 113"/>
                <a:gd name="T37" fmla="*/ 2317 h 74"/>
                <a:gd name="T38" fmla="*/ 50800 w 113"/>
                <a:gd name="T39" fmla="*/ 0 h 74"/>
                <a:gd name="T40" fmla="*/ 44057 w 113"/>
                <a:gd name="T41" fmla="*/ 3089 h 74"/>
                <a:gd name="T42" fmla="*/ 36864 w 113"/>
                <a:gd name="T43" fmla="*/ 6178 h 74"/>
                <a:gd name="T44" fmla="*/ 29221 w 113"/>
                <a:gd name="T45" fmla="*/ 10040 h 74"/>
                <a:gd name="T46" fmla="*/ 22028 w 113"/>
                <a:gd name="T47" fmla="*/ 14674 h 74"/>
                <a:gd name="T48" fmla="*/ 8991 w 113"/>
                <a:gd name="T49" fmla="*/ 25486 h 74"/>
                <a:gd name="T50" fmla="*/ 0 w 113"/>
                <a:gd name="T51" fmla="*/ 33981 h 7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chemeClr val="accent6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76" name="Freeform 247">
              <a:extLst>
                <a:ext uri="{FF2B5EF4-FFF2-40B4-BE49-F238E27FC236}">
                  <a16:creationId xmlns:a16="http://schemas.microsoft.com/office/drawing/2014/main" xmlns="" id="{350D2A5E-9FC7-5D87-ECED-20E18C7C7F73}"/>
                </a:ext>
              </a:extLst>
            </p:cNvPr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4342931" y="2256957"/>
              <a:ext cx="281541" cy="178957"/>
            </a:xfrm>
            <a:custGeom>
              <a:avLst/>
              <a:gdLst>
                <a:gd name="T0" fmla="*/ 42752 w 746"/>
                <a:gd name="T1" fmla="*/ 235613 h 469"/>
                <a:gd name="T2" fmla="*/ 23557 w 746"/>
                <a:gd name="T3" fmla="*/ 229358 h 469"/>
                <a:gd name="T4" fmla="*/ 9161 w 746"/>
                <a:gd name="T5" fmla="*/ 223624 h 469"/>
                <a:gd name="T6" fmla="*/ 2181 w 746"/>
                <a:gd name="T7" fmla="*/ 215284 h 469"/>
                <a:gd name="T8" fmla="*/ 0 w 746"/>
                <a:gd name="T9" fmla="*/ 189221 h 469"/>
                <a:gd name="T10" fmla="*/ 2181 w 746"/>
                <a:gd name="T11" fmla="*/ 161072 h 469"/>
                <a:gd name="T12" fmla="*/ 10034 w 746"/>
                <a:gd name="T13" fmla="*/ 142306 h 469"/>
                <a:gd name="T14" fmla="*/ 24430 w 746"/>
                <a:gd name="T15" fmla="*/ 118849 h 469"/>
                <a:gd name="T16" fmla="*/ 52785 w 746"/>
                <a:gd name="T17" fmla="*/ 106339 h 469"/>
                <a:gd name="T18" fmla="*/ 72416 w 746"/>
                <a:gd name="T19" fmla="*/ 97999 h 469"/>
                <a:gd name="T20" fmla="*/ 102517 w 746"/>
                <a:gd name="T21" fmla="*/ 90179 h 469"/>
                <a:gd name="T22" fmla="*/ 114296 w 746"/>
                <a:gd name="T23" fmla="*/ 79754 h 469"/>
                <a:gd name="T24" fmla="*/ 116477 w 746"/>
                <a:gd name="T25" fmla="*/ 70893 h 469"/>
                <a:gd name="T26" fmla="*/ 127383 w 746"/>
                <a:gd name="T27" fmla="*/ 62552 h 469"/>
                <a:gd name="T28" fmla="*/ 144833 w 746"/>
                <a:gd name="T29" fmla="*/ 59946 h 469"/>
                <a:gd name="T30" fmla="*/ 156611 w 746"/>
                <a:gd name="T31" fmla="*/ 52648 h 469"/>
                <a:gd name="T32" fmla="*/ 169698 w 746"/>
                <a:gd name="T33" fmla="*/ 34925 h 469"/>
                <a:gd name="T34" fmla="*/ 185403 w 746"/>
                <a:gd name="T35" fmla="*/ 11468 h 469"/>
                <a:gd name="T36" fmla="*/ 196309 w 746"/>
                <a:gd name="T37" fmla="*/ 3128 h 469"/>
                <a:gd name="T38" fmla="*/ 212014 w 746"/>
                <a:gd name="T39" fmla="*/ 0 h 469"/>
                <a:gd name="T40" fmla="*/ 221175 w 746"/>
                <a:gd name="T41" fmla="*/ 15117 h 469"/>
                <a:gd name="T42" fmla="*/ 232081 w 746"/>
                <a:gd name="T43" fmla="*/ 27627 h 469"/>
                <a:gd name="T44" fmla="*/ 241242 w 746"/>
                <a:gd name="T45" fmla="*/ 55776 h 469"/>
                <a:gd name="T46" fmla="*/ 252584 w 746"/>
                <a:gd name="T47" fmla="*/ 82882 h 469"/>
                <a:gd name="T48" fmla="*/ 267417 w 746"/>
                <a:gd name="T49" fmla="*/ 89658 h 469"/>
                <a:gd name="T50" fmla="*/ 273960 w 746"/>
                <a:gd name="T51" fmla="*/ 100605 h 469"/>
                <a:gd name="T52" fmla="*/ 283558 w 746"/>
                <a:gd name="T53" fmla="*/ 121456 h 469"/>
                <a:gd name="T54" fmla="*/ 306242 w 746"/>
                <a:gd name="T55" fmla="*/ 145434 h 469"/>
                <a:gd name="T56" fmla="*/ 323256 w 746"/>
                <a:gd name="T57" fmla="*/ 164200 h 469"/>
                <a:gd name="T58" fmla="*/ 310169 w 746"/>
                <a:gd name="T59" fmla="*/ 179838 h 469"/>
                <a:gd name="T60" fmla="*/ 301444 w 746"/>
                <a:gd name="T61" fmla="*/ 178274 h 469"/>
                <a:gd name="T62" fmla="*/ 296209 w 746"/>
                <a:gd name="T63" fmla="*/ 167327 h 469"/>
                <a:gd name="T64" fmla="*/ 283994 w 746"/>
                <a:gd name="T65" fmla="*/ 172019 h 469"/>
                <a:gd name="T66" fmla="*/ 278759 w 746"/>
                <a:gd name="T67" fmla="*/ 183487 h 469"/>
                <a:gd name="T68" fmla="*/ 263491 w 746"/>
                <a:gd name="T69" fmla="*/ 185572 h 469"/>
                <a:gd name="T70" fmla="*/ 241242 w 746"/>
                <a:gd name="T71" fmla="*/ 185572 h 469"/>
                <a:gd name="T72" fmla="*/ 227719 w 746"/>
                <a:gd name="T73" fmla="*/ 190263 h 469"/>
                <a:gd name="T74" fmla="*/ 216376 w 746"/>
                <a:gd name="T75" fmla="*/ 201731 h 469"/>
                <a:gd name="T76" fmla="*/ 212014 w 746"/>
                <a:gd name="T77" fmla="*/ 205380 h 469"/>
                <a:gd name="T78" fmla="*/ 185839 w 746"/>
                <a:gd name="T79" fmla="*/ 208507 h 469"/>
                <a:gd name="T80" fmla="*/ 172752 w 746"/>
                <a:gd name="T81" fmla="*/ 204337 h 469"/>
                <a:gd name="T82" fmla="*/ 152249 w 746"/>
                <a:gd name="T83" fmla="*/ 184529 h 469"/>
                <a:gd name="T84" fmla="*/ 139161 w 746"/>
                <a:gd name="T85" fmla="*/ 179838 h 469"/>
                <a:gd name="T86" fmla="*/ 126947 w 746"/>
                <a:gd name="T87" fmla="*/ 185050 h 469"/>
                <a:gd name="T88" fmla="*/ 116041 w 746"/>
                <a:gd name="T89" fmla="*/ 196518 h 469"/>
                <a:gd name="T90" fmla="*/ 99027 w 746"/>
                <a:gd name="T91" fmla="*/ 227794 h 469"/>
                <a:gd name="T92" fmla="*/ 65436 w 746"/>
                <a:gd name="T93" fmla="*/ 228837 h 469"/>
                <a:gd name="T94" fmla="*/ 58893 w 746"/>
                <a:gd name="T95" fmla="*/ 233528 h 46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77" name="Freeform 248">
              <a:extLst>
                <a:ext uri="{FF2B5EF4-FFF2-40B4-BE49-F238E27FC236}">
                  <a16:creationId xmlns:a16="http://schemas.microsoft.com/office/drawing/2014/main" xmlns="" id="{1D129022-9743-0CC9-E21D-6CB32AB32AC0}"/>
                </a:ext>
              </a:extLst>
            </p:cNvPr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4287995" y="2380135"/>
              <a:ext cx="432613" cy="404396"/>
            </a:xfrm>
            <a:custGeom>
              <a:avLst/>
              <a:gdLst>
                <a:gd name="T0" fmla="*/ 393935 w 1145"/>
                <a:gd name="T1" fmla="*/ 29905 h 1053"/>
                <a:gd name="T2" fmla="*/ 433678 w 1145"/>
                <a:gd name="T3" fmla="*/ 34626 h 1053"/>
                <a:gd name="T4" fmla="*/ 471674 w 1145"/>
                <a:gd name="T5" fmla="*/ 42496 h 1053"/>
                <a:gd name="T6" fmla="*/ 491764 w 1145"/>
                <a:gd name="T7" fmla="*/ 91813 h 1053"/>
                <a:gd name="T8" fmla="*/ 494821 w 1145"/>
                <a:gd name="T9" fmla="*/ 110700 h 1053"/>
                <a:gd name="T10" fmla="*/ 462066 w 1145"/>
                <a:gd name="T11" fmla="*/ 142703 h 1053"/>
                <a:gd name="T12" fmla="*/ 456388 w 1145"/>
                <a:gd name="T13" fmla="*/ 188872 h 1053"/>
                <a:gd name="T14" fmla="*/ 438046 w 1145"/>
                <a:gd name="T15" fmla="*/ 230843 h 1053"/>
                <a:gd name="T16" fmla="*/ 432368 w 1145"/>
                <a:gd name="T17" fmla="*/ 249730 h 1053"/>
                <a:gd name="T18" fmla="*/ 445033 w 1145"/>
                <a:gd name="T19" fmla="*/ 302195 h 1053"/>
                <a:gd name="T20" fmla="*/ 448090 w 1145"/>
                <a:gd name="T21" fmla="*/ 348364 h 1053"/>
                <a:gd name="T22" fmla="*/ 457262 w 1145"/>
                <a:gd name="T23" fmla="*/ 383515 h 1053"/>
                <a:gd name="T24" fmla="*/ 471237 w 1145"/>
                <a:gd name="T25" fmla="*/ 401353 h 1053"/>
                <a:gd name="T26" fmla="*/ 476915 w 1145"/>
                <a:gd name="T27" fmla="*/ 432831 h 1053"/>
                <a:gd name="T28" fmla="*/ 454205 w 1145"/>
                <a:gd name="T29" fmla="*/ 442799 h 1053"/>
                <a:gd name="T30" fmla="*/ 435425 w 1145"/>
                <a:gd name="T31" fmla="*/ 449095 h 1053"/>
                <a:gd name="T32" fmla="*/ 419266 w 1145"/>
                <a:gd name="T33" fmla="*/ 520447 h 1053"/>
                <a:gd name="T34" fmla="*/ 406164 w 1145"/>
                <a:gd name="T35" fmla="*/ 538285 h 1053"/>
                <a:gd name="T36" fmla="*/ 393935 w 1145"/>
                <a:gd name="T37" fmla="*/ 540908 h 1053"/>
                <a:gd name="T38" fmla="*/ 366858 w 1145"/>
                <a:gd name="T39" fmla="*/ 552450 h 1053"/>
                <a:gd name="T40" fmla="*/ 341527 w 1145"/>
                <a:gd name="T41" fmla="*/ 544056 h 1053"/>
                <a:gd name="T42" fmla="*/ 324494 w 1145"/>
                <a:gd name="T43" fmla="*/ 531989 h 1053"/>
                <a:gd name="T44" fmla="*/ 308772 w 1145"/>
                <a:gd name="T45" fmla="*/ 523070 h 1053"/>
                <a:gd name="T46" fmla="*/ 294360 w 1145"/>
                <a:gd name="T47" fmla="*/ 517299 h 1053"/>
                <a:gd name="T48" fmla="*/ 265535 w 1145"/>
                <a:gd name="T49" fmla="*/ 517824 h 1053"/>
                <a:gd name="T50" fmla="*/ 259421 w 1145"/>
                <a:gd name="T51" fmla="*/ 494215 h 1053"/>
                <a:gd name="T52" fmla="*/ 251123 w 1145"/>
                <a:gd name="T53" fmla="*/ 463785 h 1053"/>
                <a:gd name="T54" fmla="*/ 257674 w 1145"/>
                <a:gd name="T55" fmla="*/ 443849 h 1053"/>
                <a:gd name="T56" fmla="*/ 257674 w 1145"/>
                <a:gd name="T57" fmla="*/ 408698 h 1053"/>
                <a:gd name="T58" fmla="*/ 198278 w 1145"/>
                <a:gd name="T59" fmla="*/ 396106 h 1053"/>
                <a:gd name="T60" fmla="*/ 193474 w 1145"/>
                <a:gd name="T61" fmla="*/ 411845 h 1053"/>
                <a:gd name="T62" fmla="*/ 172947 w 1145"/>
                <a:gd name="T63" fmla="*/ 428634 h 1053"/>
                <a:gd name="T64" fmla="*/ 147180 w 1145"/>
                <a:gd name="T65" fmla="*/ 418141 h 1053"/>
                <a:gd name="T66" fmla="*/ 129710 w 1145"/>
                <a:gd name="T67" fmla="*/ 371448 h 1053"/>
                <a:gd name="T68" fmla="*/ 1310 w 1145"/>
                <a:gd name="T69" fmla="*/ 352036 h 1053"/>
                <a:gd name="T70" fmla="*/ 19653 w 1145"/>
                <a:gd name="T71" fmla="*/ 349937 h 1053"/>
                <a:gd name="T72" fmla="*/ 11355 w 1145"/>
                <a:gd name="T73" fmla="*/ 331050 h 1053"/>
                <a:gd name="T74" fmla="*/ 32755 w 1145"/>
                <a:gd name="T75" fmla="*/ 322656 h 1053"/>
                <a:gd name="T76" fmla="*/ 63327 w 1145"/>
                <a:gd name="T77" fmla="*/ 322131 h 1053"/>
                <a:gd name="T78" fmla="*/ 79923 w 1145"/>
                <a:gd name="T79" fmla="*/ 325279 h 1053"/>
                <a:gd name="T80" fmla="*/ 96082 w 1145"/>
                <a:gd name="T81" fmla="*/ 301146 h 1053"/>
                <a:gd name="T82" fmla="*/ 113551 w 1145"/>
                <a:gd name="T83" fmla="*/ 291177 h 1053"/>
                <a:gd name="T84" fmla="*/ 122723 w 1145"/>
                <a:gd name="T85" fmla="*/ 230843 h 1053"/>
                <a:gd name="T86" fmla="*/ 151110 w 1145"/>
                <a:gd name="T87" fmla="*/ 194118 h 1053"/>
                <a:gd name="T88" fmla="*/ 161592 w 1145"/>
                <a:gd name="T89" fmla="*/ 144802 h 1053"/>
                <a:gd name="T90" fmla="*/ 162466 w 1145"/>
                <a:gd name="T91" fmla="*/ 94436 h 1053"/>
                <a:gd name="T92" fmla="*/ 167270 w 1145"/>
                <a:gd name="T93" fmla="*/ 64007 h 1053"/>
                <a:gd name="T94" fmla="*/ 192164 w 1145"/>
                <a:gd name="T95" fmla="*/ 18363 h 1053"/>
                <a:gd name="T96" fmla="*/ 214437 w 1145"/>
                <a:gd name="T97" fmla="*/ 15739 h 1053"/>
                <a:gd name="T98" fmla="*/ 243698 w 1145"/>
                <a:gd name="T99" fmla="*/ 40398 h 1053"/>
                <a:gd name="T100" fmla="*/ 278200 w 1145"/>
                <a:gd name="T101" fmla="*/ 38299 h 1053"/>
                <a:gd name="T102" fmla="*/ 292613 w 1145"/>
                <a:gd name="T103" fmla="*/ 23084 h 1053"/>
                <a:gd name="T104" fmla="*/ 320564 w 1145"/>
                <a:gd name="T105" fmla="*/ 17838 h 1053"/>
                <a:gd name="T106" fmla="*/ 347205 w 1145"/>
                <a:gd name="T107" fmla="*/ 8919 h 1053"/>
                <a:gd name="T108" fmla="*/ 361617 w 1145"/>
                <a:gd name="T109" fmla="*/ 4197 h 1053"/>
                <a:gd name="T110" fmla="*/ 375156 w 1145"/>
                <a:gd name="T111" fmla="*/ 12591 h 105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78" name="Freeform 249">
              <a:extLst>
                <a:ext uri="{FF2B5EF4-FFF2-40B4-BE49-F238E27FC236}">
                  <a16:creationId xmlns:a16="http://schemas.microsoft.com/office/drawing/2014/main" xmlns="" id="{DD744AF8-5FA2-3373-08E2-8BA237E73D9B}"/>
                </a:ext>
              </a:extLst>
            </p:cNvPr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4233060" y="2453344"/>
              <a:ext cx="48068" cy="40672"/>
            </a:xfrm>
            <a:custGeom>
              <a:avLst/>
              <a:gdLst>
                <a:gd name="T0" fmla="*/ 53340 w 125"/>
                <a:gd name="T1" fmla="*/ 0 h 81"/>
                <a:gd name="T2" fmla="*/ 53784 w 125"/>
                <a:gd name="T3" fmla="*/ 18521 h 81"/>
                <a:gd name="T4" fmla="*/ 55118 w 125"/>
                <a:gd name="T5" fmla="*/ 31554 h 81"/>
                <a:gd name="T6" fmla="*/ 55562 w 125"/>
                <a:gd name="T7" fmla="*/ 36356 h 81"/>
                <a:gd name="T8" fmla="*/ 55562 w 125"/>
                <a:gd name="T9" fmla="*/ 40472 h 81"/>
                <a:gd name="T10" fmla="*/ 55562 w 125"/>
                <a:gd name="T11" fmla="*/ 44588 h 81"/>
                <a:gd name="T12" fmla="*/ 54673 w 125"/>
                <a:gd name="T13" fmla="*/ 47331 h 81"/>
                <a:gd name="T14" fmla="*/ 52895 w 125"/>
                <a:gd name="T15" fmla="*/ 49389 h 81"/>
                <a:gd name="T16" fmla="*/ 49784 w 125"/>
                <a:gd name="T17" fmla="*/ 50761 h 81"/>
                <a:gd name="T18" fmla="*/ 45783 w 125"/>
                <a:gd name="T19" fmla="*/ 52133 h 81"/>
                <a:gd name="T20" fmla="*/ 40449 w 125"/>
                <a:gd name="T21" fmla="*/ 52819 h 81"/>
                <a:gd name="T22" fmla="*/ 25336 w 125"/>
                <a:gd name="T23" fmla="*/ 54191 h 81"/>
                <a:gd name="T24" fmla="*/ 3111 w 125"/>
                <a:gd name="T25" fmla="*/ 55563 h 81"/>
                <a:gd name="T26" fmla="*/ 2222 w 125"/>
                <a:gd name="T27" fmla="*/ 54191 h 81"/>
                <a:gd name="T28" fmla="*/ 1333 w 125"/>
                <a:gd name="T29" fmla="*/ 49389 h 81"/>
                <a:gd name="T30" fmla="*/ 444 w 125"/>
                <a:gd name="T31" fmla="*/ 40472 h 81"/>
                <a:gd name="T32" fmla="*/ 0 w 125"/>
                <a:gd name="T33" fmla="*/ 29496 h 81"/>
                <a:gd name="T34" fmla="*/ 0 w 125"/>
                <a:gd name="T35" fmla="*/ 25381 h 81"/>
                <a:gd name="T36" fmla="*/ 444 w 125"/>
                <a:gd name="T37" fmla="*/ 21265 h 81"/>
                <a:gd name="T38" fmla="*/ 889 w 125"/>
                <a:gd name="T39" fmla="*/ 17149 h 81"/>
                <a:gd name="T40" fmla="*/ 1778 w 125"/>
                <a:gd name="T41" fmla="*/ 13719 h 81"/>
                <a:gd name="T42" fmla="*/ 3556 w 125"/>
                <a:gd name="T43" fmla="*/ 10289 h 81"/>
                <a:gd name="T44" fmla="*/ 4889 w 125"/>
                <a:gd name="T45" fmla="*/ 6860 h 81"/>
                <a:gd name="T46" fmla="*/ 6223 w 125"/>
                <a:gd name="T47" fmla="*/ 3430 h 81"/>
                <a:gd name="T48" fmla="*/ 8890 w 125"/>
                <a:gd name="T49" fmla="*/ 0 h 81"/>
                <a:gd name="T50" fmla="*/ 53340 w 125"/>
                <a:gd name="T51" fmla="*/ 0 h 8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79" name="Freeform 250">
              <a:extLst>
                <a:ext uri="{FF2B5EF4-FFF2-40B4-BE49-F238E27FC236}">
                  <a16:creationId xmlns:a16="http://schemas.microsoft.com/office/drawing/2014/main" xmlns="" id="{02542A59-2B8B-1248-C02C-08D941457CF4}"/>
                </a:ext>
              </a:extLst>
            </p:cNvPr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4217953" y="2453344"/>
              <a:ext cx="131844" cy="147582"/>
            </a:xfrm>
            <a:custGeom>
              <a:avLst/>
              <a:gdLst>
                <a:gd name="T0" fmla="*/ 112475 w 355"/>
                <a:gd name="T1" fmla="*/ 7794 h 388"/>
                <a:gd name="T2" fmla="*/ 110329 w 355"/>
                <a:gd name="T3" fmla="*/ 19226 h 388"/>
                <a:gd name="T4" fmla="*/ 113334 w 355"/>
                <a:gd name="T5" fmla="*/ 26501 h 388"/>
                <a:gd name="T6" fmla="*/ 121491 w 355"/>
                <a:gd name="T7" fmla="*/ 31177 h 388"/>
                <a:gd name="T8" fmla="*/ 136945 w 355"/>
                <a:gd name="T9" fmla="*/ 28579 h 388"/>
                <a:gd name="T10" fmla="*/ 142526 w 355"/>
                <a:gd name="T11" fmla="*/ 29618 h 388"/>
                <a:gd name="T12" fmla="*/ 145961 w 355"/>
                <a:gd name="T13" fmla="*/ 35334 h 388"/>
                <a:gd name="T14" fmla="*/ 148107 w 355"/>
                <a:gd name="T15" fmla="*/ 43129 h 388"/>
                <a:gd name="T16" fmla="*/ 150683 w 355"/>
                <a:gd name="T17" fmla="*/ 48844 h 388"/>
                <a:gd name="T18" fmla="*/ 148107 w 355"/>
                <a:gd name="T19" fmla="*/ 56119 h 388"/>
                <a:gd name="T20" fmla="*/ 137375 w 355"/>
                <a:gd name="T21" fmla="*/ 70668 h 388"/>
                <a:gd name="T22" fmla="*/ 149395 w 355"/>
                <a:gd name="T23" fmla="*/ 90934 h 388"/>
                <a:gd name="T24" fmla="*/ 152400 w 355"/>
                <a:gd name="T25" fmla="*/ 104963 h 388"/>
                <a:gd name="T26" fmla="*/ 151541 w 355"/>
                <a:gd name="T27" fmla="*/ 113797 h 388"/>
                <a:gd name="T28" fmla="*/ 148107 w 355"/>
                <a:gd name="T29" fmla="*/ 131984 h 388"/>
                <a:gd name="T30" fmla="*/ 142955 w 355"/>
                <a:gd name="T31" fmla="*/ 140817 h 388"/>
                <a:gd name="T32" fmla="*/ 133940 w 355"/>
                <a:gd name="T33" fmla="*/ 145494 h 388"/>
                <a:gd name="T34" fmla="*/ 122779 w 355"/>
                <a:gd name="T35" fmla="*/ 146533 h 388"/>
                <a:gd name="T36" fmla="*/ 115910 w 355"/>
                <a:gd name="T37" fmla="*/ 146533 h 388"/>
                <a:gd name="T38" fmla="*/ 108183 w 355"/>
                <a:gd name="T39" fmla="*/ 137700 h 388"/>
                <a:gd name="T40" fmla="*/ 103031 w 355"/>
                <a:gd name="T41" fmla="*/ 134582 h 388"/>
                <a:gd name="T42" fmla="*/ 94874 w 355"/>
                <a:gd name="T43" fmla="*/ 139778 h 388"/>
                <a:gd name="T44" fmla="*/ 88006 w 355"/>
                <a:gd name="T45" fmla="*/ 144974 h 388"/>
                <a:gd name="T46" fmla="*/ 83283 w 355"/>
                <a:gd name="T47" fmla="*/ 148092 h 388"/>
                <a:gd name="T48" fmla="*/ 79420 w 355"/>
                <a:gd name="T49" fmla="*/ 154847 h 388"/>
                <a:gd name="T50" fmla="*/ 80278 w 355"/>
                <a:gd name="T51" fmla="*/ 166798 h 388"/>
                <a:gd name="T52" fmla="*/ 88864 w 355"/>
                <a:gd name="T53" fmla="*/ 186024 h 388"/>
                <a:gd name="T54" fmla="*/ 83713 w 355"/>
                <a:gd name="T55" fmla="*/ 183426 h 388"/>
                <a:gd name="T56" fmla="*/ 75985 w 355"/>
                <a:gd name="T57" fmla="*/ 184466 h 388"/>
                <a:gd name="T58" fmla="*/ 69546 w 355"/>
                <a:gd name="T59" fmla="*/ 189662 h 388"/>
                <a:gd name="T60" fmla="*/ 62677 w 355"/>
                <a:gd name="T61" fmla="*/ 201613 h 388"/>
                <a:gd name="T62" fmla="*/ 52803 w 355"/>
                <a:gd name="T63" fmla="*/ 192260 h 388"/>
                <a:gd name="T64" fmla="*/ 48510 w 355"/>
                <a:gd name="T65" fmla="*/ 186024 h 388"/>
                <a:gd name="T66" fmla="*/ 41212 w 355"/>
                <a:gd name="T67" fmla="*/ 168357 h 388"/>
                <a:gd name="T68" fmla="*/ 21465 w 355"/>
                <a:gd name="T69" fmla="*/ 145494 h 388"/>
                <a:gd name="T70" fmla="*/ 9445 w 355"/>
                <a:gd name="T71" fmla="*/ 131984 h 388"/>
                <a:gd name="T72" fmla="*/ 2146 w 355"/>
                <a:gd name="T73" fmla="*/ 115876 h 388"/>
                <a:gd name="T74" fmla="*/ 429 w 355"/>
                <a:gd name="T75" fmla="*/ 97169 h 388"/>
                <a:gd name="T76" fmla="*/ 4722 w 355"/>
                <a:gd name="T77" fmla="*/ 84179 h 388"/>
                <a:gd name="T78" fmla="*/ 17601 w 355"/>
                <a:gd name="T79" fmla="*/ 69629 h 388"/>
                <a:gd name="T80" fmla="*/ 23182 w 355"/>
                <a:gd name="T81" fmla="*/ 60276 h 388"/>
                <a:gd name="T82" fmla="*/ 24041 w 355"/>
                <a:gd name="T83" fmla="*/ 47286 h 388"/>
                <a:gd name="T84" fmla="*/ 46364 w 355"/>
                <a:gd name="T85" fmla="*/ 43129 h 388"/>
                <a:gd name="T86" fmla="*/ 66970 w 355"/>
                <a:gd name="T87" fmla="*/ 41570 h 388"/>
                <a:gd name="T88" fmla="*/ 73839 w 355"/>
                <a:gd name="T89" fmla="*/ 37932 h 388"/>
                <a:gd name="T90" fmla="*/ 75985 w 355"/>
                <a:gd name="T91" fmla="*/ 32736 h 388"/>
                <a:gd name="T92" fmla="*/ 74697 w 355"/>
                <a:gd name="T93" fmla="*/ 21304 h 388"/>
                <a:gd name="T94" fmla="*/ 71692 w 355"/>
                <a:gd name="T95" fmla="*/ 6235 h 38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80" name="Freeform 251">
              <a:extLst>
                <a:ext uri="{FF2B5EF4-FFF2-40B4-BE49-F238E27FC236}">
                  <a16:creationId xmlns:a16="http://schemas.microsoft.com/office/drawing/2014/main" xmlns="" id="{03ED9A26-4A9D-3105-888C-D8DA090595B9}"/>
                </a:ext>
              </a:extLst>
            </p:cNvPr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4679407" y="2749669"/>
              <a:ext cx="225233" cy="381155"/>
            </a:xfrm>
            <a:custGeom>
              <a:avLst/>
              <a:gdLst>
                <a:gd name="T0" fmla="*/ 0 w 599"/>
                <a:gd name="T1" fmla="*/ 135812 h 993"/>
                <a:gd name="T2" fmla="*/ 79105 w 599"/>
                <a:gd name="T3" fmla="*/ 117459 h 993"/>
                <a:gd name="T4" fmla="*/ 99967 w 599"/>
                <a:gd name="T5" fmla="*/ 125849 h 993"/>
                <a:gd name="T6" fmla="*/ 112137 w 599"/>
                <a:gd name="T7" fmla="*/ 135288 h 993"/>
                <a:gd name="T8" fmla="*/ 109530 w 599"/>
                <a:gd name="T9" fmla="*/ 155214 h 993"/>
                <a:gd name="T10" fmla="*/ 101706 w 599"/>
                <a:gd name="T11" fmla="*/ 171469 h 993"/>
                <a:gd name="T12" fmla="*/ 108660 w 599"/>
                <a:gd name="T13" fmla="*/ 187200 h 993"/>
                <a:gd name="T14" fmla="*/ 127784 w 599"/>
                <a:gd name="T15" fmla="*/ 191395 h 993"/>
                <a:gd name="T16" fmla="*/ 138651 w 599"/>
                <a:gd name="T17" fmla="*/ 178286 h 993"/>
                <a:gd name="T18" fmla="*/ 146909 w 599"/>
                <a:gd name="T19" fmla="*/ 166225 h 993"/>
                <a:gd name="T20" fmla="*/ 144301 w 599"/>
                <a:gd name="T21" fmla="*/ 136861 h 993"/>
                <a:gd name="T22" fmla="*/ 136477 w 599"/>
                <a:gd name="T23" fmla="*/ 106972 h 993"/>
                <a:gd name="T24" fmla="*/ 117788 w 599"/>
                <a:gd name="T25" fmla="*/ 82326 h 993"/>
                <a:gd name="T26" fmla="*/ 110399 w 599"/>
                <a:gd name="T27" fmla="*/ 65546 h 993"/>
                <a:gd name="T28" fmla="*/ 117353 w 599"/>
                <a:gd name="T29" fmla="*/ 32511 h 993"/>
                <a:gd name="T30" fmla="*/ 139085 w 599"/>
                <a:gd name="T31" fmla="*/ 28840 h 993"/>
                <a:gd name="T32" fmla="*/ 181680 w 599"/>
                <a:gd name="T33" fmla="*/ 31462 h 993"/>
                <a:gd name="T34" fmla="*/ 226448 w 599"/>
                <a:gd name="T35" fmla="*/ 18877 h 993"/>
                <a:gd name="T36" fmla="*/ 259481 w 599"/>
                <a:gd name="T37" fmla="*/ 1573 h 993"/>
                <a:gd name="T38" fmla="*/ 259481 w 599"/>
                <a:gd name="T39" fmla="*/ 15731 h 993"/>
                <a:gd name="T40" fmla="*/ 259481 w 599"/>
                <a:gd name="T41" fmla="*/ 66071 h 993"/>
                <a:gd name="T42" fmla="*/ 257308 w 599"/>
                <a:gd name="T43" fmla="*/ 119556 h 993"/>
                <a:gd name="T44" fmla="*/ 254265 w 599"/>
                <a:gd name="T45" fmla="*/ 144726 h 993"/>
                <a:gd name="T46" fmla="*/ 239053 w 599"/>
                <a:gd name="T47" fmla="*/ 176713 h 993"/>
                <a:gd name="T48" fmla="*/ 203412 w 599"/>
                <a:gd name="T49" fmla="*/ 210797 h 993"/>
                <a:gd name="T50" fmla="*/ 162556 w 599"/>
                <a:gd name="T51" fmla="*/ 223382 h 993"/>
                <a:gd name="T52" fmla="*/ 153428 w 599"/>
                <a:gd name="T53" fmla="*/ 243308 h 993"/>
                <a:gd name="T54" fmla="*/ 127350 w 599"/>
                <a:gd name="T55" fmla="*/ 265856 h 993"/>
                <a:gd name="T56" fmla="*/ 105618 w 599"/>
                <a:gd name="T57" fmla="*/ 287879 h 993"/>
                <a:gd name="T58" fmla="*/ 99533 w 599"/>
                <a:gd name="T59" fmla="*/ 305184 h 993"/>
                <a:gd name="T60" fmla="*/ 103010 w 599"/>
                <a:gd name="T61" fmla="*/ 324585 h 993"/>
                <a:gd name="T62" fmla="*/ 116049 w 599"/>
                <a:gd name="T63" fmla="*/ 342938 h 993"/>
                <a:gd name="T64" fmla="*/ 110399 w 599"/>
                <a:gd name="T65" fmla="*/ 363913 h 993"/>
                <a:gd name="T66" fmla="*/ 115180 w 599"/>
                <a:gd name="T67" fmla="*/ 382266 h 993"/>
                <a:gd name="T68" fmla="*/ 116049 w 599"/>
                <a:gd name="T69" fmla="*/ 414253 h 993"/>
                <a:gd name="T70" fmla="*/ 111268 w 599"/>
                <a:gd name="T71" fmla="*/ 426838 h 993"/>
                <a:gd name="T72" fmla="*/ 83886 w 599"/>
                <a:gd name="T73" fmla="*/ 457776 h 993"/>
                <a:gd name="T74" fmla="*/ 63892 w 599"/>
                <a:gd name="T75" fmla="*/ 465117 h 993"/>
                <a:gd name="T76" fmla="*/ 44333 w 599"/>
                <a:gd name="T77" fmla="*/ 468787 h 993"/>
                <a:gd name="T78" fmla="*/ 37814 w 599"/>
                <a:gd name="T79" fmla="*/ 478750 h 993"/>
                <a:gd name="T80" fmla="*/ 41291 w 599"/>
                <a:gd name="T81" fmla="*/ 492384 h 993"/>
                <a:gd name="T82" fmla="*/ 39552 w 599"/>
                <a:gd name="T83" fmla="*/ 520176 h 993"/>
                <a:gd name="T84" fmla="*/ 32163 w 599"/>
                <a:gd name="T85" fmla="*/ 424740 h 993"/>
                <a:gd name="T86" fmla="*/ 25209 w 599"/>
                <a:gd name="T87" fmla="*/ 401144 h 993"/>
                <a:gd name="T88" fmla="*/ 17820 w 599"/>
                <a:gd name="T89" fmla="*/ 377547 h 993"/>
                <a:gd name="T90" fmla="*/ 46941 w 599"/>
                <a:gd name="T91" fmla="*/ 349231 h 993"/>
                <a:gd name="T92" fmla="*/ 47376 w 599"/>
                <a:gd name="T93" fmla="*/ 321964 h 993"/>
                <a:gd name="T94" fmla="*/ 64762 w 599"/>
                <a:gd name="T95" fmla="*/ 299416 h 993"/>
                <a:gd name="T96" fmla="*/ 75628 w 599"/>
                <a:gd name="T97" fmla="*/ 275819 h 993"/>
                <a:gd name="T98" fmla="*/ 73020 w 599"/>
                <a:gd name="T99" fmla="*/ 231247 h 993"/>
                <a:gd name="T100" fmla="*/ 66065 w 599"/>
                <a:gd name="T101" fmla="*/ 190871 h 993"/>
                <a:gd name="T102" fmla="*/ 35206 w 599"/>
                <a:gd name="T103" fmla="*/ 178810 h 99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81" name="Freeform 252">
              <a:extLst>
                <a:ext uri="{FF2B5EF4-FFF2-40B4-BE49-F238E27FC236}">
                  <a16:creationId xmlns:a16="http://schemas.microsoft.com/office/drawing/2014/main" xmlns="" id="{427AF1FC-8BC9-1A85-B9FE-ACDC6B6BD063}"/>
                </a:ext>
              </a:extLst>
            </p:cNvPr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4450054" y="2925139"/>
              <a:ext cx="206006" cy="210333"/>
            </a:xfrm>
            <a:custGeom>
              <a:avLst/>
              <a:gdLst>
                <a:gd name="T0" fmla="*/ 13108 w 545"/>
                <a:gd name="T1" fmla="*/ 224008 h 549"/>
                <a:gd name="T2" fmla="*/ 20099 w 545"/>
                <a:gd name="T3" fmla="*/ 237616 h 549"/>
                <a:gd name="T4" fmla="*/ 20099 w 545"/>
                <a:gd name="T5" fmla="*/ 267973 h 549"/>
                <a:gd name="T6" fmla="*/ 20972 w 545"/>
                <a:gd name="T7" fmla="*/ 275824 h 549"/>
                <a:gd name="T8" fmla="*/ 24031 w 545"/>
                <a:gd name="T9" fmla="*/ 281057 h 549"/>
                <a:gd name="T10" fmla="*/ 29711 w 545"/>
                <a:gd name="T11" fmla="*/ 285244 h 549"/>
                <a:gd name="T12" fmla="*/ 43693 w 545"/>
                <a:gd name="T13" fmla="*/ 287338 h 549"/>
                <a:gd name="T14" fmla="*/ 49373 w 545"/>
                <a:gd name="T15" fmla="*/ 285768 h 549"/>
                <a:gd name="T16" fmla="*/ 56800 w 545"/>
                <a:gd name="T17" fmla="*/ 278964 h 549"/>
                <a:gd name="T18" fmla="*/ 62481 w 545"/>
                <a:gd name="T19" fmla="*/ 265356 h 549"/>
                <a:gd name="T20" fmla="*/ 67287 w 545"/>
                <a:gd name="T21" fmla="*/ 249654 h 549"/>
                <a:gd name="T22" fmla="*/ 73841 w 545"/>
                <a:gd name="T23" fmla="*/ 237616 h 549"/>
                <a:gd name="T24" fmla="*/ 79958 w 545"/>
                <a:gd name="T25" fmla="*/ 232906 h 549"/>
                <a:gd name="T26" fmla="*/ 87822 w 545"/>
                <a:gd name="T27" fmla="*/ 232383 h 549"/>
                <a:gd name="T28" fmla="*/ 96998 w 545"/>
                <a:gd name="T29" fmla="*/ 234476 h 549"/>
                <a:gd name="T30" fmla="*/ 110106 w 545"/>
                <a:gd name="T31" fmla="*/ 241280 h 549"/>
                <a:gd name="T32" fmla="*/ 118844 w 545"/>
                <a:gd name="T33" fmla="*/ 244944 h 549"/>
                <a:gd name="T34" fmla="*/ 129767 w 545"/>
                <a:gd name="T35" fmla="*/ 245467 h 549"/>
                <a:gd name="T36" fmla="*/ 139380 w 545"/>
                <a:gd name="T37" fmla="*/ 242850 h 549"/>
                <a:gd name="T38" fmla="*/ 145060 w 545"/>
                <a:gd name="T39" fmla="*/ 237093 h 549"/>
                <a:gd name="T40" fmla="*/ 156857 w 545"/>
                <a:gd name="T41" fmla="*/ 203073 h 549"/>
                <a:gd name="T42" fmla="*/ 166906 w 545"/>
                <a:gd name="T43" fmla="*/ 189989 h 549"/>
                <a:gd name="T44" fmla="*/ 195306 w 545"/>
                <a:gd name="T45" fmla="*/ 164343 h 549"/>
                <a:gd name="T46" fmla="*/ 230260 w 545"/>
                <a:gd name="T47" fmla="*/ 138173 h 549"/>
                <a:gd name="T48" fmla="*/ 230697 w 545"/>
                <a:gd name="T49" fmla="*/ 121425 h 549"/>
                <a:gd name="T50" fmla="*/ 219774 w 545"/>
                <a:gd name="T51" fmla="*/ 114098 h 549"/>
                <a:gd name="T52" fmla="*/ 211909 w 545"/>
                <a:gd name="T53" fmla="*/ 104153 h 549"/>
                <a:gd name="T54" fmla="*/ 200986 w 545"/>
                <a:gd name="T55" fmla="*/ 82171 h 549"/>
                <a:gd name="T56" fmla="*/ 192248 w 545"/>
                <a:gd name="T57" fmla="*/ 69087 h 549"/>
                <a:gd name="T58" fmla="*/ 164721 w 545"/>
                <a:gd name="T59" fmla="*/ 39777 h 549"/>
                <a:gd name="T60" fmla="*/ 156857 w 545"/>
                <a:gd name="T61" fmla="*/ 27739 h 549"/>
                <a:gd name="T62" fmla="*/ 152050 w 545"/>
                <a:gd name="T63" fmla="*/ 12561 h 549"/>
                <a:gd name="T64" fmla="*/ 139380 w 545"/>
                <a:gd name="T65" fmla="*/ 0 h 549"/>
                <a:gd name="T66" fmla="*/ 106610 w 545"/>
                <a:gd name="T67" fmla="*/ 1047 h 549"/>
                <a:gd name="T68" fmla="*/ 76899 w 545"/>
                <a:gd name="T69" fmla="*/ 6804 h 549"/>
                <a:gd name="T70" fmla="*/ 41508 w 545"/>
                <a:gd name="T71" fmla="*/ 11514 h 549"/>
                <a:gd name="T72" fmla="*/ 31022 w 545"/>
                <a:gd name="T73" fmla="*/ 14131 h 549"/>
                <a:gd name="T74" fmla="*/ 29274 w 545"/>
                <a:gd name="T75" fmla="*/ 19889 h 549"/>
                <a:gd name="T76" fmla="*/ 31896 w 545"/>
                <a:gd name="T77" fmla="*/ 29310 h 549"/>
                <a:gd name="T78" fmla="*/ 36702 w 545"/>
                <a:gd name="T79" fmla="*/ 38730 h 549"/>
                <a:gd name="T80" fmla="*/ 37576 w 545"/>
                <a:gd name="T81" fmla="*/ 56002 h 549"/>
                <a:gd name="T82" fmla="*/ 32333 w 545"/>
                <a:gd name="T83" fmla="*/ 89499 h 549"/>
                <a:gd name="T84" fmla="*/ 27089 w 545"/>
                <a:gd name="T85" fmla="*/ 124042 h 549"/>
                <a:gd name="T86" fmla="*/ 20536 w 545"/>
                <a:gd name="T87" fmla="*/ 137650 h 549"/>
                <a:gd name="T88" fmla="*/ 11360 w 545"/>
                <a:gd name="T89" fmla="*/ 144977 h 549"/>
                <a:gd name="T90" fmla="*/ 2185 w 545"/>
                <a:gd name="T91" fmla="*/ 160679 h 549"/>
                <a:gd name="T92" fmla="*/ 437 w 545"/>
                <a:gd name="T93" fmla="*/ 177427 h 549"/>
                <a:gd name="T94" fmla="*/ 3495 w 545"/>
                <a:gd name="T95" fmla="*/ 192082 h 549"/>
                <a:gd name="T96" fmla="*/ 3495 w 545"/>
                <a:gd name="T97" fmla="*/ 204643 h 549"/>
                <a:gd name="T98" fmla="*/ 0 w 545"/>
                <a:gd name="T99" fmla="*/ 213541 h 549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82" name="Freeform 253">
              <a:extLst>
                <a:ext uri="{FF2B5EF4-FFF2-40B4-BE49-F238E27FC236}">
                  <a16:creationId xmlns:a16="http://schemas.microsoft.com/office/drawing/2014/main" xmlns="" id="{8FA25781-8484-4A6A-F246-ECB4CE75AF16}"/>
                </a:ext>
              </a:extLst>
            </p:cNvPr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4945841" y="2779883"/>
              <a:ext cx="170298" cy="318403"/>
            </a:xfrm>
            <a:custGeom>
              <a:avLst/>
              <a:gdLst>
                <a:gd name="T0" fmla="*/ 48777 w 452"/>
                <a:gd name="T1" fmla="*/ 136452 h 832"/>
                <a:gd name="T2" fmla="*/ 60100 w 452"/>
                <a:gd name="T3" fmla="*/ 129656 h 832"/>
                <a:gd name="T4" fmla="*/ 71859 w 452"/>
                <a:gd name="T5" fmla="*/ 125474 h 832"/>
                <a:gd name="T6" fmla="*/ 83618 w 452"/>
                <a:gd name="T7" fmla="*/ 121291 h 832"/>
                <a:gd name="T8" fmla="*/ 93634 w 452"/>
                <a:gd name="T9" fmla="*/ 113449 h 832"/>
                <a:gd name="T10" fmla="*/ 101038 w 452"/>
                <a:gd name="T11" fmla="*/ 104561 h 832"/>
                <a:gd name="T12" fmla="*/ 101038 w 452"/>
                <a:gd name="T13" fmla="*/ 93582 h 832"/>
                <a:gd name="T14" fmla="*/ 115410 w 452"/>
                <a:gd name="T15" fmla="*/ 93060 h 832"/>
                <a:gd name="T16" fmla="*/ 122813 w 452"/>
                <a:gd name="T17" fmla="*/ 90446 h 832"/>
                <a:gd name="T18" fmla="*/ 129782 w 452"/>
                <a:gd name="T19" fmla="*/ 84695 h 832"/>
                <a:gd name="T20" fmla="*/ 139363 w 452"/>
                <a:gd name="T21" fmla="*/ 69533 h 832"/>
                <a:gd name="T22" fmla="*/ 152428 w 452"/>
                <a:gd name="T23" fmla="*/ 39210 h 832"/>
                <a:gd name="T24" fmla="*/ 164622 w 452"/>
                <a:gd name="T25" fmla="*/ 0 h 832"/>
                <a:gd name="T26" fmla="*/ 167671 w 452"/>
                <a:gd name="T27" fmla="*/ 9933 h 832"/>
                <a:gd name="T28" fmla="*/ 177252 w 452"/>
                <a:gd name="T29" fmla="*/ 24572 h 832"/>
                <a:gd name="T30" fmla="*/ 195108 w 452"/>
                <a:gd name="T31" fmla="*/ 44439 h 832"/>
                <a:gd name="T32" fmla="*/ 191624 w 452"/>
                <a:gd name="T33" fmla="*/ 53849 h 832"/>
                <a:gd name="T34" fmla="*/ 193366 w 452"/>
                <a:gd name="T35" fmla="*/ 72147 h 832"/>
                <a:gd name="T36" fmla="*/ 196850 w 452"/>
                <a:gd name="T37" fmla="*/ 96719 h 832"/>
                <a:gd name="T38" fmla="*/ 195108 w 452"/>
                <a:gd name="T39" fmla="*/ 107698 h 832"/>
                <a:gd name="T40" fmla="*/ 186398 w 452"/>
                <a:gd name="T41" fmla="*/ 122337 h 832"/>
                <a:gd name="T42" fmla="*/ 178123 w 452"/>
                <a:gd name="T43" fmla="*/ 136452 h 832"/>
                <a:gd name="T44" fmla="*/ 176381 w 452"/>
                <a:gd name="T45" fmla="*/ 147954 h 832"/>
                <a:gd name="T46" fmla="*/ 171155 w 452"/>
                <a:gd name="T47" fmla="*/ 161024 h 832"/>
                <a:gd name="T48" fmla="*/ 166800 w 452"/>
                <a:gd name="T49" fmla="*/ 166252 h 832"/>
                <a:gd name="T50" fmla="*/ 164187 w 452"/>
                <a:gd name="T51" fmla="*/ 173572 h 832"/>
                <a:gd name="T52" fmla="*/ 160267 w 452"/>
                <a:gd name="T53" fmla="*/ 190302 h 832"/>
                <a:gd name="T54" fmla="*/ 147202 w 452"/>
                <a:gd name="T55" fmla="*/ 223238 h 832"/>
                <a:gd name="T56" fmla="*/ 139798 w 452"/>
                <a:gd name="T57" fmla="*/ 245719 h 832"/>
                <a:gd name="T58" fmla="*/ 138492 w 452"/>
                <a:gd name="T59" fmla="*/ 261403 h 832"/>
                <a:gd name="T60" fmla="*/ 135008 w 452"/>
                <a:gd name="T61" fmla="*/ 277610 h 832"/>
                <a:gd name="T62" fmla="*/ 122378 w 452"/>
                <a:gd name="T63" fmla="*/ 314730 h 832"/>
                <a:gd name="T64" fmla="*/ 113232 w 452"/>
                <a:gd name="T65" fmla="*/ 333028 h 832"/>
                <a:gd name="T66" fmla="*/ 105393 w 452"/>
                <a:gd name="T67" fmla="*/ 342438 h 832"/>
                <a:gd name="T68" fmla="*/ 101038 w 452"/>
                <a:gd name="T69" fmla="*/ 345052 h 832"/>
                <a:gd name="T70" fmla="*/ 99296 w 452"/>
                <a:gd name="T71" fmla="*/ 373284 h 832"/>
                <a:gd name="T72" fmla="*/ 93634 w 452"/>
                <a:gd name="T73" fmla="*/ 396810 h 832"/>
                <a:gd name="T74" fmla="*/ 83182 w 452"/>
                <a:gd name="T75" fmla="*/ 415631 h 832"/>
                <a:gd name="T76" fmla="*/ 68375 w 452"/>
                <a:gd name="T77" fmla="*/ 428179 h 832"/>
                <a:gd name="T78" fmla="*/ 47906 w 452"/>
                <a:gd name="T79" fmla="*/ 434452 h 832"/>
                <a:gd name="T80" fmla="*/ 34841 w 452"/>
                <a:gd name="T81" fmla="*/ 432361 h 832"/>
                <a:gd name="T82" fmla="*/ 31792 w 452"/>
                <a:gd name="T83" fmla="*/ 427133 h 832"/>
                <a:gd name="T84" fmla="*/ 21775 w 452"/>
                <a:gd name="T85" fmla="*/ 423473 h 832"/>
                <a:gd name="T86" fmla="*/ 11323 w 452"/>
                <a:gd name="T87" fmla="*/ 417200 h 832"/>
                <a:gd name="T88" fmla="*/ 5226 w 452"/>
                <a:gd name="T89" fmla="*/ 406221 h 832"/>
                <a:gd name="T90" fmla="*/ 1307 w 452"/>
                <a:gd name="T91" fmla="*/ 393150 h 832"/>
                <a:gd name="T92" fmla="*/ 0 w 452"/>
                <a:gd name="T93" fmla="*/ 370147 h 832"/>
                <a:gd name="T94" fmla="*/ 1742 w 452"/>
                <a:gd name="T95" fmla="*/ 362828 h 832"/>
                <a:gd name="T96" fmla="*/ 8275 w 452"/>
                <a:gd name="T97" fmla="*/ 354463 h 832"/>
                <a:gd name="T98" fmla="*/ 4791 w 452"/>
                <a:gd name="T99" fmla="*/ 351326 h 832"/>
                <a:gd name="T100" fmla="*/ 0 w 452"/>
                <a:gd name="T101" fmla="*/ 340870 h 832"/>
                <a:gd name="T102" fmla="*/ 2178 w 452"/>
                <a:gd name="T103" fmla="*/ 328322 h 832"/>
                <a:gd name="T104" fmla="*/ 3484 w 452"/>
                <a:gd name="T105" fmla="*/ 318912 h 832"/>
                <a:gd name="T106" fmla="*/ 2178 w 452"/>
                <a:gd name="T107" fmla="*/ 308979 h 832"/>
                <a:gd name="T108" fmla="*/ 7839 w 452"/>
                <a:gd name="T109" fmla="*/ 306887 h 832"/>
                <a:gd name="T110" fmla="*/ 18727 w 452"/>
                <a:gd name="T111" fmla="*/ 296954 h 832"/>
                <a:gd name="T112" fmla="*/ 27437 w 452"/>
                <a:gd name="T113" fmla="*/ 281270 h 832"/>
                <a:gd name="T114" fmla="*/ 33099 w 452"/>
                <a:gd name="T115" fmla="*/ 264540 h 832"/>
                <a:gd name="T116" fmla="*/ 37454 w 452"/>
                <a:gd name="T117" fmla="*/ 241537 h 832"/>
                <a:gd name="T118" fmla="*/ 36147 w 452"/>
                <a:gd name="T119" fmla="*/ 228989 h 832"/>
                <a:gd name="T120" fmla="*/ 30486 w 452"/>
                <a:gd name="T121" fmla="*/ 213305 h 832"/>
                <a:gd name="T122" fmla="*/ 24388 w 452"/>
                <a:gd name="T123" fmla="*/ 199712 h 832"/>
                <a:gd name="T124" fmla="*/ 23082 w 452"/>
                <a:gd name="T125" fmla="*/ 189779 h 83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83" name="Freeform 254">
              <a:extLst>
                <a:ext uri="{FF2B5EF4-FFF2-40B4-BE49-F238E27FC236}">
                  <a16:creationId xmlns:a16="http://schemas.microsoft.com/office/drawing/2014/main" xmlns="" id="{58AE9840-4EE1-05EE-6186-A2CF89D4AD3E}"/>
                </a:ext>
              </a:extLst>
            </p:cNvPr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4665674" y="2559092"/>
              <a:ext cx="31588" cy="48806"/>
            </a:xfrm>
            <a:custGeom>
              <a:avLst/>
              <a:gdLst>
                <a:gd name="T0" fmla="*/ 36513 w 80"/>
                <a:gd name="T1" fmla="*/ 1058 h 126"/>
                <a:gd name="T2" fmla="*/ 36513 w 80"/>
                <a:gd name="T3" fmla="*/ 53446 h 126"/>
                <a:gd name="T4" fmla="*/ 35600 w 80"/>
                <a:gd name="T5" fmla="*/ 55033 h 126"/>
                <a:gd name="T6" fmla="*/ 34231 w 80"/>
                <a:gd name="T7" fmla="*/ 56621 h 126"/>
                <a:gd name="T8" fmla="*/ 31949 w 80"/>
                <a:gd name="T9" fmla="*/ 57679 h 126"/>
                <a:gd name="T10" fmla="*/ 30580 w 80"/>
                <a:gd name="T11" fmla="*/ 58737 h 126"/>
                <a:gd name="T12" fmla="*/ 26472 w 80"/>
                <a:gd name="T13" fmla="*/ 60325 h 126"/>
                <a:gd name="T14" fmla="*/ 21908 w 80"/>
                <a:gd name="T15" fmla="*/ 61383 h 126"/>
                <a:gd name="T16" fmla="*/ 16431 w 80"/>
                <a:gd name="T17" fmla="*/ 61912 h 126"/>
                <a:gd name="T18" fmla="*/ 11410 w 80"/>
                <a:gd name="T19" fmla="*/ 62971 h 126"/>
                <a:gd name="T20" fmla="*/ 5933 w 80"/>
                <a:gd name="T21" fmla="*/ 65087 h 126"/>
                <a:gd name="T22" fmla="*/ 0 w 80"/>
                <a:gd name="T23" fmla="*/ 66675 h 126"/>
                <a:gd name="T24" fmla="*/ 3195 w 80"/>
                <a:gd name="T25" fmla="*/ 21167 h 126"/>
                <a:gd name="T26" fmla="*/ 10497 w 80"/>
                <a:gd name="T27" fmla="*/ 14287 h 126"/>
                <a:gd name="T28" fmla="*/ 18713 w 80"/>
                <a:gd name="T29" fmla="*/ 6350 h 126"/>
                <a:gd name="T30" fmla="*/ 23277 w 80"/>
                <a:gd name="T31" fmla="*/ 2646 h 126"/>
                <a:gd name="T32" fmla="*/ 27385 w 80"/>
                <a:gd name="T33" fmla="*/ 529 h 126"/>
                <a:gd name="T34" fmla="*/ 29667 w 80"/>
                <a:gd name="T35" fmla="*/ 0 h 126"/>
                <a:gd name="T36" fmla="*/ 31949 w 80"/>
                <a:gd name="T37" fmla="*/ 0 h 126"/>
                <a:gd name="T38" fmla="*/ 34231 w 80"/>
                <a:gd name="T39" fmla="*/ 529 h 126"/>
                <a:gd name="T40" fmla="*/ 36513 w 80"/>
                <a:gd name="T41" fmla="*/ 1058 h 12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84" name="Freeform 255">
              <a:extLst>
                <a:ext uri="{FF2B5EF4-FFF2-40B4-BE49-F238E27FC236}">
                  <a16:creationId xmlns:a16="http://schemas.microsoft.com/office/drawing/2014/main" xmlns="" id="{2BF29447-DDB0-B513-D4A5-946C54378DF2}"/>
                </a:ext>
              </a:extLst>
            </p:cNvPr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4656060" y="2530040"/>
              <a:ext cx="48068" cy="44158"/>
            </a:xfrm>
            <a:custGeom>
              <a:avLst/>
              <a:gdLst>
                <a:gd name="T0" fmla="*/ 50633 w 124"/>
                <a:gd name="T1" fmla="*/ 0 h 117"/>
                <a:gd name="T2" fmla="*/ 51977 w 124"/>
                <a:gd name="T3" fmla="*/ 7734 h 117"/>
                <a:gd name="T4" fmla="*/ 54666 w 124"/>
                <a:gd name="T5" fmla="*/ 18046 h 117"/>
                <a:gd name="T6" fmla="*/ 55562 w 124"/>
                <a:gd name="T7" fmla="*/ 23202 h 117"/>
                <a:gd name="T8" fmla="*/ 55562 w 124"/>
                <a:gd name="T9" fmla="*/ 27842 h 117"/>
                <a:gd name="T10" fmla="*/ 55562 w 124"/>
                <a:gd name="T11" fmla="*/ 30420 h 117"/>
                <a:gd name="T12" fmla="*/ 55114 w 124"/>
                <a:gd name="T13" fmla="*/ 32998 h 117"/>
                <a:gd name="T14" fmla="*/ 54666 w 124"/>
                <a:gd name="T15" fmla="*/ 35576 h 117"/>
                <a:gd name="T16" fmla="*/ 53322 w 124"/>
                <a:gd name="T17" fmla="*/ 37639 h 117"/>
                <a:gd name="T18" fmla="*/ 51081 w 124"/>
                <a:gd name="T19" fmla="*/ 37123 h 117"/>
                <a:gd name="T20" fmla="*/ 48393 w 124"/>
                <a:gd name="T21" fmla="*/ 36607 h 117"/>
                <a:gd name="T22" fmla="*/ 46152 w 124"/>
                <a:gd name="T23" fmla="*/ 37123 h 117"/>
                <a:gd name="T24" fmla="*/ 43016 w 124"/>
                <a:gd name="T25" fmla="*/ 37639 h 117"/>
                <a:gd name="T26" fmla="*/ 37191 w 124"/>
                <a:gd name="T27" fmla="*/ 40217 h 117"/>
                <a:gd name="T28" fmla="*/ 31814 w 124"/>
                <a:gd name="T29" fmla="*/ 43826 h 117"/>
                <a:gd name="T30" fmla="*/ 20612 w 124"/>
                <a:gd name="T31" fmla="*/ 53107 h 117"/>
                <a:gd name="T32" fmla="*/ 11650 w 124"/>
                <a:gd name="T33" fmla="*/ 60325 h 117"/>
                <a:gd name="T34" fmla="*/ 10306 w 124"/>
                <a:gd name="T35" fmla="*/ 57747 h 117"/>
                <a:gd name="T36" fmla="*/ 5825 w 124"/>
                <a:gd name="T37" fmla="*/ 52075 h 117"/>
                <a:gd name="T38" fmla="*/ 1792 w 124"/>
                <a:gd name="T39" fmla="*/ 45888 h 117"/>
                <a:gd name="T40" fmla="*/ 0 w 124"/>
                <a:gd name="T41" fmla="*/ 40732 h 117"/>
                <a:gd name="T42" fmla="*/ 448 w 124"/>
                <a:gd name="T43" fmla="*/ 39185 h 117"/>
                <a:gd name="T44" fmla="*/ 896 w 124"/>
                <a:gd name="T45" fmla="*/ 37123 h 117"/>
                <a:gd name="T46" fmla="*/ 2240 w 124"/>
                <a:gd name="T47" fmla="*/ 34545 h 117"/>
                <a:gd name="T48" fmla="*/ 4033 w 124"/>
                <a:gd name="T49" fmla="*/ 31967 h 117"/>
                <a:gd name="T50" fmla="*/ 7617 w 124"/>
                <a:gd name="T51" fmla="*/ 26811 h 117"/>
                <a:gd name="T52" fmla="*/ 12098 w 124"/>
                <a:gd name="T53" fmla="*/ 21655 h 117"/>
                <a:gd name="T54" fmla="*/ 21508 w 124"/>
                <a:gd name="T55" fmla="*/ 11343 h 117"/>
                <a:gd name="T56" fmla="*/ 26885 w 124"/>
                <a:gd name="T57" fmla="*/ 6187 h 117"/>
                <a:gd name="T58" fmla="*/ 32710 w 124"/>
                <a:gd name="T59" fmla="*/ 6187 h 117"/>
                <a:gd name="T60" fmla="*/ 38535 w 124"/>
                <a:gd name="T61" fmla="*/ 6187 h 117"/>
                <a:gd name="T62" fmla="*/ 44808 w 124"/>
                <a:gd name="T63" fmla="*/ 3094 h 117"/>
                <a:gd name="T64" fmla="*/ 50633 w 124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85" name="Freeform 256">
              <a:extLst>
                <a:ext uri="{FF2B5EF4-FFF2-40B4-BE49-F238E27FC236}">
                  <a16:creationId xmlns:a16="http://schemas.microsoft.com/office/drawing/2014/main" xmlns="" id="{4A23917C-3DA5-9137-AFAB-DDA3C20D4CBC}"/>
                </a:ext>
              </a:extLst>
            </p:cNvPr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4923867" y="1578316"/>
              <a:ext cx="435360" cy="346293"/>
            </a:xfrm>
            <a:custGeom>
              <a:avLst/>
              <a:gdLst>
                <a:gd name="T0" fmla="*/ 403983 w 1156"/>
                <a:gd name="T1" fmla="*/ 100397 h 900"/>
                <a:gd name="T2" fmla="*/ 373946 w 1156"/>
                <a:gd name="T3" fmla="*/ 85154 h 900"/>
                <a:gd name="T4" fmla="*/ 336508 w 1156"/>
                <a:gd name="T5" fmla="*/ 58346 h 900"/>
                <a:gd name="T6" fmla="*/ 268597 w 1156"/>
                <a:gd name="T7" fmla="*/ 54666 h 900"/>
                <a:gd name="T8" fmla="*/ 239865 w 1156"/>
                <a:gd name="T9" fmla="*/ 80948 h 900"/>
                <a:gd name="T10" fmla="*/ 219405 w 1156"/>
                <a:gd name="T11" fmla="*/ 94089 h 900"/>
                <a:gd name="T12" fmla="*/ 185449 w 1156"/>
                <a:gd name="T13" fmla="*/ 103551 h 900"/>
                <a:gd name="T14" fmla="*/ 166730 w 1156"/>
                <a:gd name="T15" fmla="*/ 104602 h 900"/>
                <a:gd name="T16" fmla="*/ 154541 w 1156"/>
                <a:gd name="T17" fmla="*/ 90936 h 900"/>
                <a:gd name="T18" fmla="*/ 113185 w 1156"/>
                <a:gd name="T19" fmla="*/ 71487 h 900"/>
                <a:gd name="T20" fmla="*/ 99255 w 1156"/>
                <a:gd name="T21" fmla="*/ 45205 h 900"/>
                <a:gd name="T22" fmla="*/ 95772 w 1156"/>
                <a:gd name="T23" fmla="*/ 12090 h 900"/>
                <a:gd name="T24" fmla="*/ 81841 w 1156"/>
                <a:gd name="T25" fmla="*/ 526 h 900"/>
                <a:gd name="T26" fmla="*/ 67476 w 1156"/>
                <a:gd name="T27" fmla="*/ 11038 h 900"/>
                <a:gd name="T28" fmla="*/ 59204 w 1156"/>
                <a:gd name="T29" fmla="*/ 35218 h 900"/>
                <a:gd name="T30" fmla="*/ 34391 w 1156"/>
                <a:gd name="T31" fmla="*/ 28385 h 900"/>
                <a:gd name="T32" fmla="*/ 1741 w 1156"/>
                <a:gd name="T33" fmla="*/ 8410 h 900"/>
                <a:gd name="T34" fmla="*/ 2177 w 1156"/>
                <a:gd name="T35" fmla="*/ 37846 h 900"/>
                <a:gd name="T36" fmla="*/ 19590 w 1156"/>
                <a:gd name="T37" fmla="*/ 76743 h 900"/>
                <a:gd name="T38" fmla="*/ 31779 w 1156"/>
                <a:gd name="T39" fmla="*/ 107756 h 900"/>
                <a:gd name="T40" fmla="*/ 58769 w 1156"/>
                <a:gd name="T41" fmla="*/ 149281 h 900"/>
                <a:gd name="T42" fmla="*/ 53110 w 1156"/>
                <a:gd name="T43" fmla="*/ 166102 h 900"/>
                <a:gd name="T44" fmla="*/ 57898 w 1156"/>
                <a:gd name="T45" fmla="*/ 194486 h 900"/>
                <a:gd name="T46" fmla="*/ 81841 w 1156"/>
                <a:gd name="T47" fmla="*/ 224973 h 900"/>
                <a:gd name="T48" fmla="*/ 112750 w 1156"/>
                <a:gd name="T49" fmla="*/ 239691 h 900"/>
                <a:gd name="T50" fmla="*/ 112750 w 1156"/>
                <a:gd name="T51" fmla="*/ 275435 h 900"/>
                <a:gd name="T52" fmla="*/ 145835 w 1156"/>
                <a:gd name="T53" fmla="*/ 305396 h 900"/>
                <a:gd name="T54" fmla="*/ 184143 w 1156"/>
                <a:gd name="T55" fmla="*/ 349024 h 900"/>
                <a:gd name="T56" fmla="*/ 205039 w 1156"/>
                <a:gd name="T57" fmla="*/ 378460 h 900"/>
                <a:gd name="T58" fmla="*/ 219405 w 1156"/>
                <a:gd name="T59" fmla="*/ 385293 h 900"/>
                <a:gd name="T60" fmla="*/ 235947 w 1156"/>
                <a:gd name="T61" fmla="*/ 396857 h 900"/>
                <a:gd name="T62" fmla="*/ 260326 w 1156"/>
                <a:gd name="T63" fmla="*/ 413678 h 900"/>
                <a:gd name="T64" fmla="*/ 298199 w 1156"/>
                <a:gd name="T65" fmla="*/ 417883 h 900"/>
                <a:gd name="T66" fmla="*/ 318659 w 1156"/>
                <a:gd name="T67" fmla="*/ 409998 h 900"/>
                <a:gd name="T68" fmla="*/ 339120 w 1156"/>
                <a:gd name="T69" fmla="*/ 401588 h 900"/>
                <a:gd name="T70" fmla="*/ 348697 w 1156"/>
                <a:gd name="T71" fmla="*/ 418409 h 900"/>
                <a:gd name="T72" fmla="*/ 353921 w 1156"/>
                <a:gd name="T73" fmla="*/ 450473 h 900"/>
                <a:gd name="T74" fmla="*/ 380476 w 1156"/>
                <a:gd name="T75" fmla="*/ 459408 h 900"/>
                <a:gd name="T76" fmla="*/ 440116 w 1156"/>
                <a:gd name="T77" fmla="*/ 468870 h 900"/>
                <a:gd name="T78" fmla="*/ 474942 w 1156"/>
                <a:gd name="T79" fmla="*/ 462037 h 900"/>
                <a:gd name="T80" fmla="*/ 478424 w 1156"/>
                <a:gd name="T81" fmla="*/ 436806 h 900"/>
                <a:gd name="T82" fmla="*/ 503238 w 1156"/>
                <a:gd name="T83" fmla="*/ 404742 h 900"/>
                <a:gd name="T84" fmla="*/ 492790 w 1156"/>
                <a:gd name="T85" fmla="*/ 394229 h 900"/>
                <a:gd name="T86" fmla="*/ 477118 w 1156"/>
                <a:gd name="T87" fmla="*/ 372152 h 900"/>
                <a:gd name="T88" fmla="*/ 448822 w 1156"/>
                <a:gd name="T89" fmla="*/ 337986 h 900"/>
                <a:gd name="T90" fmla="*/ 443163 w 1156"/>
                <a:gd name="T91" fmla="*/ 316960 h 900"/>
                <a:gd name="T92" fmla="*/ 454481 w 1156"/>
                <a:gd name="T93" fmla="*/ 293832 h 900"/>
                <a:gd name="T94" fmla="*/ 456223 w 1156"/>
                <a:gd name="T95" fmla="*/ 276486 h 900"/>
                <a:gd name="T96" fmla="*/ 448387 w 1156"/>
                <a:gd name="T97" fmla="*/ 269127 h 900"/>
                <a:gd name="T98" fmla="*/ 427926 w 1156"/>
                <a:gd name="T99" fmla="*/ 266499 h 900"/>
                <a:gd name="T100" fmla="*/ 415302 w 1156"/>
                <a:gd name="T101" fmla="*/ 238114 h 900"/>
                <a:gd name="T102" fmla="*/ 407901 w 1156"/>
                <a:gd name="T103" fmla="*/ 196063 h 900"/>
                <a:gd name="T104" fmla="*/ 402242 w 1156"/>
                <a:gd name="T105" fmla="*/ 187653 h 900"/>
                <a:gd name="T106" fmla="*/ 409207 w 1156"/>
                <a:gd name="T107" fmla="*/ 175563 h 900"/>
                <a:gd name="T108" fmla="*/ 417914 w 1156"/>
                <a:gd name="T109" fmla="*/ 154012 h 9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86" name="Freeform 257">
              <a:extLst>
                <a:ext uri="{FF2B5EF4-FFF2-40B4-BE49-F238E27FC236}">
                  <a16:creationId xmlns:a16="http://schemas.microsoft.com/office/drawing/2014/main" xmlns="" id="{D5EB94B7-458B-4CA2-151E-CFE121F2184C}"/>
                </a:ext>
              </a:extLst>
            </p:cNvPr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4944468" y="2059407"/>
              <a:ext cx="214246" cy="167336"/>
            </a:xfrm>
            <a:custGeom>
              <a:avLst/>
              <a:gdLst>
                <a:gd name="T0" fmla="*/ 11277 w 571"/>
                <a:gd name="T1" fmla="*/ 98045 h 443"/>
                <a:gd name="T2" fmla="*/ 16047 w 571"/>
                <a:gd name="T3" fmla="*/ 91337 h 443"/>
                <a:gd name="T4" fmla="*/ 17782 w 571"/>
                <a:gd name="T5" fmla="*/ 84628 h 443"/>
                <a:gd name="T6" fmla="*/ 16915 w 571"/>
                <a:gd name="T7" fmla="*/ 66567 h 443"/>
                <a:gd name="T8" fmla="*/ 19083 w 571"/>
                <a:gd name="T9" fmla="*/ 61923 h 443"/>
                <a:gd name="T10" fmla="*/ 23854 w 571"/>
                <a:gd name="T11" fmla="*/ 57795 h 443"/>
                <a:gd name="T12" fmla="*/ 29492 w 571"/>
                <a:gd name="T13" fmla="*/ 55215 h 443"/>
                <a:gd name="T14" fmla="*/ 34697 w 571"/>
                <a:gd name="T15" fmla="*/ 53667 h 443"/>
                <a:gd name="T16" fmla="*/ 44672 w 571"/>
                <a:gd name="T17" fmla="*/ 54699 h 443"/>
                <a:gd name="T18" fmla="*/ 53780 w 571"/>
                <a:gd name="T19" fmla="*/ 56247 h 443"/>
                <a:gd name="T20" fmla="*/ 68527 w 571"/>
                <a:gd name="T21" fmla="*/ 61923 h 443"/>
                <a:gd name="T22" fmla="*/ 79803 w 571"/>
                <a:gd name="T23" fmla="*/ 69664 h 443"/>
                <a:gd name="T24" fmla="*/ 89345 w 571"/>
                <a:gd name="T25" fmla="*/ 79468 h 443"/>
                <a:gd name="T26" fmla="*/ 110163 w 571"/>
                <a:gd name="T27" fmla="*/ 47474 h 443"/>
                <a:gd name="T28" fmla="*/ 123608 w 571"/>
                <a:gd name="T29" fmla="*/ 25285 h 443"/>
                <a:gd name="T30" fmla="*/ 233337 w 571"/>
                <a:gd name="T31" fmla="*/ 22189 h 443"/>
                <a:gd name="T32" fmla="*/ 241578 w 571"/>
                <a:gd name="T33" fmla="*/ 40250 h 443"/>
                <a:gd name="T34" fmla="*/ 243747 w 571"/>
                <a:gd name="T35" fmla="*/ 50571 h 443"/>
                <a:gd name="T36" fmla="*/ 244614 w 571"/>
                <a:gd name="T37" fmla="*/ 63471 h 443"/>
                <a:gd name="T38" fmla="*/ 246349 w 571"/>
                <a:gd name="T39" fmla="*/ 77920 h 443"/>
                <a:gd name="T40" fmla="*/ 247650 w 571"/>
                <a:gd name="T41" fmla="*/ 91853 h 443"/>
                <a:gd name="T42" fmla="*/ 244614 w 571"/>
                <a:gd name="T43" fmla="*/ 92885 h 443"/>
                <a:gd name="T44" fmla="*/ 243747 w 571"/>
                <a:gd name="T45" fmla="*/ 92369 h 443"/>
                <a:gd name="T46" fmla="*/ 242012 w 571"/>
                <a:gd name="T47" fmla="*/ 94949 h 443"/>
                <a:gd name="T48" fmla="*/ 237675 w 571"/>
                <a:gd name="T49" fmla="*/ 106818 h 443"/>
                <a:gd name="T50" fmla="*/ 231603 w 571"/>
                <a:gd name="T51" fmla="*/ 116106 h 443"/>
                <a:gd name="T52" fmla="*/ 223362 w 571"/>
                <a:gd name="T53" fmla="*/ 123330 h 443"/>
                <a:gd name="T54" fmla="*/ 214254 w 571"/>
                <a:gd name="T55" fmla="*/ 128491 h 443"/>
                <a:gd name="T56" fmla="*/ 175654 w 571"/>
                <a:gd name="T57" fmla="*/ 146036 h 443"/>
                <a:gd name="T58" fmla="*/ 150498 w 571"/>
                <a:gd name="T59" fmla="*/ 158420 h 443"/>
                <a:gd name="T60" fmla="*/ 127945 w 571"/>
                <a:gd name="T61" fmla="*/ 169257 h 443"/>
                <a:gd name="T62" fmla="*/ 106260 w 571"/>
                <a:gd name="T63" fmla="*/ 178029 h 443"/>
                <a:gd name="T64" fmla="*/ 80671 w 571"/>
                <a:gd name="T65" fmla="*/ 187318 h 443"/>
                <a:gd name="T66" fmla="*/ 72430 w 571"/>
                <a:gd name="T67" fmla="*/ 191446 h 443"/>
                <a:gd name="T68" fmla="*/ 64623 w 571"/>
                <a:gd name="T69" fmla="*/ 196606 h 443"/>
                <a:gd name="T70" fmla="*/ 51612 w 571"/>
                <a:gd name="T71" fmla="*/ 207959 h 443"/>
                <a:gd name="T72" fmla="*/ 39902 w 571"/>
                <a:gd name="T73" fmla="*/ 219828 h 443"/>
                <a:gd name="T74" fmla="*/ 29059 w 571"/>
                <a:gd name="T75" fmla="*/ 228600 h 443"/>
                <a:gd name="T76" fmla="*/ 21686 w 571"/>
                <a:gd name="T77" fmla="*/ 195058 h 443"/>
                <a:gd name="T78" fmla="*/ 14313 w 571"/>
                <a:gd name="T79" fmla="*/ 161516 h 443"/>
                <a:gd name="T80" fmla="*/ 6939 w 571"/>
                <a:gd name="T81" fmla="*/ 129523 h 443"/>
                <a:gd name="T82" fmla="*/ 0 w 571"/>
                <a:gd name="T83" fmla="*/ 101141 h 44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87" name="Freeform 258">
              <a:extLst>
                <a:ext uri="{FF2B5EF4-FFF2-40B4-BE49-F238E27FC236}">
                  <a16:creationId xmlns:a16="http://schemas.microsoft.com/office/drawing/2014/main" xmlns="" id="{15F576F2-8B00-274D-8E1B-8EF0722BFC41}"/>
                </a:ext>
              </a:extLst>
            </p:cNvPr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5113393" y="1894394"/>
              <a:ext cx="104376" cy="88317"/>
            </a:xfrm>
            <a:custGeom>
              <a:avLst/>
              <a:gdLst>
                <a:gd name="T0" fmla="*/ 0 w 286"/>
                <a:gd name="T1" fmla="*/ 58737 h 228"/>
                <a:gd name="T2" fmla="*/ 1687 w 286"/>
                <a:gd name="T3" fmla="*/ 57679 h 228"/>
                <a:gd name="T4" fmla="*/ 2953 w 286"/>
                <a:gd name="T5" fmla="*/ 57679 h 228"/>
                <a:gd name="T6" fmla="*/ 4219 w 286"/>
                <a:gd name="T7" fmla="*/ 58208 h 228"/>
                <a:gd name="T8" fmla="*/ 4640 w 286"/>
                <a:gd name="T9" fmla="*/ 58737 h 228"/>
                <a:gd name="T10" fmla="*/ 5062 w 286"/>
                <a:gd name="T11" fmla="*/ 61912 h 228"/>
                <a:gd name="T12" fmla="*/ 5484 w 286"/>
                <a:gd name="T13" fmla="*/ 65087 h 228"/>
                <a:gd name="T14" fmla="*/ 5906 w 286"/>
                <a:gd name="T15" fmla="*/ 67733 h 228"/>
                <a:gd name="T16" fmla="*/ 6750 w 286"/>
                <a:gd name="T17" fmla="*/ 69321 h 228"/>
                <a:gd name="T18" fmla="*/ 8015 w 286"/>
                <a:gd name="T19" fmla="*/ 70908 h 228"/>
                <a:gd name="T20" fmla="*/ 10124 w 286"/>
                <a:gd name="T21" fmla="*/ 71967 h 228"/>
                <a:gd name="T22" fmla="*/ 12234 w 286"/>
                <a:gd name="T23" fmla="*/ 72496 h 228"/>
                <a:gd name="T24" fmla="*/ 15609 w 286"/>
                <a:gd name="T25" fmla="*/ 73025 h 228"/>
                <a:gd name="T26" fmla="*/ 20249 w 286"/>
                <a:gd name="T27" fmla="*/ 73025 h 228"/>
                <a:gd name="T28" fmla="*/ 25311 w 286"/>
                <a:gd name="T29" fmla="*/ 71967 h 228"/>
                <a:gd name="T30" fmla="*/ 41342 w 286"/>
                <a:gd name="T31" fmla="*/ 68792 h 228"/>
                <a:gd name="T32" fmla="*/ 54419 w 286"/>
                <a:gd name="T33" fmla="*/ 64558 h 228"/>
                <a:gd name="T34" fmla="*/ 60325 w 286"/>
                <a:gd name="T35" fmla="*/ 62442 h 228"/>
                <a:gd name="T36" fmla="*/ 65809 w 286"/>
                <a:gd name="T37" fmla="*/ 60325 h 228"/>
                <a:gd name="T38" fmla="*/ 70449 w 286"/>
                <a:gd name="T39" fmla="*/ 57679 h 228"/>
                <a:gd name="T40" fmla="*/ 75090 w 286"/>
                <a:gd name="T41" fmla="*/ 54504 h 228"/>
                <a:gd name="T42" fmla="*/ 79308 w 286"/>
                <a:gd name="T43" fmla="*/ 50800 h 228"/>
                <a:gd name="T44" fmla="*/ 83527 w 286"/>
                <a:gd name="T45" fmla="*/ 46038 h 228"/>
                <a:gd name="T46" fmla="*/ 87745 w 286"/>
                <a:gd name="T47" fmla="*/ 41275 h 228"/>
                <a:gd name="T48" fmla="*/ 92386 w 286"/>
                <a:gd name="T49" fmla="*/ 34396 h 228"/>
                <a:gd name="T50" fmla="*/ 96604 w 286"/>
                <a:gd name="T51" fmla="*/ 27517 h 228"/>
                <a:gd name="T52" fmla="*/ 101667 w 286"/>
                <a:gd name="T53" fmla="*/ 19579 h 228"/>
                <a:gd name="T54" fmla="*/ 106729 w 286"/>
                <a:gd name="T55" fmla="*/ 10583 h 228"/>
                <a:gd name="T56" fmla="*/ 112213 w 286"/>
                <a:gd name="T57" fmla="*/ 0 h 228"/>
                <a:gd name="T58" fmla="*/ 113900 w 286"/>
                <a:gd name="T59" fmla="*/ 3704 h 228"/>
                <a:gd name="T60" fmla="*/ 115588 w 286"/>
                <a:gd name="T61" fmla="*/ 6879 h 228"/>
                <a:gd name="T62" fmla="*/ 116431 w 286"/>
                <a:gd name="T63" fmla="*/ 10583 h 228"/>
                <a:gd name="T64" fmla="*/ 117697 w 286"/>
                <a:gd name="T65" fmla="*/ 14287 h 228"/>
                <a:gd name="T66" fmla="*/ 118963 w 286"/>
                <a:gd name="T67" fmla="*/ 22225 h 228"/>
                <a:gd name="T68" fmla="*/ 120650 w 286"/>
                <a:gd name="T69" fmla="*/ 32808 h 228"/>
                <a:gd name="T70" fmla="*/ 103776 w 286"/>
                <a:gd name="T71" fmla="*/ 104775 h 228"/>
                <a:gd name="T72" fmla="*/ 95339 w 286"/>
                <a:gd name="T73" fmla="*/ 120650 h 228"/>
                <a:gd name="T74" fmla="*/ 22358 w 286"/>
                <a:gd name="T75" fmla="*/ 111125 h 228"/>
                <a:gd name="T76" fmla="*/ 0 w 286"/>
                <a:gd name="T77" fmla="*/ 58737 h 22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88" name="Freeform 259">
              <a:extLst>
                <a:ext uri="{FF2B5EF4-FFF2-40B4-BE49-F238E27FC236}">
                  <a16:creationId xmlns:a16="http://schemas.microsoft.com/office/drawing/2014/main" xmlns="" id="{4D34FD38-B2CE-7564-B663-8366C1FEC3AE}"/>
                </a:ext>
              </a:extLst>
            </p:cNvPr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4842839" y="1639905"/>
              <a:ext cx="192272" cy="192902"/>
            </a:xfrm>
            <a:custGeom>
              <a:avLst/>
              <a:gdLst>
                <a:gd name="T0" fmla="*/ 202740 w 524"/>
                <a:gd name="T1" fmla="*/ 193078 h 505"/>
                <a:gd name="T2" fmla="*/ 205284 w 524"/>
                <a:gd name="T3" fmla="*/ 180554 h 505"/>
                <a:gd name="T4" fmla="*/ 204860 w 524"/>
                <a:gd name="T5" fmla="*/ 171683 h 505"/>
                <a:gd name="T6" fmla="*/ 202740 w 524"/>
                <a:gd name="T7" fmla="*/ 157593 h 505"/>
                <a:gd name="T8" fmla="*/ 192984 w 524"/>
                <a:gd name="T9" fmla="*/ 156028 h 505"/>
                <a:gd name="T10" fmla="*/ 182805 w 524"/>
                <a:gd name="T11" fmla="*/ 150288 h 505"/>
                <a:gd name="T12" fmla="*/ 172625 w 524"/>
                <a:gd name="T13" fmla="*/ 142982 h 505"/>
                <a:gd name="T14" fmla="*/ 163719 w 524"/>
                <a:gd name="T15" fmla="*/ 133589 h 505"/>
                <a:gd name="T16" fmla="*/ 155236 w 524"/>
                <a:gd name="T17" fmla="*/ 123674 h 505"/>
                <a:gd name="T18" fmla="*/ 149298 w 524"/>
                <a:gd name="T19" fmla="*/ 112716 h 505"/>
                <a:gd name="T20" fmla="*/ 145056 w 524"/>
                <a:gd name="T21" fmla="*/ 102279 h 505"/>
                <a:gd name="T22" fmla="*/ 143784 w 524"/>
                <a:gd name="T23" fmla="*/ 92886 h 505"/>
                <a:gd name="T24" fmla="*/ 144632 w 524"/>
                <a:gd name="T25" fmla="*/ 84537 h 505"/>
                <a:gd name="T26" fmla="*/ 148025 w 524"/>
                <a:gd name="T27" fmla="*/ 78275 h 505"/>
                <a:gd name="T28" fmla="*/ 154812 w 524"/>
                <a:gd name="T29" fmla="*/ 70969 h 505"/>
                <a:gd name="T30" fmla="*/ 150146 w 524"/>
                <a:gd name="T31" fmla="*/ 67838 h 505"/>
                <a:gd name="T32" fmla="*/ 144632 w 524"/>
                <a:gd name="T33" fmla="*/ 62098 h 505"/>
                <a:gd name="T34" fmla="*/ 133604 w 524"/>
                <a:gd name="T35" fmla="*/ 45399 h 505"/>
                <a:gd name="T36" fmla="*/ 123849 w 524"/>
                <a:gd name="T37" fmla="*/ 26613 h 505"/>
                <a:gd name="T38" fmla="*/ 118335 w 524"/>
                <a:gd name="T39" fmla="*/ 13046 h 505"/>
                <a:gd name="T40" fmla="*/ 110277 w 524"/>
                <a:gd name="T41" fmla="*/ 12524 h 505"/>
                <a:gd name="T42" fmla="*/ 101370 w 524"/>
                <a:gd name="T43" fmla="*/ 9915 h 505"/>
                <a:gd name="T44" fmla="*/ 92887 w 524"/>
                <a:gd name="T45" fmla="*/ 5740 h 505"/>
                <a:gd name="T46" fmla="*/ 83556 w 524"/>
                <a:gd name="T47" fmla="*/ 3131 h 505"/>
                <a:gd name="T48" fmla="*/ 72104 w 524"/>
                <a:gd name="T49" fmla="*/ 1565 h 505"/>
                <a:gd name="T50" fmla="*/ 63197 w 524"/>
                <a:gd name="T51" fmla="*/ 4175 h 505"/>
                <a:gd name="T52" fmla="*/ 48352 w 524"/>
                <a:gd name="T53" fmla="*/ 21395 h 505"/>
                <a:gd name="T54" fmla="*/ 41566 w 524"/>
                <a:gd name="T55" fmla="*/ 29744 h 505"/>
                <a:gd name="T56" fmla="*/ 39445 w 524"/>
                <a:gd name="T57" fmla="*/ 33397 h 505"/>
                <a:gd name="T58" fmla="*/ 39869 w 524"/>
                <a:gd name="T59" fmla="*/ 49052 h 505"/>
                <a:gd name="T60" fmla="*/ 40293 w 524"/>
                <a:gd name="T61" fmla="*/ 73056 h 505"/>
                <a:gd name="T62" fmla="*/ 39869 w 524"/>
                <a:gd name="T63" fmla="*/ 85580 h 505"/>
                <a:gd name="T64" fmla="*/ 36476 w 524"/>
                <a:gd name="T65" fmla="*/ 93930 h 505"/>
                <a:gd name="T66" fmla="*/ 28417 w 524"/>
                <a:gd name="T67" fmla="*/ 102801 h 505"/>
                <a:gd name="T68" fmla="*/ 16966 w 524"/>
                <a:gd name="T69" fmla="*/ 111672 h 505"/>
                <a:gd name="T70" fmla="*/ 5514 w 524"/>
                <a:gd name="T71" fmla="*/ 118978 h 505"/>
                <a:gd name="T72" fmla="*/ 848 w 524"/>
                <a:gd name="T73" fmla="*/ 128371 h 505"/>
                <a:gd name="T74" fmla="*/ 848 w 524"/>
                <a:gd name="T75" fmla="*/ 137764 h 505"/>
                <a:gd name="T76" fmla="*/ 0 w 524"/>
                <a:gd name="T77" fmla="*/ 145069 h 505"/>
                <a:gd name="T78" fmla="*/ 0 w 524"/>
                <a:gd name="T79" fmla="*/ 150809 h 505"/>
                <a:gd name="T80" fmla="*/ 2969 w 524"/>
                <a:gd name="T81" fmla="*/ 157071 h 505"/>
                <a:gd name="T82" fmla="*/ 11028 w 524"/>
                <a:gd name="T83" fmla="*/ 163855 h 505"/>
                <a:gd name="T84" fmla="*/ 26297 w 524"/>
                <a:gd name="T85" fmla="*/ 172726 h 505"/>
                <a:gd name="T86" fmla="*/ 50897 w 524"/>
                <a:gd name="T87" fmla="*/ 185250 h 505"/>
                <a:gd name="T88" fmla="*/ 76345 w 524"/>
                <a:gd name="T89" fmla="*/ 195165 h 505"/>
                <a:gd name="T90" fmla="*/ 90766 w 524"/>
                <a:gd name="T91" fmla="*/ 200905 h 505"/>
                <a:gd name="T92" fmla="*/ 100521 w 524"/>
                <a:gd name="T93" fmla="*/ 208733 h 505"/>
                <a:gd name="T94" fmla="*/ 106884 w 524"/>
                <a:gd name="T95" fmla="*/ 218126 h 505"/>
                <a:gd name="T96" fmla="*/ 111125 w 524"/>
                <a:gd name="T97" fmla="*/ 226997 h 505"/>
                <a:gd name="T98" fmla="*/ 112822 w 524"/>
                <a:gd name="T99" fmla="*/ 235346 h 505"/>
                <a:gd name="T100" fmla="*/ 114518 w 524"/>
                <a:gd name="T101" fmla="*/ 244739 h 505"/>
                <a:gd name="T102" fmla="*/ 117487 w 524"/>
                <a:gd name="T103" fmla="*/ 251001 h 505"/>
                <a:gd name="T104" fmla="*/ 121729 w 524"/>
                <a:gd name="T105" fmla="*/ 255176 h 505"/>
                <a:gd name="T106" fmla="*/ 130211 w 524"/>
                <a:gd name="T107" fmla="*/ 259350 h 505"/>
                <a:gd name="T108" fmla="*/ 139118 w 524"/>
                <a:gd name="T109" fmla="*/ 262481 h 505"/>
                <a:gd name="T110" fmla="*/ 142087 w 524"/>
                <a:gd name="T111" fmla="*/ 260916 h 505"/>
                <a:gd name="T112" fmla="*/ 146753 w 524"/>
                <a:gd name="T113" fmla="*/ 260394 h 505"/>
                <a:gd name="T114" fmla="*/ 155236 w 524"/>
                <a:gd name="T115" fmla="*/ 262481 h 505"/>
                <a:gd name="T116" fmla="*/ 162446 w 524"/>
                <a:gd name="T117" fmla="*/ 263525 h 505"/>
                <a:gd name="T118" fmla="*/ 185350 w 524"/>
                <a:gd name="T119" fmla="*/ 263525 h 505"/>
                <a:gd name="T120" fmla="*/ 197226 w 524"/>
                <a:gd name="T121" fmla="*/ 234302 h 505"/>
                <a:gd name="T122" fmla="*/ 208677 w 524"/>
                <a:gd name="T123" fmla="*/ 228040 h 50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89" name="Freeform 260">
              <a:extLst>
                <a:ext uri="{FF2B5EF4-FFF2-40B4-BE49-F238E27FC236}">
                  <a16:creationId xmlns:a16="http://schemas.microsoft.com/office/drawing/2014/main" xmlns="" id="{7981A963-B273-7377-C40C-BAC5253B2C48}"/>
                </a:ext>
              </a:extLst>
            </p:cNvPr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5275451" y="1610853"/>
              <a:ext cx="287036" cy="212656"/>
            </a:xfrm>
            <a:custGeom>
              <a:avLst/>
              <a:gdLst>
                <a:gd name="T0" fmla="*/ 26925 w 764"/>
                <a:gd name="T1" fmla="*/ 102595 h 555"/>
                <a:gd name="T2" fmla="*/ 40388 w 764"/>
                <a:gd name="T3" fmla="*/ 99455 h 555"/>
                <a:gd name="T4" fmla="*/ 55588 w 764"/>
                <a:gd name="T5" fmla="*/ 95267 h 555"/>
                <a:gd name="T6" fmla="*/ 75999 w 764"/>
                <a:gd name="T7" fmla="*/ 79040 h 555"/>
                <a:gd name="T8" fmla="*/ 84250 w 764"/>
                <a:gd name="T9" fmla="*/ 65954 h 555"/>
                <a:gd name="T10" fmla="*/ 86421 w 764"/>
                <a:gd name="T11" fmla="*/ 46063 h 555"/>
                <a:gd name="T12" fmla="*/ 90330 w 764"/>
                <a:gd name="T13" fmla="*/ 36118 h 555"/>
                <a:gd name="T14" fmla="*/ 104227 w 764"/>
                <a:gd name="T15" fmla="*/ 31407 h 555"/>
                <a:gd name="T16" fmla="*/ 127678 w 764"/>
                <a:gd name="T17" fmla="*/ 32454 h 555"/>
                <a:gd name="T18" fmla="*/ 142877 w 764"/>
                <a:gd name="T19" fmla="*/ 37165 h 555"/>
                <a:gd name="T20" fmla="*/ 157208 w 764"/>
                <a:gd name="T21" fmla="*/ 47110 h 555"/>
                <a:gd name="T22" fmla="*/ 167631 w 764"/>
                <a:gd name="T23" fmla="*/ 48680 h 555"/>
                <a:gd name="T24" fmla="*/ 181962 w 764"/>
                <a:gd name="T25" fmla="*/ 43969 h 555"/>
                <a:gd name="T26" fmla="*/ 199768 w 764"/>
                <a:gd name="T27" fmla="*/ 31930 h 555"/>
                <a:gd name="T28" fmla="*/ 208019 w 764"/>
                <a:gd name="T29" fmla="*/ 17274 h 555"/>
                <a:gd name="T30" fmla="*/ 220613 w 764"/>
                <a:gd name="T31" fmla="*/ 2094 h 555"/>
                <a:gd name="T32" fmla="*/ 230167 w 764"/>
                <a:gd name="T33" fmla="*/ 9945 h 555"/>
                <a:gd name="T34" fmla="*/ 238853 w 764"/>
                <a:gd name="T35" fmla="*/ 23555 h 555"/>
                <a:gd name="T36" fmla="*/ 243630 w 764"/>
                <a:gd name="T37" fmla="*/ 45540 h 555"/>
                <a:gd name="T38" fmla="*/ 247538 w 764"/>
                <a:gd name="T39" fmla="*/ 52868 h 555"/>
                <a:gd name="T40" fmla="*/ 255789 w 764"/>
                <a:gd name="T41" fmla="*/ 54438 h 555"/>
                <a:gd name="T42" fmla="*/ 270121 w 764"/>
                <a:gd name="T43" fmla="*/ 38211 h 555"/>
                <a:gd name="T44" fmla="*/ 322668 w 764"/>
                <a:gd name="T45" fmla="*/ 34547 h 555"/>
                <a:gd name="T46" fmla="*/ 329617 w 764"/>
                <a:gd name="T47" fmla="*/ 45540 h 555"/>
                <a:gd name="T48" fmla="*/ 294874 w 764"/>
                <a:gd name="T49" fmla="*/ 52345 h 555"/>
                <a:gd name="T50" fmla="*/ 262738 w 764"/>
                <a:gd name="T51" fmla="*/ 58626 h 555"/>
                <a:gd name="T52" fmla="*/ 249275 w 764"/>
                <a:gd name="T53" fmla="*/ 68048 h 555"/>
                <a:gd name="T54" fmla="*/ 247972 w 764"/>
                <a:gd name="T55" fmla="*/ 76946 h 555"/>
                <a:gd name="T56" fmla="*/ 252749 w 764"/>
                <a:gd name="T57" fmla="*/ 85845 h 555"/>
                <a:gd name="T58" fmla="*/ 261001 w 764"/>
                <a:gd name="T59" fmla="*/ 94220 h 555"/>
                <a:gd name="T60" fmla="*/ 262304 w 764"/>
                <a:gd name="T61" fmla="*/ 102072 h 555"/>
                <a:gd name="T62" fmla="*/ 257961 w 764"/>
                <a:gd name="T63" fmla="*/ 111494 h 555"/>
                <a:gd name="T64" fmla="*/ 249275 w 764"/>
                <a:gd name="T65" fmla="*/ 124056 h 555"/>
                <a:gd name="T66" fmla="*/ 245367 w 764"/>
                <a:gd name="T67" fmla="*/ 133478 h 555"/>
                <a:gd name="T68" fmla="*/ 235378 w 764"/>
                <a:gd name="T69" fmla="*/ 140807 h 555"/>
                <a:gd name="T70" fmla="*/ 225390 w 764"/>
                <a:gd name="T71" fmla="*/ 162268 h 555"/>
                <a:gd name="T72" fmla="*/ 220613 w 764"/>
                <a:gd name="T73" fmla="*/ 190011 h 555"/>
                <a:gd name="T74" fmla="*/ 215836 w 764"/>
                <a:gd name="T75" fmla="*/ 222464 h 555"/>
                <a:gd name="T76" fmla="*/ 207150 w 764"/>
                <a:gd name="T77" fmla="*/ 215659 h 555"/>
                <a:gd name="T78" fmla="*/ 199768 w 764"/>
                <a:gd name="T79" fmla="*/ 213042 h 555"/>
                <a:gd name="T80" fmla="*/ 190648 w 764"/>
                <a:gd name="T81" fmla="*/ 218800 h 555"/>
                <a:gd name="T82" fmla="*/ 178488 w 764"/>
                <a:gd name="T83" fmla="*/ 230316 h 555"/>
                <a:gd name="T84" fmla="*/ 170671 w 764"/>
                <a:gd name="T85" fmla="*/ 232410 h 555"/>
                <a:gd name="T86" fmla="*/ 162854 w 764"/>
                <a:gd name="T87" fmla="*/ 242355 h 555"/>
                <a:gd name="T88" fmla="*/ 158511 w 764"/>
                <a:gd name="T89" fmla="*/ 267480 h 555"/>
                <a:gd name="T90" fmla="*/ 151997 w 764"/>
                <a:gd name="T91" fmla="*/ 274809 h 555"/>
                <a:gd name="T92" fmla="*/ 117255 w 764"/>
                <a:gd name="T93" fmla="*/ 285801 h 555"/>
                <a:gd name="T94" fmla="*/ 84250 w 764"/>
                <a:gd name="T95" fmla="*/ 289989 h 555"/>
                <a:gd name="T96" fmla="*/ 49073 w 764"/>
                <a:gd name="T97" fmla="*/ 283707 h 555"/>
                <a:gd name="T98" fmla="*/ 41256 w 764"/>
                <a:gd name="T99" fmla="*/ 271145 h 555"/>
                <a:gd name="T100" fmla="*/ 49942 w 764"/>
                <a:gd name="T101" fmla="*/ 255441 h 555"/>
                <a:gd name="T102" fmla="*/ 54285 w 764"/>
                <a:gd name="T103" fmla="*/ 241832 h 555"/>
                <a:gd name="T104" fmla="*/ 53416 w 764"/>
                <a:gd name="T105" fmla="*/ 231363 h 555"/>
                <a:gd name="T106" fmla="*/ 48205 w 764"/>
                <a:gd name="T107" fmla="*/ 226652 h 555"/>
                <a:gd name="T108" fmla="*/ 29965 w 764"/>
                <a:gd name="T109" fmla="*/ 225605 h 555"/>
                <a:gd name="T110" fmla="*/ 22582 w 764"/>
                <a:gd name="T111" fmla="*/ 220370 h 555"/>
                <a:gd name="T112" fmla="*/ 14765 w 764"/>
                <a:gd name="T113" fmla="*/ 201003 h 555"/>
                <a:gd name="T114" fmla="*/ 8251 w 764"/>
                <a:gd name="T115" fmla="*/ 161745 h 555"/>
                <a:gd name="T116" fmla="*/ 4343 w 764"/>
                <a:gd name="T117" fmla="*/ 152323 h 555"/>
                <a:gd name="T118" fmla="*/ 0 w 764"/>
                <a:gd name="T119" fmla="*/ 146565 h 555"/>
                <a:gd name="T120" fmla="*/ 869 w 764"/>
                <a:gd name="T121" fmla="*/ 140283 h 555"/>
                <a:gd name="T122" fmla="*/ 9554 w 764"/>
                <a:gd name="T123" fmla="*/ 129814 h 555"/>
                <a:gd name="T124" fmla="*/ 14765 w 764"/>
                <a:gd name="T125" fmla="*/ 115681 h 55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90" name="Freeform 261">
              <a:extLst>
                <a:ext uri="{FF2B5EF4-FFF2-40B4-BE49-F238E27FC236}">
                  <a16:creationId xmlns:a16="http://schemas.microsoft.com/office/drawing/2014/main" xmlns="" id="{C98D1168-16D6-4315-9C0D-5A06B6F67F0C}"/>
                </a:ext>
              </a:extLst>
            </p:cNvPr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5302920" y="1646877"/>
              <a:ext cx="315876" cy="310269"/>
            </a:xfrm>
            <a:custGeom>
              <a:avLst/>
              <a:gdLst>
                <a:gd name="T0" fmla="*/ 342277 w 831"/>
                <a:gd name="T1" fmla="*/ 42804 h 812"/>
                <a:gd name="T2" fmla="*/ 310642 w 831"/>
                <a:gd name="T3" fmla="*/ 15138 h 812"/>
                <a:gd name="T4" fmla="*/ 246932 w 831"/>
                <a:gd name="T5" fmla="*/ 5220 h 812"/>
                <a:gd name="T6" fmla="*/ 219251 w 831"/>
                <a:gd name="T7" fmla="*/ 15138 h 812"/>
                <a:gd name="T8" fmla="*/ 213539 w 831"/>
                <a:gd name="T9" fmla="*/ 25578 h 812"/>
                <a:gd name="T10" fmla="*/ 218372 w 831"/>
                <a:gd name="T11" fmla="*/ 37062 h 812"/>
                <a:gd name="T12" fmla="*/ 227160 w 831"/>
                <a:gd name="T13" fmla="*/ 46980 h 812"/>
                <a:gd name="T14" fmla="*/ 226720 w 831"/>
                <a:gd name="T15" fmla="*/ 57942 h 812"/>
                <a:gd name="T16" fmla="*/ 215736 w 831"/>
                <a:gd name="T17" fmla="*/ 73080 h 812"/>
                <a:gd name="T18" fmla="*/ 210903 w 831"/>
                <a:gd name="T19" fmla="*/ 84564 h 812"/>
                <a:gd name="T20" fmla="*/ 197721 w 831"/>
                <a:gd name="T21" fmla="*/ 96048 h 812"/>
                <a:gd name="T22" fmla="*/ 187615 w 831"/>
                <a:gd name="T23" fmla="*/ 126846 h 812"/>
                <a:gd name="T24" fmla="*/ 184540 w 831"/>
                <a:gd name="T25" fmla="*/ 173304 h 812"/>
                <a:gd name="T26" fmla="*/ 172237 w 831"/>
                <a:gd name="T27" fmla="*/ 166518 h 812"/>
                <a:gd name="T28" fmla="*/ 162571 w 831"/>
                <a:gd name="T29" fmla="*/ 164430 h 812"/>
                <a:gd name="T30" fmla="*/ 148511 w 831"/>
                <a:gd name="T31" fmla="*/ 176958 h 812"/>
                <a:gd name="T32" fmla="*/ 137526 w 831"/>
                <a:gd name="T33" fmla="*/ 183222 h 812"/>
                <a:gd name="T34" fmla="*/ 127420 w 831"/>
                <a:gd name="T35" fmla="*/ 193140 h 812"/>
                <a:gd name="T36" fmla="*/ 123026 w 831"/>
                <a:gd name="T37" fmla="*/ 221327 h 812"/>
                <a:gd name="T38" fmla="*/ 103254 w 831"/>
                <a:gd name="T39" fmla="*/ 230723 h 812"/>
                <a:gd name="T40" fmla="*/ 55801 w 831"/>
                <a:gd name="T41" fmla="*/ 241163 h 812"/>
                <a:gd name="T42" fmla="*/ 11424 w 831"/>
                <a:gd name="T43" fmla="*/ 234377 h 812"/>
                <a:gd name="T44" fmla="*/ 22408 w 831"/>
                <a:gd name="T45" fmla="*/ 263609 h 812"/>
                <a:gd name="T46" fmla="*/ 42181 w 831"/>
                <a:gd name="T47" fmla="*/ 281879 h 812"/>
                <a:gd name="T48" fmla="*/ 54044 w 831"/>
                <a:gd name="T49" fmla="*/ 301193 h 812"/>
                <a:gd name="T50" fmla="*/ 62392 w 831"/>
                <a:gd name="T51" fmla="*/ 311111 h 812"/>
                <a:gd name="T52" fmla="*/ 43499 w 831"/>
                <a:gd name="T53" fmla="*/ 337733 h 812"/>
                <a:gd name="T54" fmla="*/ 38226 w 831"/>
                <a:gd name="T55" fmla="*/ 350261 h 812"/>
                <a:gd name="T56" fmla="*/ 47892 w 831"/>
                <a:gd name="T57" fmla="*/ 375839 h 812"/>
                <a:gd name="T58" fmla="*/ 97542 w 831"/>
                <a:gd name="T59" fmla="*/ 370619 h 812"/>
                <a:gd name="T60" fmla="*/ 132693 w 831"/>
                <a:gd name="T61" fmla="*/ 368009 h 812"/>
                <a:gd name="T62" fmla="*/ 144995 w 831"/>
                <a:gd name="T63" fmla="*/ 376361 h 812"/>
                <a:gd name="T64" fmla="*/ 157738 w 831"/>
                <a:gd name="T65" fmla="*/ 394631 h 812"/>
                <a:gd name="T66" fmla="*/ 179267 w 831"/>
                <a:gd name="T67" fmla="*/ 409769 h 812"/>
                <a:gd name="T68" fmla="*/ 197282 w 831"/>
                <a:gd name="T69" fmla="*/ 419165 h 812"/>
                <a:gd name="T70" fmla="*/ 202115 w 831"/>
                <a:gd name="T71" fmla="*/ 412901 h 812"/>
                <a:gd name="T72" fmla="*/ 213978 w 831"/>
                <a:gd name="T73" fmla="*/ 404027 h 812"/>
                <a:gd name="T74" fmla="*/ 243417 w 831"/>
                <a:gd name="T75" fmla="*/ 398807 h 812"/>
                <a:gd name="T76" fmla="*/ 262310 w 831"/>
                <a:gd name="T77" fmla="*/ 391499 h 812"/>
                <a:gd name="T78" fmla="*/ 271537 w 831"/>
                <a:gd name="T79" fmla="*/ 379493 h 812"/>
                <a:gd name="T80" fmla="*/ 256598 w 831"/>
                <a:gd name="T81" fmla="*/ 365399 h 812"/>
                <a:gd name="T82" fmla="*/ 238144 w 831"/>
                <a:gd name="T83" fmla="*/ 334601 h 812"/>
                <a:gd name="T84" fmla="*/ 231114 w 831"/>
                <a:gd name="T85" fmla="*/ 325727 h 812"/>
                <a:gd name="T86" fmla="*/ 231114 w 831"/>
                <a:gd name="T87" fmla="*/ 301715 h 812"/>
                <a:gd name="T88" fmla="*/ 255719 w 831"/>
                <a:gd name="T89" fmla="*/ 293885 h 812"/>
                <a:gd name="T90" fmla="*/ 273295 w 831"/>
                <a:gd name="T91" fmla="*/ 277181 h 812"/>
                <a:gd name="T92" fmla="*/ 302294 w 831"/>
                <a:gd name="T93" fmla="*/ 217673 h 812"/>
                <a:gd name="T94" fmla="*/ 320748 w 831"/>
                <a:gd name="T95" fmla="*/ 192096 h 812"/>
                <a:gd name="T96" fmla="*/ 318551 w 831"/>
                <a:gd name="T97" fmla="*/ 172260 h 812"/>
                <a:gd name="T98" fmla="*/ 320308 w 831"/>
                <a:gd name="T99" fmla="*/ 159210 h 812"/>
                <a:gd name="T100" fmla="*/ 329975 w 831"/>
                <a:gd name="T101" fmla="*/ 150858 h 812"/>
                <a:gd name="T102" fmla="*/ 294385 w 831"/>
                <a:gd name="T103" fmla="*/ 108054 h 812"/>
                <a:gd name="T104" fmla="*/ 333050 w 831"/>
                <a:gd name="T105" fmla="*/ 73080 h 812"/>
                <a:gd name="T106" fmla="*/ 353701 w 831"/>
                <a:gd name="T107" fmla="*/ 64206 h 8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91" name="Freeform 262">
              <a:extLst>
                <a:ext uri="{FF2B5EF4-FFF2-40B4-BE49-F238E27FC236}">
                  <a16:creationId xmlns:a16="http://schemas.microsoft.com/office/drawing/2014/main" xmlns="" id="{AC1C2446-2EFC-08B6-D3DF-4EE3AAC72452}"/>
                </a:ext>
              </a:extLst>
            </p:cNvPr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5986860" y="1843265"/>
              <a:ext cx="190900" cy="428798"/>
            </a:xfrm>
            <a:custGeom>
              <a:avLst/>
              <a:gdLst>
                <a:gd name="T0" fmla="*/ 191387 w 505"/>
                <a:gd name="T1" fmla="*/ 557569 h 1121"/>
                <a:gd name="T2" fmla="*/ 193572 w 505"/>
                <a:gd name="T3" fmla="*/ 537189 h 1121"/>
                <a:gd name="T4" fmla="*/ 174346 w 505"/>
                <a:gd name="T5" fmla="*/ 534054 h 1121"/>
                <a:gd name="T6" fmla="*/ 176967 w 505"/>
                <a:gd name="T7" fmla="*/ 500088 h 1121"/>
                <a:gd name="T8" fmla="*/ 183085 w 505"/>
                <a:gd name="T9" fmla="*/ 486501 h 1121"/>
                <a:gd name="T10" fmla="*/ 180463 w 505"/>
                <a:gd name="T11" fmla="*/ 469779 h 1121"/>
                <a:gd name="T12" fmla="*/ 173909 w 505"/>
                <a:gd name="T13" fmla="*/ 466644 h 1121"/>
                <a:gd name="T14" fmla="*/ 166917 w 505"/>
                <a:gd name="T15" fmla="*/ 437903 h 1121"/>
                <a:gd name="T16" fmla="*/ 141574 w 505"/>
                <a:gd name="T17" fmla="*/ 375719 h 1121"/>
                <a:gd name="T18" fmla="*/ 129339 w 505"/>
                <a:gd name="T19" fmla="*/ 367358 h 1121"/>
                <a:gd name="T20" fmla="*/ 123222 w 505"/>
                <a:gd name="T21" fmla="*/ 375196 h 1121"/>
                <a:gd name="T22" fmla="*/ 98752 w 505"/>
                <a:gd name="T23" fmla="*/ 387738 h 1121"/>
                <a:gd name="T24" fmla="*/ 73846 w 505"/>
                <a:gd name="T25" fmla="*/ 384602 h 1121"/>
                <a:gd name="T26" fmla="*/ 58115 w 505"/>
                <a:gd name="T27" fmla="*/ 296290 h 1121"/>
                <a:gd name="T28" fmla="*/ 44133 w 505"/>
                <a:gd name="T29" fmla="*/ 271730 h 1121"/>
                <a:gd name="T30" fmla="*/ 22285 w 505"/>
                <a:gd name="T31" fmla="*/ 262324 h 1121"/>
                <a:gd name="T32" fmla="*/ 3496 w 505"/>
                <a:gd name="T33" fmla="*/ 246125 h 1121"/>
                <a:gd name="T34" fmla="*/ 10050 w 505"/>
                <a:gd name="T35" fmla="*/ 232538 h 1121"/>
                <a:gd name="T36" fmla="*/ 25343 w 505"/>
                <a:gd name="T37" fmla="*/ 188643 h 1121"/>
                <a:gd name="T38" fmla="*/ 29276 w 505"/>
                <a:gd name="T39" fmla="*/ 144748 h 1121"/>
                <a:gd name="T40" fmla="*/ 34957 w 505"/>
                <a:gd name="T41" fmla="*/ 138478 h 1121"/>
                <a:gd name="T42" fmla="*/ 49376 w 505"/>
                <a:gd name="T43" fmla="*/ 134820 h 1121"/>
                <a:gd name="T44" fmla="*/ 58552 w 505"/>
                <a:gd name="T45" fmla="*/ 116008 h 1121"/>
                <a:gd name="T46" fmla="*/ 61174 w 505"/>
                <a:gd name="T47" fmla="*/ 61139 h 1121"/>
                <a:gd name="T48" fmla="*/ 69476 w 505"/>
                <a:gd name="T49" fmla="*/ 51211 h 1121"/>
                <a:gd name="T50" fmla="*/ 93072 w 505"/>
                <a:gd name="T51" fmla="*/ 38669 h 1121"/>
                <a:gd name="T52" fmla="*/ 102248 w 505"/>
                <a:gd name="T53" fmla="*/ 10974 h 1121"/>
                <a:gd name="T54" fmla="*/ 121037 w 505"/>
                <a:gd name="T55" fmla="*/ 16199 h 1121"/>
                <a:gd name="T56" fmla="*/ 136330 w 505"/>
                <a:gd name="T57" fmla="*/ 25605 h 1121"/>
                <a:gd name="T58" fmla="*/ 147254 w 505"/>
                <a:gd name="T59" fmla="*/ 63752 h 1121"/>
                <a:gd name="T60" fmla="*/ 146380 w 505"/>
                <a:gd name="T61" fmla="*/ 87267 h 1121"/>
                <a:gd name="T62" fmla="*/ 131087 w 505"/>
                <a:gd name="T63" fmla="*/ 112872 h 1121"/>
                <a:gd name="T64" fmla="*/ 128028 w 505"/>
                <a:gd name="T65" fmla="*/ 128027 h 1121"/>
                <a:gd name="T66" fmla="*/ 135020 w 505"/>
                <a:gd name="T67" fmla="*/ 136388 h 1121"/>
                <a:gd name="T68" fmla="*/ 151187 w 505"/>
                <a:gd name="T69" fmla="*/ 141091 h 1121"/>
                <a:gd name="T70" fmla="*/ 162111 w 505"/>
                <a:gd name="T71" fmla="*/ 152064 h 1121"/>
                <a:gd name="T72" fmla="*/ 173909 w 505"/>
                <a:gd name="T73" fmla="*/ 180282 h 1121"/>
                <a:gd name="T74" fmla="*/ 187891 w 505"/>
                <a:gd name="T75" fmla="*/ 209023 h 1121"/>
                <a:gd name="T76" fmla="*/ 202748 w 505"/>
                <a:gd name="T77" fmla="*/ 218429 h 1121"/>
                <a:gd name="T78" fmla="*/ 220663 w 505"/>
                <a:gd name="T79" fmla="*/ 218429 h 1121"/>
                <a:gd name="T80" fmla="*/ 207991 w 505"/>
                <a:gd name="T81" fmla="*/ 258143 h 1121"/>
                <a:gd name="T82" fmla="*/ 186580 w 505"/>
                <a:gd name="T83" fmla="*/ 266504 h 1121"/>
                <a:gd name="T84" fmla="*/ 167354 w 505"/>
                <a:gd name="T85" fmla="*/ 275910 h 1121"/>
                <a:gd name="T86" fmla="*/ 157304 w 505"/>
                <a:gd name="T87" fmla="*/ 298903 h 1121"/>
                <a:gd name="T88" fmla="*/ 161674 w 505"/>
                <a:gd name="T89" fmla="*/ 332869 h 1121"/>
                <a:gd name="T90" fmla="*/ 175656 w 505"/>
                <a:gd name="T91" fmla="*/ 356907 h 1121"/>
                <a:gd name="T92" fmla="*/ 187891 w 505"/>
                <a:gd name="T93" fmla="*/ 384080 h 1121"/>
                <a:gd name="T94" fmla="*/ 187017 w 505"/>
                <a:gd name="T95" fmla="*/ 405505 h 1121"/>
                <a:gd name="T96" fmla="*/ 183085 w 505"/>
                <a:gd name="T97" fmla="*/ 418569 h 1121"/>
                <a:gd name="T98" fmla="*/ 190076 w 505"/>
                <a:gd name="T99" fmla="*/ 444696 h 1121"/>
                <a:gd name="T100" fmla="*/ 211050 w 505"/>
                <a:gd name="T101" fmla="*/ 504268 h 1121"/>
                <a:gd name="T102" fmla="*/ 200126 w 505"/>
                <a:gd name="T103" fmla="*/ 565407 h 112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92" name="Freeform 263">
              <a:extLst>
                <a:ext uri="{FF2B5EF4-FFF2-40B4-BE49-F238E27FC236}">
                  <a16:creationId xmlns:a16="http://schemas.microsoft.com/office/drawing/2014/main" xmlns="" id="{54340BB6-FACE-ED1F-6ED7-CE3AA8418D4A}"/>
                </a:ext>
              </a:extLst>
            </p:cNvPr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3671350" y="2216284"/>
              <a:ext cx="70043" cy="42997"/>
            </a:xfrm>
            <a:custGeom>
              <a:avLst/>
              <a:gdLst>
                <a:gd name="T0" fmla="*/ 80963 w 180"/>
                <a:gd name="T1" fmla="*/ 3671 h 112"/>
                <a:gd name="T2" fmla="*/ 76915 w 180"/>
                <a:gd name="T3" fmla="*/ 12587 h 112"/>
                <a:gd name="T4" fmla="*/ 73316 w 180"/>
                <a:gd name="T5" fmla="*/ 20453 h 112"/>
                <a:gd name="T6" fmla="*/ 68369 w 180"/>
                <a:gd name="T7" fmla="*/ 27796 h 112"/>
                <a:gd name="T8" fmla="*/ 63421 w 180"/>
                <a:gd name="T9" fmla="*/ 34613 h 112"/>
                <a:gd name="T10" fmla="*/ 58023 w 180"/>
                <a:gd name="T11" fmla="*/ 41956 h 112"/>
                <a:gd name="T12" fmla="*/ 51726 w 180"/>
                <a:gd name="T13" fmla="*/ 48249 h 112"/>
                <a:gd name="T14" fmla="*/ 45429 w 180"/>
                <a:gd name="T15" fmla="*/ 53494 h 112"/>
                <a:gd name="T16" fmla="*/ 39132 w 180"/>
                <a:gd name="T17" fmla="*/ 58738 h 112"/>
                <a:gd name="T18" fmla="*/ 36883 w 180"/>
                <a:gd name="T19" fmla="*/ 56116 h 112"/>
                <a:gd name="T20" fmla="*/ 35534 w 180"/>
                <a:gd name="T21" fmla="*/ 52969 h 112"/>
                <a:gd name="T22" fmla="*/ 34184 w 180"/>
                <a:gd name="T23" fmla="*/ 49822 h 112"/>
                <a:gd name="T24" fmla="*/ 33285 w 180"/>
                <a:gd name="T25" fmla="*/ 46151 h 112"/>
                <a:gd name="T26" fmla="*/ 31486 w 180"/>
                <a:gd name="T27" fmla="*/ 42480 h 112"/>
                <a:gd name="T28" fmla="*/ 30586 w 180"/>
                <a:gd name="T29" fmla="*/ 38809 h 112"/>
                <a:gd name="T30" fmla="*/ 29237 w 180"/>
                <a:gd name="T31" fmla="*/ 36187 h 112"/>
                <a:gd name="T32" fmla="*/ 26988 w 180"/>
                <a:gd name="T33" fmla="*/ 33040 h 112"/>
                <a:gd name="T34" fmla="*/ 20241 w 180"/>
                <a:gd name="T35" fmla="*/ 25173 h 112"/>
                <a:gd name="T36" fmla="*/ 16193 w 180"/>
                <a:gd name="T37" fmla="*/ 19929 h 112"/>
                <a:gd name="T38" fmla="*/ 13494 w 180"/>
                <a:gd name="T39" fmla="*/ 17307 h 112"/>
                <a:gd name="T40" fmla="*/ 11245 w 180"/>
                <a:gd name="T41" fmla="*/ 16258 h 112"/>
                <a:gd name="T42" fmla="*/ 8096 w 180"/>
                <a:gd name="T43" fmla="*/ 15733 h 112"/>
                <a:gd name="T44" fmla="*/ 0 w 180"/>
                <a:gd name="T45" fmla="*/ 13636 h 112"/>
                <a:gd name="T46" fmla="*/ 11695 w 180"/>
                <a:gd name="T47" fmla="*/ 7342 h 112"/>
                <a:gd name="T48" fmla="*/ 18442 w 180"/>
                <a:gd name="T49" fmla="*/ 4720 h 112"/>
                <a:gd name="T50" fmla="*/ 25188 w 180"/>
                <a:gd name="T51" fmla="*/ 2622 h 112"/>
                <a:gd name="T52" fmla="*/ 33285 w 180"/>
                <a:gd name="T53" fmla="*/ 1573 h 112"/>
                <a:gd name="T54" fmla="*/ 41831 w 180"/>
                <a:gd name="T55" fmla="*/ 524 h 112"/>
                <a:gd name="T56" fmla="*/ 51277 w 180"/>
                <a:gd name="T57" fmla="*/ 0 h 112"/>
                <a:gd name="T58" fmla="*/ 60722 w 180"/>
                <a:gd name="T59" fmla="*/ 524 h 112"/>
                <a:gd name="T60" fmla="*/ 70618 w 180"/>
                <a:gd name="T61" fmla="*/ 1573 h 112"/>
                <a:gd name="T62" fmla="*/ 80963 w 180"/>
                <a:gd name="T63" fmla="*/ 3671 h 11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93" name="Freeform 264">
              <a:extLst>
                <a:ext uri="{FF2B5EF4-FFF2-40B4-BE49-F238E27FC236}">
                  <a16:creationId xmlns:a16="http://schemas.microsoft.com/office/drawing/2014/main" xmlns="" id="{231CB68F-1879-65F3-9CAE-37FCB2D74EE4}"/>
                </a:ext>
              </a:extLst>
            </p:cNvPr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3744139" y="2276712"/>
              <a:ext cx="64548" cy="73210"/>
            </a:xfrm>
            <a:custGeom>
              <a:avLst/>
              <a:gdLst>
                <a:gd name="T0" fmla="*/ 0 w 173"/>
                <a:gd name="T1" fmla="*/ 35421 h 192"/>
                <a:gd name="T2" fmla="*/ 11645 w 173"/>
                <a:gd name="T3" fmla="*/ 21878 h 192"/>
                <a:gd name="T4" fmla="*/ 21995 w 173"/>
                <a:gd name="T5" fmla="*/ 10939 h 192"/>
                <a:gd name="T6" fmla="*/ 24152 w 173"/>
                <a:gd name="T7" fmla="*/ 8334 h 192"/>
                <a:gd name="T8" fmla="*/ 27171 w 173"/>
                <a:gd name="T9" fmla="*/ 6251 h 192"/>
                <a:gd name="T10" fmla="*/ 30190 w 173"/>
                <a:gd name="T11" fmla="*/ 4167 h 192"/>
                <a:gd name="T12" fmla="*/ 32778 w 173"/>
                <a:gd name="T13" fmla="*/ 3125 h 192"/>
                <a:gd name="T14" fmla="*/ 35797 w 173"/>
                <a:gd name="T15" fmla="*/ 1563 h 192"/>
                <a:gd name="T16" fmla="*/ 38815 w 173"/>
                <a:gd name="T17" fmla="*/ 1042 h 192"/>
                <a:gd name="T18" fmla="*/ 42266 w 173"/>
                <a:gd name="T19" fmla="*/ 521 h 192"/>
                <a:gd name="T20" fmla="*/ 46147 w 173"/>
                <a:gd name="T21" fmla="*/ 0 h 192"/>
                <a:gd name="T22" fmla="*/ 50029 w 173"/>
                <a:gd name="T23" fmla="*/ 521 h 192"/>
                <a:gd name="T24" fmla="*/ 53479 w 173"/>
                <a:gd name="T25" fmla="*/ 1042 h 192"/>
                <a:gd name="T26" fmla="*/ 56929 w 173"/>
                <a:gd name="T27" fmla="*/ 2605 h 192"/>
                <a:gd name="T28" fmla="*/ 59948 w 173"/>
                <a:gd name="T29" fmla="*/ 4167 h 192"/>
                <a:gd name="T30" fmla="*/ 62536 w 173"/>
                <a:gd name="T31" fmla="*/ 6772 h 192"/>
                <a:gd name="T32" fmla="*/ 65124 w 173"/>
                <a:gd name="T33" fmla="*/ 9897 h 192"/>
                <a:gd name="T34" fmla="*/ 66849 w 173"/>
                <a:gd name="T35" fmla="*/ 12502 h 192"/>
                <a:gd name="T36" fmla="*/ 69005 w 173"/>
                <a:gd name="T37" fmla="*/ 15627 h 192"/>
                <a:gd name="T38" fmla="*/ 70299 w 173"/>
                <a:gd name="T39" fmla="*/ 19273 h 192"/>
                <a:gd name="T40" fmla="*/ 71593 w 173"/>
                <a:gd name="T41" fmla="*/ 22399 h 192"/>
                <a:gd name="T42" fmla="*/ 72456 w 173"/>
                <a:gd name="T43" fmla="*/ 26045 h 192"/>
                <a:gd name="T44" fmla="*/ 72887 w 173"/>
                <a:gd name="T45" fmla="*/ 29691 h 192"/>
                <a:gd name="T46" fmla="*/ 74181 w 173"/>
                <a:gd name="T47" fmla="*/ 37505 h 192"/>
                <a:gd name="T48" fmla="*/ 74612 w 173"/>
                <a:gd name="T49" fmla="*/ 45318 h 192"/>
                <a:gd name="T50" fmla="*/ 67711 w 173"/>
                <a:gd name="T51" fmla="*/ 59383 h 192"/>
                <a:gd name="T52" fmla="*/ 62967 w 173"/>
                <a:gd name="T53" fmla="*/ 71363 h 192"/>
                <a:gd name="T54" fmla="*/ 59948 w 173"/>
                <a:gd name="T55" fmla="*/ 77093 h 192"/>
                <a:gd name="T56" fmla="*/ 56067 w 173"/>
                <a:gd name="T57" fmla="*/ 83344 h 192"/>
                <a:gd name="T58" fmla="*/ 50460 w 173"/>
                <a:gd name="T59" fmla="*/ 90637 h 192"/>
                <a:gd name="T60" fmla="*/ 42697 w 173"/>
                <a:gd name="T61" fmla="*/ 100013 h 192"/>
                <a:gd name="T62" fmla="*/ 37090 w 173"/>
                <a:gd name="T63" fmla="*/ 95325 h 192"/>
                <a:gd name="T64" fmla="*/ 31915 w 173"/>
                <a:gd name="T65" fmla="*/ 91679 h 192"/>
                <a:gd name="T66" fmla="*/ 27171 w 173"/>
                <a:gd name="T67" fmla="*/ 88032 h 192"/>
                <a:gd name="T68" fmla="*/ 23289 w 173"/>
                <a:gd name="T69" fmla="*/ 84907 h 192"/>
                <a:gd name="T70" fmla="*/ 19839 w 173"/>
                <a:gd name="T71" fmla="*/ 81261 h 192"/>
                <a:gd name="T72" fmla="*/ 17251 w 173"/>
                <a:gd name="T73" fmla="*/ 78135 h 192"/>
                <a:gd name="T74" fmla="*/ 14664 w 173"/>
                <a:gd name="T75" fmla="*/ 75010 h 192"/>
                <a:gd name="T76" fmla="*/ 12938 w 173"/>
                <a:gd name="T77" fmla="*/ 71363 h 192"/>
                <a:gd name="T78" fmla="*/ 9488 w 173"/>
                <a:gd name="T79" fmla="*/ 64071 h 192"/>
                <a:gd name="T80" fmla="*/ 6901 w 173"/>
                <a:gd name="T81" fmla="*/ 55736 h 192"/>
                <a:gd name="T82" fmla="*/ 3882 w 173"/>
                <a:gd name="T83" fmla="*/ 46881 h 192"/>
                <a:gd name="T84" fmla="*/ 0 w 173"/>
                <a:gd name="T85" fmla="*/ 35421 h 19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94" name="Freeform 265">
              <a:extLst>
                <a:ext uri="{FF2B5EF4-FFF2-40B4-BE49-F238E27FC236}">
                  <a16:creationId xmlns:a16="http://schemas.microsoft.com/office/drawing/2014/main" xmlns="" id="{5CFA443D-E113-2AFC-72C3-99EF16B88ED7}"/>
                </a:ext>
              </a:extLst>
            </p:cNvPr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3781219" y="2313897"/>
              <a:ext cx="90643" cy="96451"/>
            </a:xfrm>
            <a:custGeom>
              <a:avLst/>
              <a:gdLst>
                <a:gd name="T0" fmla="*/ 33276 w 233"/>
                <a:gd name="T1" fmla="*/ 0 h 252"/>
                <a:gd name="T2" fmla="*/ 37323 w 233"/>
                <a:gd name="T3" fmla="*/ 1046 h 252"/>
                <a:gd name="T4" fmla="*/ 40021 w 233"/>
                <a:gd name="T5" fmla="*/ 1569 h 252"/>
                <a:gd name="T6" fmla="*/ 42719 w 233"/>
                <a:gd name="T7" fmla="*/ 1569 h 252"/>
                <a:gd name="T8" fmla="*/ 44518 w 233"/>
                <a:gd name="T9" fmla="*/ 1046 h 252"/>
                <a:gd name="T10" fmla="*/ 47666 w 233"/>
                <a:gd name="T11" fmla="*/ 523 h 252"/>
                <a:gd name="T12" fmla="*/ 50814 w 233"/>
                <a:gd name="T13" fmla="*/ 0 h 252"/>
                <a:gd name="T14" fmla="*/ 56210 w 233"/>
                <a:gd name="T15" fmla="*/ 8889 h 252"/>
                <a:gd name="T16" fmla="*/ 62955 w 233"/>
                <a:gd name="T17" fmla="*/ 19346 h 252"/>
                <a:gd name="T18" fmla="*/ 64754 w 233"/>
                <a:gd name="T19" fmla="*/ 21961 h 252"/>
                <a:gd name="T20" fmla="*/ 66552 w 233"/>
                <a:gd name="T21" fmla="*/ 24052 h 252"/>
                <a:gd name="T22" fmla="*/ 68801 w 233"/>
                <a:gd name="T23" fmla="*/ 25621 h 252"/>
                <a:gd name="T24" fmla="*/ 70599 w 233"/>
                <a:gd name="T25" fmla="*/ 27189 h 252"/>
                <a:gd name="T26" fmla="*/ 73298 w 233"/>
                <a:gd name="T27" fmla="*/ 28235 h 252"/>
                <a:gd name="T28" fmla="*/ 75546 w 233"/>
                <a:gd name="T29" fmla="*/ 29281 h 252"/>
                <a:gd name="T30" fmla="*/ 78244 w 233"/>
                <a:gd name="T31" fmla="*/ 29281 h 252"/>
                <a:gd name="T32" fmla="*/ 80942 w 233"/>
                <a:gd name="T33" fmla="*/ 29281 h 252"/>
                <a:gd name="T34" fmla="*/ 80942 w 233"/>
                <a:gd name="T35" fmla="*/ 41830 h 252"/>
                <a:gd name="T36" fmla="*/ 86788 w 233"/>
                <a:gd name="T37" fmla="*/ 53856 h 252"/>
                <a:gd name="T38" fmla="*/ 95332 w 233"/>
                <a:gd name="T39" fmla="*/ 66927 h 252"/>
                <a:gd name="T40" fmla="*/ 96681 w 233"/>
                <a:gd name="T41" fmla="*/ 70587 h 252"/>
                <a:gd name="T42" fmla="*/ 98929 w 233"/>
                <a:gd name="T43" fmla="*/ 74247 h 252"/>
                <a:gd name="T44" fmla="*/ 100278 w 233"/>
                <a:gd name="T45" fmla="*/ 78953 h 252"/>
                <a:gd name="T46" fmla="*/ 101627 w 233"/>
                <a:gd name="T47" fmla="*/ 83659 h 252"/>
                <a:gd name="T48" fmla="*/ 103426 w 233"/>
                <a:gd name="T49" fmla="*/ 88888 h 252"/>
                <a:gd name="T50" fmla="*/ 104325 w 233"/>
                <a:gd name="T51" fmla="*/ 94116 h 252"/>
                <a:gd name="T52" fmla="*/ 104775 w 233"/>
                <a:gd name="T53" fmla="*/ 99868 h 252"/>
                <a:gd name="T54" fmla="*/ 104775 w 233"/>
                <a:gd name="T55" fmla="*/ 106665 h 252"/>
                <a:gd name="T56" fmla="*/ 104325 w 233"/>
                <a:gd name="T57" fmla="*/ 112940 h 252"/>
                <a:gd name="T58" fmla="*/ 103426 w 233"/>
                <a:gd name="T59" fmla="*/ 119214 h 252"/>
                <a:gd name="T60" fmla="*/ 102077 w 233"/>
                <a:gd name="T61" fmla="*/ 125489 h 252"/>
                <a:gd name="T62" fmla="*/ 101627 w 233"/>
                <a:gd name="T63" fmla="*/ 131763 h 252"/>
                <a:gd name="T64" fmla="*/ 99829 w 233"/>
                <a:gd name="T65" fmla="*/ 131763 h 252"/>
                <a:gd name="T66" fmla="*/ 96681 w 233"/>
                <a:gd name="T67" fmla="*/ 130717 h 252"/>
                <a:gd name="T68" fmla="*/ 93533 w 233"/>
                <a:gd name="T69" fmla="*/ 128626 h 252"/>
                <a:gd name="T70" fmla="*/ 89036 w 233"/>
                <a:gd name="T71" fmla="*/ 126011 h 252"/>
                <a:gd name="T72" fmla="*/ 79143 w 233"/>
                <a:gd name="T73" fmla="*/ 118168 h 252"/>
                <a:gd name="T74" fmla="*/ 67901 w 233"/>
                <a:gd name="T75" fmla="*/ 108757 h 252"/>
                <a:gd name="T76" fmla="*/ 56210 w 233"/>
                <a:gd name="T77" fmla="*/ 97254 h 252"/>
                <a:gd name="T78" fmla="*/ 44968 w 233"/>
                <a:gd name="T79" fmla="*/ 86273 h 252"/>
                <a:gd name="T80" fmla="*/ 35075 w 233"/>
                <a:gd name="T81" fmla="*/ 75816 h 252"/>
                <a:gd name="T82" fmla="*/ 27430 w 233"/>
                <a:gd name="T83" fmla="*/ 67450 h 252"/>
                <a:gd name="T84" fmla="*/ 24732 w 233"/>
                <a:gd name="T85" fmla="*/ 65359 h 252"/>
                <a:gd name="T86" fmla="*/ 21585 w 233"/>
                <a:gd name="T87" fmla="*/ 62744 h 252"/>
                <a:gd name="T88" fmla="*/ 18437 w 233"/>
                <a:gd name="T89" fmla="*/ 60653 h 252"/>
                <a:gd name="T90" fmla="*/ 14839 w 233"/>
                <a:gd name="T91" fmla="*/ 58561 h 252"/>
                <a:gd name="T92" fmla="*/ 7645 w 233"/>
                <a:gd name="T93" fmla="*/ 54378 h 252"/>
                <a:gd name="T94" fmla="*/ 0 w 233"/>
                <a:gd name="T95" fmla="*/ 51764 h 252"/>
                <a:gd name="T96" fmla="*/ 17987 w 233"/>
                <a:gd name="T97" fmla="*/ 32941 h 252"/>
                <a:gd name="T98" fmla="*/ 26531 w 233"/>
                <a:gd name="T99" fmla="*/ 22483 h 252"/>
                <a:gd name="T100" fmla="*/ 29229 w 233"/>
                <a:gd name="T101" fmla="*/ 17255 h 252"/>
                <a:gd name="T102" fmla="*/ 31028 w 233"/>
                <a:gd name="T103" fmla="*/ 13072 h 252"/>
                <a:gd name="T104" fmla="*/ 32377 w 233"/>
                <a:gd name="T105" fmla="*/ 7320 h 252"/>
                <a:gd name="T106" fmla="*/ 33276 w 233"/>
                <a:gd name="T107" fmla="*/ 0 h 2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95" name="Freeform 266">
              <a:extLst>
                <a:ext uri="{FF2B5EF4-FFF2-40B4-BE49-F238E27FC236}">
                  <a16:creationId xmlns:a16="http://schemas.microsoft.com/office/drawing/2014/main" xmlns="" id="{D20163F5-66F6-FFB3-E0A6-7DDEA626950C}"/>
                </a:ext>
              </a:extLst>
            </p:cNvPr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3966626" y="2254632"/>
              <a:ext cx="90643" cy="147581"/>
            </a:xfrm>
            <a:custGeom>
              <a:avLst/>
              <a:gdLst>
                <a:gd name="T0" fmla="*/ 5537 w 246"/>
                <a:gd name="T1" fmla="*/ 199490 h 380"/>
                <a:gd name="T2" fmla="*/ 5963 w 246"/>
                <a:gd name="T3" fmla="*/ 194715 h 380"/>
                <a:gd name="T4" fmla="*/ 6389 w 246"/>
                <a:gd name="T5" fmla="*/ 190470 h 380"/>
                <a:gd name="T6" fmla="*/ 7666 w 246"/>
                <a:gd name="T7" fmla="*/ 186226 h 380"/>
                <a:gd name="T8" fmla="*/ 8518 w 246"/>
                <a:gd name="T9" fmla="*/ 182512 h 380"/>
                <a:gd name="T10" fmla="*/ 10648 w 246"/>
                <a:gd name="T11" fmla="*/ 176676 h 380"/>
                <a:gd name="T12" fmla="*/ 11074 w 246"/>
                <a:gd name="T13" fmla="*/ 173492 h 380"/>
                <a:gd name="T14" fmla="*/ 10648 w 246"/>
                <a:gd name="T15" fmla="*/ 170309 h 380"/>
                <a:gd name="T16" fmla="*/ 9796 w 246"/>
                <a:gd name="T17" fmla="*/ 166595 h 380"/>
                <a:gd name="T18" fmla="*/ 8092 w 246"/>
                <a:gd name="T19" fmla="*/ 161820 h 380"/>
                <a:gd name="T20" fmla="*/ 5537 w 246"/>
                <a:gd name="T21" fmla="*/ 156515 h 380"/>
                <a:gd name="T22" fmla="*/ 3833 w 246"/>
                <a:gd name="T23" fmla="*/ 151209 h 380"/>
                <a:gd name="T24" fmla="*/ 1704 w 246"/>
                <a:gd name="T25" fmla="*/ 145903 h 380"/>
                <a:gd name="T26" fmla="*/ 426 w 246"/>
                <a:gd name="T27" fmla="*/ 141659 h 380"/>
                <a:gd name="T28" fmla="*/ 0 w 246"/>
                <a:gd name="T29" fmla="*/ 137414 h 380"/>
                <a:gd name="T30" fmla="*/ 426 w 246"/>
                <a:gd name="T31" fmla="*/ 133170 h 380"/>
                <a:gd name="T32" fmla="*/ 852 w 246"/>
                <a:gd name="T33" fmla="*/ 128926 h 380"/>
                <a:gd name="T34" fmla="*/ 1278 w 246"/>
                <a:gd name="T35" fmla="*/ 125212 h 380"/>
                <a:gd name="T36" fmla="*/ 2555 w 246"/>
                <a:gd name="T37" fmla="*/ 122028 h 380"/>
                <a:gd name="T38" fmla="*/ 4685 w 246"/>
                <a:gd name="T39" fmla="*/ 115662 h 380"/>
                <a:gd name="T40" fmla="*/ 8092 w 246"/>
                <a:gd name="T41" fmla="*/ 109825 h 380"/>
                <a:gd name="T42" fmla="*/ 11074 w 246"/>
                <a:gd name="T43" fmla="*/ 104520 h 380"/>
                <a:gd name="T44" fmla="*/ 14481 w 246"/>
                <a:gd name="T45" fmla="*/ 98153 h 380"/>
                <a:gd name="T46" fmla="*/ 17463 w 246"/>
                <a:gd name="T47" fmla="*/ 91787 h 380"/>
                <a:gd name="T48" fmla="*/ 20018 w 246"/>
                <a:gd name="T49" fmla="*/ 84889 h 380"/>
                <a:gd name="T50" fmla="*/ 11074 w 246"/>
                <a:gd name="T51" fmla="*/ 38731 h 380"/>
                <a:gd name="T52" fmla="*/ 11074 w 246"/>
                <a:gd name="T53" fmla="*/ 26528 h 380"/>
                <a:gd name="T54" fmla="*/ 10222 w 246"/>
                <a:gd name="T55" fmla="*/ 17508 h 380"/>
                <a:gd name="T56" fmla="*/ 10222 w 246"/>
                <a:gd name="T57" fmla="*/ 13264 h 380"/>
                <a:gd name="T58" fmla="*/ 10222 w 246"/>
                <a:gd name="T59" fmla="*/ 8489 h 380"/>
                <a:gd name="T60" fmla="*/ 10648 w 246"/>
                <a:gd name="T61" fmla="*/ 4244 h 380"/>
                <a:gd name="T62" fmla="*/ 11074 w 246"/>
                <a:gd name="T63" fmla="*/ 0 h 380"/>
                <a:gd name="T64" fmla="*/ 76665 w 246"/>
                <a:gd name="T65" fmla="*/ 0 h 380"/>
                <a:gd name="T66" fmla="*/ 93701 w 246"/>
                <a:gd name="T67" fmla="*/ 68442 h 380"/>
                <a:gd name="T68" fmla="*/ 93701 w 246"/>
                <a:gd name="T69" fmla="*/ 111417 h 380"/>
                <a:gd name="T70" fmla="*/ 93701 w 246"/>
                <a:gd name="T71" fmla="*/ 116723 h 380"/>
                <a:gd name="T72" fmla="*/ 94127 w 246"/>
                <a:gd name="T73" fmla="*/ 122028 h 380"/>
                <a:gd name="T74" fmla="*/ 94979 w 246"/>
                <a:gd name="T75" fmla="*/ 127334 h 380"/>
                <a:gd name="T76" fmla="*/ 95831 w 246"/>
                <a:gd name="T77" fmla="*/ 132639 h 380"/>
                <a:gd name="T78" fmla="*/ 97109 w 246"/>
                <a:gd name="T79" fmla="*/ 137414 h 380"/>
                <a:gd name="T80" fmla="*/ 99664 w 246"/>
                <a:gd name="T81" fmla="*/ 142190 h 380"/>
                <a:gd name="T82" fmla="*/ 101794 w 246"/>
                <a:gd name="T83" fmla="*/ 147495 h 380"/>
                <a:gd name="T84" fmla="*/ 104775 w 246"/>
                <a:gd name="T85" fmla="*/ 153331 h 380"/>
                <a:gd name="T86" fmla="*/ 95405 w 246"/>
                <a:gd name="T87" fmla="*/ 156515 h 380"/>
                <a:gd name="T88" fmla="*/ 86035 w 246"/>
                <a:gd name="T89" fmla="*/ 160228 h 380"/>
                <a:gd name="T90" fmla="*/ 77091 w 246"/>
                <a:gd name="T91" fmla="*/ 164473 h 380"/>
                <a:gd name="T92" fmla="*/ 68146 w 246"/>
                <a:gd name="T93" fmla="*/ 169248 h 380"/>
                <a:gd name="T94" fmla="*/ 60054 w 246"/>
                <a:gd name="T95" fmla="*/ 174023 h 380"/>
                <a:gd name="T96" fmla="*/ 51110 w 246"/>
                <a:gd name="T97" fmla="*/ 179329 h 380"/>
                <a:gd name="T98" fmla="*/ 42591 w 246"/>
                <a:gd name="T99" fmla="*/ 184104 h 380"/>
                <a:gd name="T100" fmla="*/ 34073 w 246"/>
                <a:gd name="T101" fmla="*/ 189940 h 380"/>
                <a:gd name="T102" fmla="*/ 31944 w 246"/>
                <a:gd name="T103" fmla="*/ 192593 h 380"/>
                <a:gd name="T104" fmla="*/ 29388 w 246"/>
                <a:gd name="T105" fmla="*/ 194715 h 380"/>
                <a:gd name="T106" fmla="*/ 26407 w 246"/>
                <a:gd name="T107" fmla="*/ 197368 h 380"/>
                <a:gd name="T108" fmla="*/ 22999 w 246"/>
                <a:gd name="T109" fmla="*/ 199490 h 380"/>
                <a:gd name="T110" fmla="*/ 19592 w 246"/>
                <a:gd name="T111" fmla="*/ 201081 h 380"/>
                <a:gd name="T112" fmla="*/ 15333 w 246"/>
                <a:gd name="T113" fmla="*/ 201612 h 380"/>
                <a:gd name="T114" fmla="*/ 13203 w 246"/>
                <a:gd name="T115" fmla="*/ 201612 h 380"/>
                <a:gd name="T116" fmla="*/ 10648 w 246"/>
                <a:gd name="T117" fmla="*/ 201081 h 380"/>
                <a:gd name="T118" fmla="*/ 8518 w 246"/>
                <a:gd name="T119" fmla="*/ 200551 h 380"/>
                <a:gd name="T120" fmla="*/ 5537 w 246"/>
                <a:gd name="T121" fmla="*/ 199490 h 38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96" name="Freeform 267">
              <a:extLst>
                <a:ext uri="{FF2B5EF4-FFF2-40B4-BE49-F238E27FC236}">
                  <a16:creationId xmlns:a16="http://schemas.microsoft.com/office/drawing/2014/main" xmlns="" id="{6154ACF5-A8B7-BF75-99BF-85FE919595C5}"/>
                </a:ext>
              </a:extLst>
            </p:cNvPr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3665857" y="2193043"/>
              <a:ext cx="75536" cy="42997"/>
            </a:xfrm>
            <a:custGeom>
              <a:avLst/>
              <a:gdLst>
                <a:gd name="T0" fmla="*/ 3167 w 193"/>
                <a:gd name="T1" fmla="*/ 30915 h 38"/>
                <a:gd name="T2" fmla="*/ 17191 w 193"/>
                <a:gd name="T3" fmla="*/ 17003 h 38"/>
                <a:gd name="T4" fmla="*/ 30311 w 193"/>
                <a:gd name="T5" fmla="*/ 7729 h 38"/>
                <a:gd name="T6" fmla="*/ 36192 w 193"/>
                <a:gd name="T7" fmla="*/ 4637 h 38"/>
                <a:gd name="T8" fmla="*/ 42526 w 193"/>
                <a:gd name="T9" fmla="*/ 3091 h 38"/>
                <a:gd name="T10" fmla="*/ 49764 w 193"/>
                <a:gd name="T11" fmla="*/ 1546 h 38"/>
                <a:gd name="T12" fmla="*/ 57002 w 193"/>
                <a:gd name="T13" fmla="*/ 0 h 38"/>
                <a:gd name="T14" fmla="*/ 62431 w 193"/>
                <a:gd name="T15" fmla="*/ 1546 h 38"/>
                <a:gd name="T16" fmla="*/ 67407 w 193"/>
                <a:gd name="T17" fmla="*/ 1546 h 38"/>
                <a:gd name="T18" fmla="*/ 72384 w 193"/>
                <a:gd name="T19" fmla="*/ 3091 h 38"/>
                <a:gd name="T20" fmla="*/ 76455 w 193"/>
                <a:gd name="T21" fmla="*/ 6183 h 38"/>
                <a:gd name="T22" fmla="*/ 80527 w 193"/>
                <a:gd name="T23" fmla="*/ 9274 h 38"/>
                <a:gd name="T24" fmla="*/ 83241 w 193"/>
                <a:gd name="T25" fmla="*/ 17003 h 38"/>
                <a:gd name="T26" fmla="*/ 84599 w 193"/>
                <a:gd name="T27" fmla="*/ 20095 h 38"/>
                <a:gd name="T28" fmla="*/ 85503 w 193"/>
                <a:gd name="T29" fmla="*/ 27823 h 38"/>
                <a:gd name="T30" fmla="*/ 86408 w 193"/>
                <a:gd name="T31" fmla="*/ 32460 h 38"/>
                <a:gd name="T32" fmla="*/ 87313 w 193"/>
                <a:gd name="T33" fmla="*/ 40189 h 38"/>
                <a:gd name="T34" fmla="*/ 82789 w 193"/>
                <a:gd name="T35" fmla="*/ 41735 h 38"/>
                <a:gd name="T36" fmla="*/ 78265 w 193"/>
                <a:gd name="T37" fmla="*/ 43281 h 38"/>
                <a:gd name="T38" fmla="*/ 74646 w 193"/>
                <a:gd name="T39" fmla="*/ 43281 h 38"/>
                <a:gd name="T40" fmla="*/ 70574 w 193"/>
                <a:gd name="T41" fmla="*/ 43281 h 38"/>
                <a:gd name="T42" fmla="*/ 62431 w 193"/>
                <a:gd name="T43" fmla="*/ 41735 h 38"/>
                <a:gd name="T44" fmla="*/ 54288 w 193"/>
                <a:gd name="T45" fmla="*/ 40189 h 38"/>
                <a:gd name="T46" fmla="*/ 46597 w 193"/>
                <a:gd name="T47" fmla="*/ 40189 h 38"/>
                <a:gd name="T48" fmla="*/ 40264 w 193"/>
                <a:gd name="T49" fmla="*/ 43281 h 38"/>
                <a:gd name="T50" fmla="*/ 34382 w 193"/>
                <a:gd name="T51" fmla="*/ 46372 h 38"/>
                <a:gd name="T52" fmla="*/ 28501 w 193"/>
                <a:gd name="T53" fmla="*/ 49464 h 38"/>
                <a:gd name="T54" fmla="*/ 22168 w 193"/>
                <a:gd name="T55" fmla="*/ 52555 h 38"/>
                <a:gd name="T56" fmla="*/ 15834 w 193"/>
                <a:gd name="T57" fmla="*/ 55647 h 38"/>
                <a:gd name="T58" fmla="*/ 8596 w 193"/>
                <a:gd name="T59" fmla="*/ 57192 h 38"/>
                <a:gd name="T60" fmla="*/ 0 w 193"/>
                <a:gd name="T61" fmla="*/ 58738 h 38"/>
                <a:gd name="T62" fmla="*/ 0 w 193"/>
                <a:gd name="T63" fmla="*/ 51009 h 38"/>
                <a:gd name="T64" fmla="*/ 452 w 193"/>
                <a:gd name="T65" fmla="*/ 44826 h 38"/>
                <a:gd name="T66" fmla="*/ 1357 w 193"/>
                <a:gd name="T67" fmla="*/ 37098 h 38"/>
                <a:gd name="T68" fmla="*/ 3167 w 193"/>
                <a:gd name="T69" fmla="*/ 30915 h 3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97" name="Freeform 268">
              <a:extLst>
                <a:ext uri="{FF2B5EF4-FFF2-40B4-BE49-F238E27FC236}">
                  <a16:creationId xmlns:a16="http://schemas.microsoft.com/office/drawing/2014/main" xmlns="" id="{0D9DAD94-8DB7-8EAF-64C5-C7BB8C55BA73}"/>
                </a:ext>
              </a:extLst>
            </p:cNvPr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4033921" y="2249985"/>
              <a:ext cx="37082" cy="113881"/>
            </a:xfrm>
            <a:custGeom>
              <a:avLst/>
              <a:gdLst>
                <a:gd name="T0" fmla="*/ 22947 w 99"/>
                <a:gd name="T1" fmla="*/ 6202 h 301"/>
                <a:gd name="T2" fmla="*/ 25545 w 99"/>
                <a:gd name="T3" fmla="*/ 6202 h 301"/>
                <a:gd name="T4" fmla="*/ 25545 w 99"/>
                <a:gd name="T5" fmla="*/ 9820 h 301"/>
                <a:gd name="T6" fmla="*/ 26843 w 99"/>
                <a:gd name="T7" fmla="*/ 13438 h 301"/>
                <a:gd name="T8" fmla="*/ 27276 w 99"/>
                <a:gd name="T9" fmla="*/ 17056 h 301"/>
                <a:gd name="T10" fmla="*/ 28575 w 99"/>
                <a:gd name="T11" fmla="*/ 21708 h 301"/>
                <a:gd name="T12" fmla="*/ 31173 w 99"/>
                <a:gd name="T13" fmla="*/ 29978 h 301"/>
                <a:gd name="T14" fmla="*/ 34204 w 99"/>
                <a:gd name="T15" fmla="*/ 38765 h 301"/>
                <a:gd name="T16" fmla="*/ 37667 w 99"/>
                <a:gd name="T17" fmla="*/ 48068 h 301"/>
                <a:gd name="T18" fmla="*/ 40265 w 99"/>
                <a:gd name="T19" fmla="*/ 57372 h 301"/>
                <a:gd name="T20" fmla="*/ 41564 w 99"/>
                <a:gd name="T21" fmla="*/ 62023 h 301"/>
                <a:gd name="T22" fmla="*/ 42430 w 99"/>
                <a:gd name="T23" fmla="*/ 66675 h 301"/>
                <a:gd name="T24" fmla="*/ 42863 w 99"/>
                <a:gd name="T25" fmla="*/ 71327 h 301"/>
                <a:gd name="T26" fmla="*/ 42863 w 99"/>
                <a:gd name="T27" fmla="*/ 76495 h 301"/>
                <a:gd name="T28" fmla="*/ 42863 w 99"/>
                <a:gd name="T29" fmla="*/ 149373 h 301"/>
                <a:gd name="T30" fmla="*/ 38533 w 99"/>
                <a:gd name="T31" fmla="*/ 149890 h 301"/>
                <a:gd name="T32" fmla="*/ 34637 w 99"/>
                <a:gd name="T33" fmla="*/ 151440 h 301"/>
                <a:gd name="T34" fmla="*/ 31606 w 99"/>
                <a:gd name="T35" fmla="*/ 153508 h 301"/>
                <a:gd name="T36" fmla="*/ 28575 w 99"/>
                <a:gd name="T37" fmla="*/ 155575 h 301"/>
                <a:gd name="T38" fmla="*/ 25545 w 99"/>
                <a:gd name="T39" fmla="*/ 149890 h 301"/>
                <a:gd name="T40" fmla="*/ 23380 w 99"/>
                <a:gd name="T41" fmla="*/ 144721 h 301"/>
                <a:gd name="T42" fmla="*/ 20782 w 99"/>
                <a:gd name="T43" fmla="*/ 140069 h 301"/>
                <a:gd name="T44" fmla="*/ 19483 w 99"/>
                <a:gd name="T45" fmla="*/ 135417 h 301"/>
                <a:gd name="T46" fmla="*/ 18617 w 99"/>
                <a:gd name="T47" fmla="*/ 130249 h 301"/>
                <a:gd name="T48" fmla="*/ 17751 w 99"/>
                <a:gd name="T49" fmla="*/ 125080 h 301"/>
                <a:gd name="T50" fmla="*/ 17318 w 99"/>
                <a:gd name="T51" fmla="*/ 119912 h 301"/>
                <a:gd name="T52" fmla="*/ 17318 w 99"/>
                <a:gd name="T53" fmla="*/ 114743 h 301"/>
                <a:gd name="T54" fmla="*/ 17318 w 99"/>
                <a:gd name="T55" fmla="*/ 72877 h 301"/>
                <a:gd name="T56" fmla="*/ 0 w 99"/>
                <a:gd name="T57" fmla="*/ 3101 h 301"/>
                <a:gd name="T58" fmla="*/ 2165 w 99"/>
                <a:gd name="T59" fmla="*/ 1034 h 301"/>
                <a:gd name="T60" fmla="*/ 4330 w 99"/>
                <a:gd name="T61" fmla="*/ 0 h 301"/>
                <a:gd name="T62" fmla="*/ 6061 w 99"/>
                <a:gd name="T63" fmla="*/ 0 h 301"/>
                <a:gd name="T64" fmla="*/ 8659 w 99"/>
                <a:gd name="T65" fmla="*/ 0 h 301"/>
                <a:gd name="T66" fmla="*/ 11257 w 99"/>
                <a:gd name="T67" fmla="*/ 0 h 301"/>
                <a:gd name="T68" fmla="*/ 13855 w 99"/>
                <a:gd name="T69" fmla="*/ 1034 h 301"/>
                <a:gd name="T70" fmla="*/ 16020 w 99"/>
                <a:gd name="T71" fmla="*/ 2067 h 301"/>
                <a:gd name="T72" fmla="*/ 17751 w 99"/>
                <a:gd name="T73" fmla="*/ 3101 h 301"/>
                <a:gd name="T74" fmla="*/ 20349 w 99"/>
                <a:gd name="T75" fmla="*/ 5169 h 301"/>
                <a:gd name="T76" fmla="*/ 22947 w 99"/>
                <a:gd name="T77" fmla="*/ 6202 h 30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98" name="Freeform 269">
              <a:extLst>
                <a:ext uri="{FF2B5EF4-FFF2-40B4-BE49-F238E27FC236}">
                  <a16:creationId xmlns:a16="http://schemas.microsoft.com/office/drawing/2014/main" xmlns="" id="{A2F5A542-AA0F-86FF-15CD-166A4B3FF09C}"/>
                </a:ext>
              </a:extLst>
            </p:cNvPr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4055894" y="2222095"/>
              <a:ext cx="65922" cy="138284"/>
            </a:xfrm>
            <a:custGeom>
              <a:avLst/>
              <a:gdLst>
                <a:gd name="T0" fmla="*/ 0 w 173"/>
                <a:gd name="T1" fmla="*/ 42333 h 357"/>
                <a:gd name="T2" fmla="*/ 3964 w 173"/>
                <a:gd name="T3" fmla="*/ 38100 h 357"/>
                <a:gd name="T4" fmla="*/ 7488 w 173"/>
                <a:gd name="T5" fmla="*/ 34396 h 357"/>
                <a:gd name="T6" fmla="*/ 11012 w 173"/>
                <a:gd name="T7" fmla="*/ 31750 h 357"/>
                <a:gd name="T8" fmla="*/ 14535 w 173"/>
                <a:gd name="T9" fmla="*/ 29633 h 357"/>
                <a:gd name="T10" fmla="*/ 17618 w 173"/>
                <a:gd name="T11" fmla="*/ 26458 h 357"/>
                <a:gd name="T12" fmla="*/ 29511 w 173"/>
                <a:gd name="T13" fmla="*/ 26458 h 357"/>
                <a:gd name="T14" fmla="*/ 41403 w 173"/>
                <a:gd name="T15" fmla="*/ 0 h 357"/>
                <a:gd name="T16" fmla="*/ 44487 w 173"/>
                <a:gd name="T17" fmla="*/ 1587 h 357"/>
                <a:gd name="T18" fmla="*/ 47570 w 173"/>
                <a:gd name="T19" fmla="*/ 3704 h 357"/>
                <a:gd name="T20" fmla="*/ 51094 w 173"/>
                <a:gd name="T21" fmla="*/ 6350 h 357"/>
                <a:gd name="T22" fmla="*/ 54177 w 173"/>
                <a:gd name="T23" fmla="*/ 9525 h 357"/>
                <a:gd name="T24" fmla="*/ 57701 w 173"/>
                <a:gd name="T25" fmla="*/ 11642 h 357"/>
                <a:gd name="T26" fmla="*/ 61224 w 173"/>
                <a:gd name="T27" fmla="*/ 14287 h 357"/>
                <a:gd name="T28" fmla="*/ 63867 w 173"/>
                <a:gd name="T29" fmla="*/ 15346 h 357"/>
                <a:gd name="T30" fmla="*/ 67391 w 173"/>
                <a:gd name="T31" fmla="*/ 15875 h 357"/>
                <a:gd name="T32" fmla="*/ 71795 w 173"/>
                <a:gd name="T33" fmla="*/ 20637 h 357"/>
                <a:gd name="T34" fmla="*/ 76200 w 173"/>
                <a:gd name="T35" fmla="*/ 26458 h 357"/>
                <a:gd name="T36" fmla="*/ 76200 w 173"/>
                <a:gd name="T37" fmla="*/ 32279 h 357"/>
                <a:gd name="T38" fmla="*/ 76200 w 173"/>
                <a:gd name="T39" fmla="*/ 36512 h 357"/>
                <a:gd name="T40" fmla="*/ 76200 w 173"/>
                <a:gd name="T41" fmla="*/ 42333 h 357"/>
                <a:gd name="T42" fmla="*/ 76200 w 173"/>
                <a:gd name="T43" fmla="*/ 51858 h 357"/>
                <a:gd name="T44" fmla="*/ 76200 w 173"/>
                <a:gd name="T45" fmla="*/ 57679 h 357"/>
                <a:gd name="T46" fmla="*/ 75319 w 173"/>
                <a:gd name="T47" fmla="*/ 62442 h 357"/>
                <a:gd name="T48" fmla="*/ 73557 w 173"/>
                <a:gd name="T49" fmla="*/ 67204 h 357"/>
                <a:gd name="T50" fmla="*/ 71795 w 173"/>
                <a:gd name="T51" fmla="*/ 71437 h 357"/>
                <a:gd name="T52" fmla="*/ 66950 w 173"/>
                <a:gd name="T53" fmla="*/ 79904 h 357"/>
                <a:gd name="T54" fmla="*/ 61665 w 173"/>
                <a:gd name="T55" fmla="*/ 88371 h 357"/>
                <a:gd name="T56" fmla="*/ 56379 w 173"/>
                <a:gd name="T57" fmla="*/ 96837 h 357"/>
                <a:gd name="T58" fmla="*/ 51534 w 173"/>
                <a:gd name="T59" fmla="*/ 105833 h 357"/>
                <a:gd name="T60" fmla="*/ 49332 w 173"/>
                <a:gd name="T61" fmla="*/ 110596 h 357"/>
                <a:gd name="T62" fmla="*/ 48010 w 173"/>
                <a:gd name="T63" fmla="*/ 115887 h 357"/>
                <a:gd name="T64" fmla="*/ 47570 w 173"/>
                <a:gd name="T65" fmla="*/ 121179 h 357"/>
                <a:gd name="T66" fmla="*/ 47129 w 173"/>
                <a:gd name="T67" fmla="*/ 127000 h 357"/>
                <a:gd name="T68" fmla="*/ 47570 w 173"/>
                <a:gd name="T69" fmla="*/ 144462 h 357"/>
                <a:gd name="T70" fmla="*/ 48010 w 173"/>
                <a:gd name="T71" fmla="*/ 155045 h 357"/>
                <a:gd name="T72" fmla="*/ 48451 w 173"/>
                <a:gd name="T73" fmla="*/ 159808 h 357"/>
                <a:gd name="T74" fmla="*/ 48010 w 173"/>
                <a:gd name="T75" fmla="*/ 165629 h 357"/>
                <a:gd name="T76" fmla="*/ 48010 w 173"/>
                <a:gd name="T77" fmla="*/ 173037 h 357"/>
                <a:gd name="T78" fmla="*/ 47129 w 173"/>
                <a:gd name="T79" fmla="*/ 182562 h 357"/>
                <a:gd name="T80" fmla="*/ 42725 w 173"/>
                <a:gd name="T81" fmla="*/ 183091 h 357"/>
                <a:gd name="T82" fmla="*/ 38761 w 173"/>
                <a:gd name="T83" fmla="*/ 183620 h 357"/>
                <a:gd name="T84" fmla="*/ 34797 w 173"/>
                <a:gd name="T85" fmla="*/ 184679 h 357"/>
                <a:gd name="T86" fmla="*/ 31273 w 173"/>
                <a:gd name="T87" fmla="*/ 185737 h 357"/>
                <a:gd name="T88" fmla="*/ 27749 w 173"/>
                <a:gd name="T89" fmla="*/ 186795 h 357"/>
                <a:gd name="T90" fmla="*/ 24225 w 173"/>
                <a:gd name="T91" fmla="*/ 187854 h 357"/>
                <a:gd name="T92" fmla="*/ 21142 w 173"/>
                <a:gd name="T93" fmla="*/ 188912 h 357"/>
                <a:gd name="T94" fmla="*/ 17618 w 173"/>
                <a:gd name="T95" fmla="*/ 188912 h 357"/>
                <a:gd name="T96" fmla="*/ 17618 w 173"/>
                <a:gd name="T97" fmla="*/ 114300 h 357"/>
                <a:gd name="T98" fmla="*/ 17618 w 173"/>
                <a:gd name="T99" fmla="*/ 109008 h 357"/>
                <a:gd name="T100" fmla="*/ 17178 w 173"/>
                <a:gd name="T101" fmla="*/ 104246 h 357"/>
                <a:gd name="T102" fmla="*/ 16297 w 173"/>
                <a:gd name="T103" fmla="*/ 99483 h 357"/>
                <a:gd name="T104" fmla="*/ 14976 w 173"/>
                <a:gd name="T105" fmla="*/ 94721 h 357"/>
                <a:gd name="T106" fmla="*/ 12333 w 173"/>
                <a:gd name="T107" fmla="*/ 85196 h 357"/>
                <a:gd name="T108" fmla="*/ 8809 w 173"/>
                <a:gd name="T109" fmla="*/ 75671 h 357"/>
                <a:gd name="T110" fmla="*/ 5726 w 173"/>
                <a:gd name="T111" fmla="*/ 66675 h 357"/>
                <a:gd name="T112" fmla="*/ 3083 w 173"/>
                <a:gd name="T113" fmla="*/ 58208 h 357"/>
                <a:gd name="T114" fmla="*/ 1762 w 173"/>
                <a:gd name="T115" fmla="*/ 53446 h 357"/>
                <a:gd name="T116" fmla="*/ 1321 w 173"/>
                <a:gd name="T117" fmla="*/ 49742 h 357"/>
                <a:gd name="T118" fmla="*/ 0 w 173"/>
                <a:gd name="T119" fmla="*/ 46037 h 357"/>
                <a:gd name="T120" fmla="*/ 0 w 173"/>
                <a:gd name="T121" fmla="*/ 42333 h 35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199" name="Freeform 270">
              <a:extLst>
                <a:ext uri="{FF2B5EF4-FFF2-40B4-BE49-F238E27FC236}">
                  <a16:creationId xmlns:a16="http://schemas.microsoft.com/office/drawing/2014/main" xmlns="" id="{9E354C36-2E64-34C1-CCF0-3C1A23E02F66}"/>
                </a:ext>
              </a:extLst>
            </p:cNvPr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4686274" y="3104096"/>
              <a:ext cx="21974" cy="44158"/>
            </a:xfrm>
            <a:custGeom>
              <a:avLst/>
              <a:gdLst>
                <a:gd name="T0" fmla="*/ 5080 w 50"/>
                <a:gd name="T1" fmla="*/ 0 h 74"/>
                <a:gd name="T2" fmla="*/ 3048 w 50"/>
                <a:gd name="T3" fmla="*/ 11413 h 74"/>
                <a:gd name="T4" fmla="*/ 1016 w 50"/>
                <a:gd name="T5" fmla="*/ 21195 h 74"/>
                <a:gd name="T6" fmla="*/ 0 w 50"/>
                <a:gd name="T7" fmla="*/ 29347 h 74"/>
                <a:gd name="T8" fmla="*/ 0 w 50"/>
                <a:gd name="T9" fmla="*/ 35054 h 74"/>
                <a:gd name="T10" fmla="*/ 0 w 50"/>
                <a:gd name="T11" fmla="*/ 40760 h 74"/>
                <a:gd name="T12" fmla="*/ 1016 w 50"/>
                <a:gd name="T13" fmla="*/ 45651 h 74"/>
                <a:gd name="T14" fmla="*/ 3048 w 50"/>
                <a:gd name="T15" fmla="*/ 49727 h 74"/>
                <a:gd name="T16" fmla="*/ 5080 w 50"/>
                <a:gd name="T17" fmla="*/ 55434 h 74"/>
                <a:gd name="T18" fmla="*/ 25400 w 50"/>
                <a:gd name="T19" fmla="*/ 60325 h 74"/>
                <a:gd name="T20" fmla="*/ 25400 w 50"/>
                <a:gd name="T21" fmla="*/ 41575 h 74"/>
                <a:gd name="T22" fmla="*/ 25400 w 50"/>
                <a:gd name="T23" fmla="*/ 27717 h 74"/>
                <a:gd name="T24" fmla="*/ 25400 w 50"/>
                <a:gd name="T25" fmla="*/ 15489 h 74"/>
                <a:gd name="T26" fmla="*/ 25400 w 50"/>
                <a:gd name="T27" fmla="*/ 0 h 74"/>
                <a:gd name="T28" fmla="*/ 19304 w 50"/>
                <a:gd name="T29" fmla="*/ 0 h 74"/>
                <a:gd name="T30" fmla="*/ 12700 w 50"/>
                <a:gd name="T31" fmla="*/ 0 h 74"/>
                <a:gd name="T32" fmla="*/ 7112 w 50"/>
                <a:gd name="T33" fmla="*/ 0 h 74"/>
                <a:gd name="T34" fmla="*/ 5080 w 50"/>
                <a:gd name="T35" fmla="*/ 0 h 7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00" name="Freeform 271">
              <a:extLst>
                <a:ext uri="{FF2B5EF4-FFF2-40B4-BE49-F238E27FC236}">
                  <a16:creationId xmlns:a16="http://schemas.microsoft.com/office/drawing/2014/main" xmlns="" id="{0F10154F-717B-CF8D-01D7-A5E6CBC7E893}"/>
                </a:ext>
              </a:extLst>
            </p:cNvPr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4595631" y="3174981"/>
              <a:ext cx="53561" cy="41835"/>
            </a:xfrm>
            <a:custGeom>
              <a:avLst/>
              <a:gdLst>
                <a:gd name="T0" fmla="*/ 1376 w 135"/>
                <a:gd name="T1" fmla="*/ 32074 h 98"/>
                <a:gd name="T2" fmla="*/ 5045 w 135"/>
                <a:gd name="T3" fmla="*/ 31491 h 98"/>
                <a:gd name="T4" fmla="*/ 8255 w 135"/>
                <a:gd name="T5" fmla="*/ 30908 h 98"/>
                <a:gd name="T6" fmla="*/ 11007 w 135"/>
                <a:gd name="T7" fmla="*/ 29158 h 98"/>
                <a:gd name="T8" fmla="*/ 14217 w 135"/>
                <a:gd name="T9" fmla="*/ 27409 h 98"/>
                <a:gd name="T10" fmla="*/ 19262 w 135"/>
                <a:gd name="T11" fmla="*/ 22160 h 98"/>
                <a:gd name="T12" fmla="*/ 23848 w 135"/>
                <a:gd name="T13" fmla="*/ 16329 h 98"/>
                <a:gd name="T14" fmla="*/ 27975 w 135"/>
                <a:gd name="T15" fmla="*/ 10497 h 98"/>
                <a:gd name="T16" fmla="*/ 32561 w 135"/>
                <a:gd name="T17" fmla="*/ 4665 h 98"/>
                <a:gd name="T18" fmla="*/ 34854 w 135"/>
                <a:gd name="T19" fmla="*/ 2916 h 98"/>
                <a:gd name="T20" fmla="*/ 37606 w 135"/>
                <a:gd name="T21" fmla="*/ 1166 h 98"/>
                <a:gd name="T22" fmla="*/ 40357 w 135"/>
                <a:gd name="T23" fmla="*/ 0 h 98"/>
                <a:gd name="T24" fmla="*/ 44026 w 135"/>
                <a:gd name="T25" fmla="*/ 0 h 98"/>
                <a:gd name="T26" fmla="*/ 46778 w 135"/>
                <a:gd name="T27" fmla="*/ 0 h 98"/>
                <a:gd name="T28" fmla="*/ 50447 w 135"/>
                <a:gd name="T29" fmla="*/ 1749 h 98"/>
                <a:gd name="T30" fmla="*/ 53657 w 135"/>
                <a:gd name="T31" fmla="*/ 3499 h 98"/>
                <a:gd name="T32" fmla="*/ 56409 w 135"/>
                <a:gd name="T33" fmla="*/ 6415 h 98"/>
                <a:gd name="T34" fmla="*/ 58702 w 135"/>
                <a:gd name="T35" fmla="*/ 9331 h 98"/>
                <a:gd name="T36" fmla="*/ 60536 w 135"/>
                <a:gd name="T37" fmla="*/ 13996 h 98"/>
                <a:gd name="T38" fmla="*/ 61453 w 135"/>
                <a:gd name="T39" fmla="*/ 17495 h 98"/>
                <a:gd name="T40" fmla="*/ 61912 w 135"/>
                <a:gd name="T41" fmla="*/ 21577 h 98"/>
                <a:gd name="T42" fmla="*/ 61453 w 135"/>
                <a:gd name="T43" fmla="*/ 23327 h 98"/>
                <a:gd name="T44" fmla="*/ 60536 w 135"/>
                <a:gd name="T45" fmla="*/ 25076 h 98"/>
                <a:gd name="T46" fmla="*/ 59160 w 135"/>
                <a:gd name="T47" fmla="*/ 27409 h 98"/>
                <a:gd name="T48" fmla="*/ 56867 w 135"/>
                <a:gd name="T49" fmla="*/ 29741 h 98"/>
                <a:gd name="T50" fmla="*/ 51823 w 135"/>
                <a:gd name="T51" fmla="*/ 35573 h 98"/>
                <a:gd name="T52" fmla="*/ 45861 w 135"/>
                <a:gd name="T53" fmla="*/ 41988 h 98"/>
                <a:gd name="T54" fmla="*/ 39899 w 135"/>
                <a:gd name="T55" fmla="*/ 47819 h 98"/>
                <a:gd name="T56" fmla="*/ 33937 w 135"/>
                <a:gd name="T57" fmla="*/ 53068 h 98"/>
                <a:gd name="T58" fmla="*/ 28892 w 135"/>
                <a:gd name="T59" fmla="*/ 55984 h 98"/>
                <a:gd name="T60" fmla="*/ 25223 w 135"/>
                <a:gd name="T61" fmla="*/ 57150 h 98"/>
                <a:gd name="T62" fmla="*/ 23389 w 135"/>
                <a:gd name="T63" fmla="*/ 56567 h 98"/>
                <a:gd name="T64" fmla="*/ 19720 w 135"/>
                <a:gd name="T65" fmla="*/ 53651 h 98"/>
                <a:gd name="T66" fmla="*/ 14675 w 135"/>
                <a:gd name="T67" fmla="*/ 49569 h 98"/>
                <a:gd name="T68" fmla="*/ 9631 w 135"/>
                <a:gd name="T69" fmla="*/ 44904 h 98"/>
                <a:gd name="T70" fmla="*/ 5045 w 135"/>
                <a:gd name="T71" fmla="*/ 39655 h 98"/>
                <a:gd name="T72" fmla="*/ 2293 w 135"/>
                <a:gd name="T73" fmla="*/ 36156 h 98"/>
                <a:gd name="T74" fmla="*/ 459 w 135"/>
                <a:gd name="T75" fmla="*/ 34407 h 98"/>
                <a:gd name="T76" fmla="*/ 0 w 135"/>
                <a:gd name="T77" fmla="*/ 33240 h 98"/>
                <a:gd name="T78" fmla="*/ 0 w 135"/>
                <a:gd name="T79" fmla="*/ 32657 h 98"/>
                <a:gd name="T80" fmla="*/ 1376 w 135"/>
                <a:gd name="T81" fmla="*/ 32074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01" name="Freeform 272">
              <a:extLst>
                <a:ext uri="{FF2B5EF4-FFF2-40B4-BE49-F238E27FC236}">
                  <a16:creationId xmlns:a16="http://schemas.microsoft.com/office/drawing/2014/main" xmlns="" id="{699719D2-D8CA-30C2-79B1-4DDE7FC2986C}"/>
                </a:ext>
              </a:extLst>
            </p:cNvPr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6514235" y="1501620"/>
              <a:ext cx="104376" cy="125503"/>
            </a:xfrm>
            <a:custGeom>
              <a:avLst/>
              <a:gdLst>
                <a:gd name="T0" fmla="*/ 108857 w 266"/>
                <a:gd name="T1" fmla="*/ 4733 h 326"/>
                <a:gd name="T2" fmla="*/ 108857 w 266"/>
                <a:gd name="T3" fmla="*/ 14726 h 326"/>
                <a:gd name="T4" fmla="*/ 112939 w 266"/>
                <a:gd name="T5" fmla="*/ 22089 h 326"/>
                <a:gd name="T6" fmla="*/ 111125 w 266"/>
                <a:gd name="T7" fmla="*/ 28926 h 326"/>
                <a:gd name="T8" fmla="*/ 102054 w 266"/>
                <a:gd name="T9" fmla="*/ 26296 h 326"/>
                <a:gd name="T10" fmla="*/ 95250 w 266"/>
                <a:gd name="T11" fmla="*/ 26822 h 326"/>
                <a:gd name="T12" fmla="*/ 88446 w 266"/>
                <a:gd name="T13" fmla="*/ 34185 h 326"/>
                <a:gd name="T14" fmla="*/ 87539 w 266"/>
                <a:gd name="T15" fmla="*/ 41022 h 326"/>
                <a:gd name="T16" fmla="*/ 89807 w 266"/>
                <a:gd name="T17" fmla="*/ 46807 h 326"/>
                <a:gd name="T18" fmla="*/ 97518 w 266"/>
                <a:gd name="T19" fmla="*/ 57851 h 326"/>
                <a:gd name="T20" fmla="*/ 101600 w 266"/>
                <a:gd name="T21" fmla="*/ 64162 h 326"/>
                <a:gd name="T22" fmla="*/ 102054 w 266"/>
                <a:gd name="T23" fmla="*/ 69947 h 326"/>
                <a:gd name="T24" fmla="*/ 100693 w 266"/>
                <a:gd name="T25" fmla="*/ 75207 h 326"/>
                <a:gd name="T26" fmla="*/ 93889 w 266"/>
                <a:gd name="T27" fmla="*/ 80992 h 326"/>
                <a:gd name="T28" fmla="*/ 90714 w 266"/>
                <a:gd name="T29" fmla="*/ 84147 h 326"/>
                <a:gd name="T30" fmla="*/ 82096 w 266"/>
                <a:gd name="T31" fmla="*/ 87303 h 326"/>
                <a:gd name="T32" fmla="*/ 74386 w 266"/>
                <a:gd name="T33" fmla="*/ 93614 h 326"/>
                <a:gd name="T34" fmla="*/ 72571 w 266"/>
                <a:gd name="T35" fmla="*/ 100451 h 326"/>
                <a:gd name="T36" fmla="*/ 78468 w 266"/>
                <a:gd name="T37" fmla="*/ 108865 h 326"/>
                <a:gd name="T38" fmla="*/ 85725 w 266"/>
                <a:gd name="T39" fmla="*/ 113073 h 326"/>
                <a:gd name="T40" fmla="*/ 97064 w 266"/>
                <a:gd name="T41" fmla="*/ 119384 h 326"/>
                <a:gd name="T42" fmla="*/ 111125 w 266"/>
                <a:gd name="T43" fmla="*/ 136213 h 326"/>
                <a:gd name="T44" fmla="*/ 113846 w 266"/>
                <a:gd name="T45" fmla="*/ 149887 h 326"/>
                <a:gd name="T46" fmla="*/ 99786 w 266"/>
                <a:gd name="T47" fmla="*/ 153043 h 326"/>
                <a:gd name="T48" fmla="*/ 93889 w 266"/>
                <a:gd name="T49" fmla="*/ 156724 h 326"/>
                <a:gd name="T50" fmla="*/ 89807 w 266"/>
                <a:gd name="T51" fmla="*/ 164087 h 326"/>
                <a:gd name="T52" fmla="*/ 85725 w 266"/>
                <a:gd name="T53" fmla="*/ 171450 h 326"/>
                <a:gd name="T54" fmla="*/ 77107 w 266"/>
                <a:gd name="T55" fmla="*/ 168820 h 326"/>
                <a:gd name="T56" fmla="*/ 75746 w 266"/>
                <a:gd name="T57" fmla="*/ 166191 h 326"/>
                <a:gd name="T58" fmla="*/ 69850 w 266"/>
                <a:gd name="T59" fmla="*/ 163035 h 326"/>
                <a:gd name="T60" fmla="*/ 63046 w 266"/>
                <a:gd name="T61" fmla="*/ 158302 h 326"/>
                <a:gd name="T62" fmla="*/ 57150 w 266"/>
                <a:gd name="T63" fmla="*/ 155146 h 326"/>
                <a:gd name="T64" fmla="*/ 44450 w 266"/>
                <a:gd name="T65" fmla="*/ 152517 h 326"/>
                <a:gd name="T66" fmla="*/ 28575 w 266"/>
                <a:gd name="T67" fmla="*/ 145680 h 326"/>
                <a:gd name="T68" fmla="*/ 24493 w 266"/>
                <a:gd name="T69" fmla="*/ 140947 h 326"/>
                <a:gd name="T70" fmla="*/ 24946 w 266"/>
                <a:gd name="T71" fmla="*/ 134636 h 326"/>
                <a:gd name="T72" fmla="*/ 31750 w 266"/>
                <a:gd name="T73" fmla="*/ 128325 h 326"/>
                <a:gd name="T74" fmla="*/ 26761 w 266"/>
                <a:gd name="T75" fmla="*/ 116228 h 326"/>
                <a:gd name="T76" fmla="*/ 15421 w 266"/>
                <a:gd name="T77" fmla="*/ 102029 h 326"/>
                <a:gd name="T78" fmla="*/ 5896 w 266"/>
                <a:gd name="T79" fmla="*/ 95717 h 326"/>
                <a:gd name="T80" fmla="*/ 1814 w 266"/>
                <a:gd name="T81" fmla="*/ 89932 h 326"/>
                <a:gd name="T82" fmla="*/ 8618 w 266"/>
                <a:gd name="T83" fmla="*/ 79940 h 326"/>
                <a:gd name="T84" fmla="*/ 24493 w 266"/>
                <a:gd name="T85" fmla="*/ 65214 h 326"/>
                <a:gd name="T86" fmla="*/ 33111 w 266"/>
                <a:gd name="T87" fmla="*/ 55222 h 326"/>
                <a:gd name="T88" fmla="*/ 39914 w 266"/>
                <a:gd name="T89" fmla="*/ 48385 h 326"/>
                <a:gd name="T90" fmla="*/ 49893 w 266"/>
                <a:gd name="T91" fmla="*/ 46281 h 326"/>
                <a:gd name="T92" fmla="*/ 65314 w 266"/>
                <a:gd name="T93" fmla="*/ 36814 h 326"/>
                <a:gd name="T94" fmla="*/ 76200 w 266"/>
                <a:gd name="T95" fmla="*/ 24192 h 326"/>
                <a:gd name="T96" fmla="*/ 86632 w 266"/>
                <a:gd name="T97" fmla="*/ 11044 h 326"/>
                <a:gd name="T98" fmla="*/ 99786 w 266"/>
                <a:gd name="T99" fmla="*/ 2104 h 326"/>
                <a:gd name="T100" fmla="*/ 107950 w 266"/>
                <a:gd name="T101" fmla="*/ 0 h 32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02" name="Freeform 273">
              <a:extLst>
                <a:ext uri="{FF2B5EF4-FFF2-40B4-BE49-F238E27FC236}">
                  <a16:creationId xmlns:a16="http://schemas.microsoft.com/office/drawing/2014/main" xmlns="" id="{D5C5CD8D-E242-BE32-CDA2-B8C6CF2ABE89}"/>
                </a:ext>
              </a:extLst>
            </p:cNvPr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5710812" y="1804916"/>
              <a:ext cx="178539" cy="90641"/>
            </a:xfrm>
            <a:custGeom>
              <a:avLst/>
              <a:gdLst>
                <a:gd name="T0" fmla="*/ 37682 w 471"/>
                <a:gd name="T1" fmla="*/ 0 h 237"/>
                <a:gd name="T2" fmla="*/ 40311 w 471"/>
                <a:gd name="T3" fmla="*/ 3657 h 237"/>
                <a:gd name="T4" fmla="*/ 44693 w 471"/>
                <a:gd name="T5" fmla="*/ 6792 h 237"/>
                <a:gd name="T6" fmla="*/ 54770 w 471"/>
                <a:gd name="T7" fmla="*/ 12017 h 237"/>
                <a:gd name="T8" fmla="*/ 69668 w 471"/>
                <a:gd name="T9" fmla="*/ 19331 h 237"/>
                <a:gd name="T10" fmla="*/ 97710 w 471"/>
                <a:gd name="T11" fmla="*/ 40230 h 237"/>
                <a:gd name="T12" fmla="*/ 110855 w 471"/>
                <a:gd name="T13" fmla="*/ 50679 h 237"/>
                <a:gd name="T14" fmla="*/ 124000 w 471"/>
                <a:gd name="T15" fmla="*/ 59039 h 237"/>
                <a:gd name="T16" fmla="*/ 138460 w 471"/>
                <a:gd name="T17" fmla="*/ 66353 h 237"/>
                <a:gd name="T18" fmla="*/ 155548 w 471"/>
                <a:gd name="T19" fmla="*/ 72623 h 237"/>
                <a:gd name="T20" fmla="*/ 174827 w 471"/>
                <a:gd name="T21" fmla="*/ 76280 h 237"/>
                <a:gd name="T22" fmla="*/ 197612 w 471"/>
                <a:gd name="T23" fmla="*/ 77325 h 237"/>
                <a:gd name="T24" fmla="*/ 198050 w 471"/>
                <a:gd name="T25" fmla="*/ 97702 h 237"/>
                <a:gd name="T26" fmla="*/ 201117 w 471"/>
                <a:gd name="T27" fmla="*/ 110241 h 237"/>
                <a:gd name="T28" fmla="*/ 204622 w 471"/>
                <a:gd name="T29" fmla="*/ 118600 h 237"/>
                <a:gd name="T30" fmla="*/ 204622 w 471"/>
                <a:gd name="T31" fmla="*/ 123303 h 237"/>
                <a:gd name="T32" fmla="*/ 197612 w 471"/>
                <a:gd name="T33" fmla="*/ 123303 h 237"/>
                <a:gd name="T34" fmla="*/ 182276 w 471"/>
                <a:gd name="T35" fmla="*/ 120690 h 237"/>
                <a:gd name="T36" fmla="*/ 158615 w 471"/>
                <a:gd name="T37" fmla="*/ 114421 h 237"/>
                <a:gd name="T38" fmla="*/ 138021 w 471"/>
                <a:gd name="T39" fmla="*/ 108151 h 237"/>
                <a:gd name="T40" fmla="*/ 128820 w 471"/>
                <a:gd name="T41" fmla="*/ 106061 h 237"/>
                <a:gd name="T42" fmla="*/ 125753 w 471"/>
                <a:gd name="T43" fmla="*/ 103971 h 237"/>
                <a:gd name="T44" fmla="*/ 121371 w 471"/>
                <a:gd name="T45" fmla="*/ 99269 h 237"/>
                <a:gd name="T46" fmla="*/ 116990 w 471"/>
                <a:gd name="T47" fmla="*/ 92999 h 237"/>
                <a:gd name="T48" fmla="*/ 111732 w 471"/>
                <a:gd name="T49" fmla="*/ 86730 h 237"/>
                <a:gd name="T50" fmla="*/ 105159 w 471"/>
                <a:gd name="T51" fmla="*/ 83072 h 237"/>
                <a:gd name="T52" fmla="*/ 99463 w 471"/>
                <a:gd name="T53" fmla="*/ 83072 h 237"/>
                <a:gd name="T54" fmla="*/ 89824 w 471"/>
                <a:gd name="T55" fmla="*/ 85162 h 237"/>
                <a:gd name="T56" fmla="*/ 80184 w 471"/>
                <a:gd name="T57" fmla="*/ 87252 h 237"/>
                <a:gd name="T58" fmla="*/ 74050 w 471"/>
                <a:gd name="T59" fmla="*/ 87775 h 237"/>
                <a:gd name="T60" fmla="*/ 69230 w 471"/>
                <a:gd name="T61" fmla="*/ 85685 h 237"/>
                <a:gd name="T62" fmla="*/ 64848 w 471"/>
                <a:gd name="T63" fmla="*/ 80983 h 237"/>
                <a:gd name="T64" fmla="*/ 60905 w 471"/>
                <a:gd name="T65" fmla="*/ 77325 h 237"/>
                <a:gd name="T66" fmla="*/ 53456 w 471"/>
                <a:gd name="T67" fmla="*/ 75758 h 237"/>
                <a:gd name="T68" fmla="*/ 40311 w 471"/>
                <a:gd name="T69" fmla="*/ 70533 h 237"/>
                <a:gd name="T70" fmla="*/ 21032 w 471"/>
                <a:gd name="T71" fmla="*/ 61129 h 237"/>
                <a:gd name="T72" fmla="*/ 5258 w 471"/>
                <a:gd name="T73" fmla="*/ 50157 h 237"/>
                <a:gd name="T74" fmla="*/ 3067 w 471"/>
                <a:gd name="T75" fmla="*/ 0 h 2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03" name="Freeform 274">
              <a:extLst>
                <a:ext uri="{FF2B5EF4-FFF2-40B4-BE49-F238E27FC236}">
                  <a16:creationId xmlns:a16="http://schemas.microsoft.com/office/drawing/2014/main" xmlns="" id="{2A848EB6-78FB-36C3-7B98-D489BC0ECCA9}"/>
                </a:ext>
              </a:extLst>
            </p:cNvPr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5897591" y="1845589"/>
              <a:ext cx="63175" cy="47644"/>
            </a:xfrm>
            <a:custGeom>
              <a:avLst/>
              <a:gdLst>
                <a:gd name="T0" fmla="*/ 73025 w 167"/>
                <a:gd name="T1" fmla="*/ 22754 h 123"/>
                <a:gd name="T2" fmla="*/ 71713 w 167"/>
                <a:gd name="T3" fmla="*/ 28575 h 123"/>
                <a:gd name="T4" fmla="*/ 70401 w 167"/>
                <a:gd name="T5" fmla="*/ 34925 h 123"/>
                <a:gd name="T6" fmla="*/ 67778 w 167"/>
                <a:gd name="T7" fmla="*/ 41804 h 123"/>
                <a:gd name="T8" fmla="*/ 65591 w 167"/>
                <a:gd name="T9" fmla="*/ 49212 h 123"/>
                <a:gd name="T10" fmla="*/ 63842 w 167"/>
                <a:gd name="T11" fmla="*/ 52387 h 123"/>
                <a:gd name="T12" fmla="*/ 62093 w 167"/>
                <a:gd name="T13" fmla="*/ 55562 h 123"/>
                <a:gd name="T14" fmla="*/ 60344 w 167"/>
                <a:gd name="T15" fmla="*/ 58208 h 123"/>
                <a:gd name="T16" fmla="*/ 57720 w 167"/>
                <a:gd name="T17" fmla="*/ 60325 h 123"/>
                <a:gd name="T18" fmla="*/ 55534 w 167"/>
                <a:gd name="T19" fmla="*/ 62441 h 123"/>
                <a:gd name="T20" fmla="*/ 52910 w 167"/>
                <a:gd name="T21" fmla="*/ 64029 h 123"/>
                <a:gd name="T22" fmla="*/ 50287 w 167"/>
                <a:gd name="T23" fmla="*/ 64558 h 123"/>
                <a:gd name="T24" fmla="*/ 46788 w 167"/>
                <a:gd name="T25" fmla="*/ 65087 h 123"/>
                <a:gd name="T26" fmla="*/ 43728 w 167"/>
                <a:gd name="T27" fmla="*/ 64558 h 123"/>
                <a:gd name="T28" fmla="*/ 40229 w 167"/>
                <a:gd name="T29" fmla="*/ 62970 h 123"/>
                <a:gd name="T30" fmla="*/ 38043 w 167"/>
                <a:gd name="T31" fmla="*/ 61383 h 123"/>
                <a:gd name="T32" fmla="*/ 36731 w 167"/>
                <a:gd name="T33" fmla="*/ 59795 h 123"/>
                <a:gd name="T34" fmla="*/ 35857 w 167"/>
                <a:gd name="T35" fmla="*/ 57679 h 123"/>
                <a:gd name="T36" fmla="*/ 35419 w 167"/>
                <a:gd name="T37" fmla="*/ 55562 h 123"/>
                <a:gd name="T38" fmla="*/ 31047 w 167"/>
                <a:gd name="T39" fmla="*/ 55033 h 123"/>
                <a:gd name="T40" fmla="*/ 26674 w 167"/>
                <a:gd name="T41" fmla="*/ 54504 h 123"/>
                <a:gd name="T42" fmla="*/ 22301 w 167"/>
                <a:gd name="T43" fmla="*/ 53445 h 123"/>
                <a:gd name="T44" fmla="*/ 17928 w 167"/>
                <a:gd name="T45" fmla="*/ 51858 h 123"/>
                <a:gd name="T46" fmla="*/ 9183 w 167"/>
                <a:gd name="T47" fmla="*/ 48683 h 123"/>
                <a:gd name="T48" fmla="*/ 0 w 167"/>
                <a:gd name="T49" fmla="*/ 45508 h 123"/>
                <a:gd name="T50" fmla="*/ 875 w 167"/>
                <a:gd name="T51" fmla="*/ 40746 h 123"/>
                <a:gd name="T52" fmla="*/ 2186 w 167"/>
                <a:gd name="T53" fmla="*/ 35454 h 123"/>
                <a:gd name="T54" fmla="*/ 3935 w 167"/>
                <a:gd name="T55" fmla="*/ 29633 h 123"/>
                <a:gd name="T56" fmla="*/ 6559 w 167"/>
                <a:gd name="T57" fmla="*/ 22754 h 123"/>
                <a:gd name="T58" fmla="*/ 8746 w 167"/>
                <a:gd name="T59" fmla="*/ 22754 h 123"/>
                <a:gd name="T60" fmla="*/ 11369 w 167"/>
                <a:gd name="T61" fmla="*/ 22225 h 123"/>
                <a:gd name="T62" fmla="*/ 13118 w 167"/>
                <a:gd name="T63" fmla="*/ 21696 h 123"/>
                <a:gd name="T64" fmla="*/ 14430 w 167"/>
                <a:gd name="T65" fmla="*/ 20108 h 123"/>
                <a:gd name="T66" fmla="*/ 17491 w 167"/>
                <a:gd name="T67" fmla="*/ 17462 h 123"/>
                <a:gd name="T68" fmla="*/ 19677 w 167"/>
                <a:gd name="T69" fmla="*/ 13758 h 123"/>
                <a:gd name="T70" fmla="*/ 22738 w 167"/>
                <a:gd name="T71" fmla="*/ 6350 h 123"/>
                <a:gd name="T72" fmla="*/ 26674 w 167"/>
                <a:gd name="T73" fmla="*/ 0 h 123"/>
                <a:gd name="T74" fmla="*/ 27986 w 167"/>
                <a:gd name="T75" fmla="*/ 2117 h 123"/>
                <a:gd name="T76" fmla="*/ 29297 w 167"/>
                <a:gd name="T77" fmla="*/ 3704 h 123"/>
                <a:gd name="T78" fmla="*/ 31921 w 167"/>
                <a:gd name="T79" fmla="*/ 5821 h 123"/>
                <a:gd name="T80" fmla="*/ 34107 w 167"/>
                <a:gd name="T81" fmla="*/ 7408 h 123"/>
                <a:gd name="T82" fmla="*/ 40229 w 167"/>
                <a:gd name="T83" fmla="*/ 11112 h 123"/>
                <a:gd name="T84" fmla="*/ 46788 w 167"/>
                <a:gd name="T85" fmla="*/ 14817 h 123"/>
                <a:gd name="T86" fmla="*/ 53348 w 167"/>
                <a:gd name="T87" fmla="*/ 18521 h 123"/>
                <a:gd name="T88" fmla="*/ 60781 w 167"/>
                <a:gd name="T89" fmla="*/ 20637 h 123"/>
                <a:gd name="T90" fmla="*/ 66903 w 167"/>
                <a:gd name="T91" fmla="*/ 22225 h 123"/>
                <a:gd name="T92" fmla="*/ 73025 w 167"/>
                <a:gd name="T93" fmla="*/ 22754 h 12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04" name="Freeform 275">
              <a:extLst>
                <a:ext uri="{FF2B5EF4-FFF2-40B4-BE49-F238E27FC236}">
                  <a16:creationId xmlns:a16="http://schemas.microsoft.com/office/drawing/2014/main" xmlns="" id="{1491F01C-E1CC-B33B-74DC-BEBA519CE714}"/>
                </a:ext>
              </a:extLst>
            </p:cNvPr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5889350" y="1897881"/>
              <a:ext cx="115363" cy="122016"/>
            </a:xfrm>
            <a:custGeom>
              <a:avLst/>
              <a:gdLst>
                <a:gd name="T0" fmla="*/ 112868 w 306"/>
                <a:gd name="T1" fmla="*/ 83084 h 321"/>
                <a:gd name="T2" fmla="*/ 109818 w 306"/>
                <a:gd name="T3" fmla="*/ 89835 h 321"/>
                <a:gd name="T4" fmla="*/ 105896 w 306"/>
                <a:gd name="T5" fmla="*/ 94508 h 321"/>
                <a:gd name="T6" fmla="*/ 101538 w 306"/>
                <a:gd name="T7" fmla="*/ 96586 h 321"/>
                <a:gd name="T8" fmla="*/ 97180 w 306"/>
                <a:gd name="T9" fmla="*/ 95547 h 321"/>
                <a:gd name="T10" fmla="*/ 93258 w 306"/>
                <a:gd name="T11" fmla="*/ 92431 h 321"/>
                <a:gd name="T12" fmla="*/ 91079 w 306"/>
                <a:gd name="T13" fmla="*/ 87758 h 321"/>
                <a:gd name="T14" fmla="*/ 89772 w 306"/>
                <a:gd name="T15" fmla="*/ 83084 h 321"/>
                <a:gd name="T16" fmla="*/ 91079 w 306"/>
                <a:gd name="T17" fmla="*/ 76853 h 321"/>
                <a:gd name="T18" fmla="*/ 92822 w 306"/>
                <a:gd name="T19" fmla="*/ 70622 h 321"/>
                <a:gd name="T20" fmla="*/ 100230 w 306"/>
                <a:gd name="T21" fmla="*/ 59198 h 321"/>
                <a:gd name="T22" fmla="*/ 107203 w 306"/>
                <a:gd name="T23" fmla="*/ 48293 h 321"/>
                <a:gd name="T24" fmla="*/ 108946 w 306"/>
                <a:gd name="T25" fmla="*/ 42581 h 321"/>
                <a:gd name="T26" fmla="*/ 110253 w 306"/>
                <a:gd name="T27" fmla="*/ 35830 h 321"/>
                <a:gd name="T28" fmla="*/ 56216 w 306"/>
                <a:gd name="T29" fmla="*/ 35311 h 321"/>
                <a:gd name="T30" fmla="*/ 51858 w 306"/>
                <a:gd name="T31" fmla="*/ 30637 h 321"/>
                <a:gd name="T32" fmla="*/ 48808 w 306"/>
                <a:gd name="T33" fmla="*/ 23367 h 321"/>
                <a:gd name="T34" fmla="*/ 47065 w 306"/>
                <a:gd name="T35" fmla="*/ 14540 h 321"/>
                <a:gd name="T36" fmla="*/ 44014 w 306"/>
                <a:gd name="T37" fmla="*/ 9866 h 321"/>
                <a:gd name="T38" fmla="*/ 39221 w 306"/>
                <a:gd name="T39" fmla="*/ 8828 h 321"/>
                <a:gd name="T40" fmla="*/ 34863 w 306"/>
                <a:gd name="T41" fmla="*/ 6231 h 321"/>
                <a:gd name="T42" fmla="*/ 32684 w 306"/>
                <a:gd name="T43" fmla="*/ 2077 h 321"/>
                <a:gd name="T44" fmla="*/ 28326 w 306"/>
                <a:gd name="T45" fmla="*/ 0 h 321"/>
                <a:gd name="T46" fmla="*/ 21353 w 306"/>
                <a:gd name="T47" fmla="*/ 0 h 321"/>
                <a:gd name="T48" fmla="*/ 14817 w 306"/>
                <a:gd name="T49" fmla="*/ 519 h 321"/>
                <a:gd name="T50" fmla="*/ 9587 w 306"/>
                <a:gd name="T51" fmla="*/ 2596 h 321"/>
                <a:gd name="T52" fmla="*/ 4358 w 306"/>
                <a:gd name="T53" fmla="*/ 7270 h 321"/>
                <a:gd name="T54" fmla="*/ 436 w 306"/>
                <a:gd name="T55" fmla="*/ 12982 h 321"/>
                <a:gd name="T56" fmla="*/ 872 w 306"/>
                <a:gd name="T57" fmla="*/ 18175 h 321"/>
                <a:gd name="T58" fmla="*/ 6537 w 306"/>
                <a:gd name="T59" fmla="*/ 23887 h 321"/>
                <a:gd name="T60" fmla="*/ 15252 w 306"/>
                <a:gd name="T61" fmla="*/ 30118 h 321"/>
                <a:gd name="T62" fmla="*/ 23532 w 306"/>
                <a:gd name="T63" fmla="*/ 34792 h 321"/>
                <a:gd name="T64" fmla="*/ 20482 w 306"/>
                <a:gd name="T65" fmla="*/ 41023 h 321"/>
                <a:gd name="T66" fmla="*/ 10895 w 306"/>
                <a:gd name="T67" fmla="*/ 50370 h 321"/>
                <a:gd name="T68" fmla="*/ 7408 w 306"/>
                <a:gd name="T69" fmla="*/ 55563 h 321"/>
                <a:gd name="T70" fmla="*/ 6101 w 306"/>
                <a:gd name="T71" fmla="*/ 59198 h 321"/>
                <a:gd name="T72" fmla="*/ 6101 w 306"/>
                <a:gd name="T73" fmla="*/ 63352 h 321"/>
                <a:gd name="T74" fmla="*/ 7844 w 306"/>
                <a:gd name="T75" fmla="*/ 66987 h 321"/>
                <a:gd name="T76" fmla="*/ 12202 w 306"/>
                <a:gd name="T77" fmla="*/ 73218 h 321"/>
                <a:gd name="T78" fmla="*/ 20482 w 306"/>
                <a:gd name="T79" fmla="*/ 81007 h 321"/>
                <a:gd name="T80" fmla="*/ 27890 w 306"/>
                <a:gd name="T81" fmla="*/ 85161 h 321"/>
                <a:gd name="T82" fmla="*/ 32684 w 306"/>
                <a:gd name="T83" fmla="*/ 86200 h 321"/>
                <a:gd name="T84" fmla="*/ 46629 w 306"/>
                <a:gd name="T85" fmla="*/ 140724 h 321"/>
                <a:gd name="T86" fmla="*/ 47065 w 306"/>
                <a:gd name="T87" fmla="*/ 136570 h 321"/>
                <a:gd name="T88" fmla="*/ 48808 w 306"/>
                <a:gd name="T89" fmla="*/ 132935 h 321"/>
                <a:gd name="T90" fmla="*/ 55345 w 306"/>
                <a:gd name="T91" fmla="*/ 127742 h 321"/>
                <a:gd name="T92" fmla="*/ 64496 w 306"/>
                <a:gd name="T93" fmla="*/ 124627 h 321"/>
                <a:gd name="T94" fmla="*/ 75826 w 306"/>
                <a:gd name="T95" fmla="*/ 122030 h 321"/>
                <a:gd name="T96" fmla="*/ 75826 w 306"/>
                <a:gd name="T97" fmla="*/ 109048 h 321"/>
                <a:gd name="T98" fmla="*/ 79749 w 306"/>
                <a:gd name="T99" fmla="*/ 110087 h 321"/>
                <a:gd name="T100" fmla="*/ 84106 w 306"/>
                <a:gd name="T101" fmla="*/ 110087 h 321"/>
                <a:gd name="T102" fmla="*/ 92822 w 306"/>
                <a:gd name="T103" fmla="*/ 109048 h 321"/>
                <a:gd name="T104" fmla="*/ 101102 w 306"/>
                <a:gd name="T105" fmla="*/ 135531 h 321"/>
                <a:gd name="T106" fmla="*/ 112868 w 306"/>
                <a:gd name="T107" fmla="*/ 166688 h 321"/>
                <a:gd name="T108" fmla="*/ 118533 w 306"/>
                <a:gd name="T109" fmla="*/ 161495 h 321"/>
                <a:gd name="T110" fmla="*/ 122891 w 306"/>
                <a:gd name="T111" fmla="*/ 156822 h 321"/>
                <a:gd name="T112" fmla="*/ 128556 w 306"/>
                <a:gd name="T113" fmla="*/ 145398 h 321"/>
                <a:gd name="T114" fmla="*/ 133350 w 306"/>
                <a:gd name="T115" fmla="*/ 122030 h 3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05" name="Freeform 276">
              <a:extLst>
                <a:ext uri="{FF2B5EF4-FFF2-40B4-BE49-F238E27FC236}">
                  <a16:creationId xmlns:a16="http://schemas.microsoft.com/office/drawing/2014/main" xmlns="" id="{E6FC74B6-4061-DFE8-3DC5-B005D2962E5B}"/>
                </a:ext>
              </a:extLst>
            </p:cNvPr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6164025" y="1982712"/>
              <a:ext cx="174418" cy="197549"/>
            </a:xfrm>
            <a:custGeom>
              <a:avLst/>
              <a:gdLst>
                <a:gd name="T0" fmla="*/ 40237 w 471"/>
                <a:gd name="T1" fmla="*/ 6252 h 518"/>
                <a:gd name="T2" fmla="*/ 28679 w 471"/>
                <a:gd name="T3" fmla="*/ 16672 h 518"/>
                <a:gd name="T4" fmla="*/ 17122 w 471"/>
                <a:gd name="T5" fmla="*/ 25529 h 518"/>
                <a:gd name="T6" fmla="*/ 11557 w 471"/>
                <a:gd name="T7" fmla="*/ 42722 h 518"/>
                <a:gd name="T8" fmla="*/ 3424 w 471"/>
                <a:gd name="T9" fmla="*/ 61477 h 518"/>
                <a:gd name="T10" fmla="*/ 2996 w 471"/>
                <a:gd name="T11" fmla="*/ 70855 h 518"/>
                <a:gd name="T12" fmla="*/ 12842 w 471"/>
                <a:gd name="T13" fmla="*/ 79712 h 518"/>
                <a:gd name="T14" fmla="*/ 21403 w 471"/>
                <a:gd name="T15" fmla="*/ 87527 h 518"/>
                <a:gd name="T16" fmla="*/ 26539 w 471"/>
                <a:gd name="T17" fmla="*/ 89611 h 518"/>
                <a:gd name="T18" fmla="*/ 32104 w 471"/>
                <a:gd name="T19" fmla="*/ 109930 h 518"/>
                <a:gd name="T20" fmla="*/ 35956 w 471"/>
                <a:gd name="T21" fmla="*/ 141710 h 518"/>
                <a:gd name="T22" fmla="*/ 40237 w 471"/>
                <a:gd name="T23" fmla="*/ 155777 h 518"/>
                <a:gd name="T24" fmla="*/ 44517 w 471"/>
                <a:gd name="T25" fmla="*/ 157340 h 518"/>
                <a:gd name="T26" fmla="*/ 47942 w 471"/>
                <a:gd name="T27" fmla="*/ 154735 h 518"/>
                <a:gd name="T28" fmla="*/ 54791 w 471"/>
                <a:gd name="T29" fmla="*/ 139626 h 518"/>
                <a:gd name="T30" fmla="*/ 62067 w 471"/>
                <a:gd name="T31" fmla="*/ 136500 h 518"/>
                <a:gd name="T32" fmla="*/ 68488 w 471"/>
                <a:gd name="T33" fmla="*/ 141710 h 518"/>
                <a:gd name="T34" fmla="*/ 74053 w 471"/>
                <a:gd name="T35" fmla="*/ 144315 h 518"/>
                <a:gd name="T36" fmla="*/ 78333 w 471"/>
                <a:gd name="T37" fmla="*/ 142752 h 518"/>
                <a:gd name="T38" fmla="*/ 82186 w 471"/>
                <a:gd name="T39" fmla="*/ 134938 h 518"/>
                <a:gd name="T40" fmla="*/ 86894 w 471"/>
                <a:gd name="T41" fmla="*/ 127123 h 518"/>
                <a:gd name="T42" fmla="*/ 90747 w 471"/>
                <a:gd name="T43" fmla="*/ 125560 h 518"/>
                <a:gd name="T44" fmla="*/ 103160 w 471"/>
                <a:gd name="T45" fmla="*/ 128686 h 518"/>
                <a:gd name="T46" fmla="*/ 110865 w 471"/>
                <a:gd name="T47" fmla="*/ 141189 h 518"/>
                <a:gd name="T48" fmla="*/ 131840 w 471"/>
                <a:gd name="T49" fmla="*/ 175054 h 518"/>
                <a:gd name="T50" fmla="*/ 145965 w 471"/>
                <a:gd name="T51" fmla="*/ 199020 h 518"/>
                <a:gd name="T52" fmla="*/ 153242 w 471"/>
                <a:gd name="T53" fmla="*/ 218297 h 518"/>
                <a:gd name="T54" fmla="*/ 156667 w 471"/>
                <a:gd name="T55" fmla="*/ 238094 h 518"/>
                <a:gd name="T56" fmla="*/ 153670 w 471"/>
                <a:gd name="T57" fmla="*/ 244867 h 518"/>
                <a:gd name="T58" fmla="*/ 145109 w 471"/>
                <a:gd name="T59" fmla="*/ 253724 h 518"/>
                <a:gd name="T60" fmla="*/ 155382 w 471"/>
                <a:gd name="T61" fmla="*/ 258413 h 518"/>
                <a:gd name="T62" fmla="*/ 167796 w 471"/>
                <a:gd name="T63" fmla="*/ 269875 h 518"/>
                <a:gd name="T64" fmla="*/ 171648 w 471"/>
                <a:gd name="T65" fmla="*/ 259976 h 518"/>
                <a:gd name="T66" fmla="*/ 176785 w 471"/>
                <a:gd name="T67" fmla="*/ 254766 h 518"/>
                <a:gd name="T68" fmla="*/ 190055 w 471"/>
                <a:gd name="T69" fmla="*/ 251640 h 518"/>
                <a:gd name="T70" fmla="*/ 200328 w 471"/>
                <a:gd name="T71" fmla="*/ 228195 h 518"/>
                <a:gd name="T72" fmla="*/ 192195 w 471"/>
                <a:gd name="T73" fmla="*/ 201625 h 518"/>
                <a:gd name="T74" fmla="*/ 180209 w 471"/>
                <a:gd name="T75" fmla="*/ 180785 h 518"/>
                <a:gd name="T76" fmla="*/ 147678 w 471"/>
                <a:gd name="T77" fmla="*/ 144315 h 518"/>
                <a:gd name="T78" fmla="*/ 119426 w 471"/>
                <a:gd name="T79" fmla="*/ 113577 h 518"/>
                <a:gd name="T80" fmla="*/ 95883 w 471"/>
                <a:gd name="T81" fmla="*/ 84401 h 518"/>
                <a:gd name="T82" fmla="*/ 76621 w 471"/>
                <a:gd name="T83" fmla="*/ 54704 h 518"/>
                <a:gd name="T84" fmla="*/ 54362 w 471"/>
                <a:gd name="T85" fmla="*/ 20840 h 518"/>
                <a:gd name="T86" fmla="*/ 49226 w 471"/>
                <a:gd name="T87" fmla="*/ 7294 h 51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06" name="Freeform 277">
              <a:extLst>
                <a:ext uri="{FF2B5EF4-FFF2-40B4-BE49-F238E27FC236}">
                  <a16:creationId xmlns:a16="http://schemas.microsoft.com/office/drawing/2014/main" xmlns="" id="{3421F675-D20F-8EE7-3F3D-D7CEE5194991}"/>
                </a:ext>
              </a:extLst>
            </p:cNvPr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6235441" y="2166317"/>
              <a:ext cx="115363" cy="95288"/>
            </a:xfrm>
            <a:custGeom>
              <a:avLst/>
              <a:gdLst>
                <a:gd name="T0" fmla="*/ 69178 w 293"/>
                <a:gd name="T1" fmla="*/ 10054 h 246"/>
                <a:gd name="T2" fmla="*/ 81466 w 293"/>
                <a:gd name="T3" fmla="*/ 15875 h 246"/>
                <a:gd name="T4" fmla="*/ 89203 w 293"/>
                <a:gd name="T5" fmla="*/ 15875 h 246"/>
                <a:gd name="T6" fmla="*/ 91934 w 293"/>
                <a:gd name="T7" fmla="*/ 9525 h 246"/>
                <a:gd name="T8" fmla="*/ 95575 w 293"/>
                <a:gd name="T9" fmla="*/ 5292 h 246"/>
                <a:gd name="T10" fmla="*/ 99671 w 293"/>
                <a:gd name="T11" fmla="*/ 3175 h 246"/>
                <a:gd name="T12" fmla="*/ 111504 w 293"/>
                <a:gd name="T13" fmla="*/ 1058 h 246"/>
                <a:gd name="T14" fmla="*/ 133350 w 293"/>
                <a:gd name="T15" fmla="*/ 42333 h 246"/>
                <a:gd name="T16" fmla="*/ 121062 w 293"/>
                <a:gd name="T17" fmla="*/ 56621 h 246"/>
                <a:gd name="T18" fmla="*/ 107863 w 293"/>
                <a:gd name="T19" fmla="*/ 74613 h 246"/>
                <a:gd name="T20" fmla="*/ 102402 w 293"/>
                <a:gd name="T21" fmla="*/ 84138 h 246"/>
                <a:gd name="T22" fmla="*/ 97851 w 293"/>
                <a:gd name="T23" fmla="*/ 94192 h 246"/>
                <a:gd name="T24" fmla="*/ 95120 w 293"/>
                <a:gd name="T25" fmla="*/ 104246 h 246"/>
                <a:gd name="T26" fmla="*/ 93755 w 293"/>
                <a:gd name="T27" fmla="*/ 114300 h 246"/>
                <a:gd name="T28" fmla="*/ 89203 w 293"/>
                <a:gd name="T29" fmla="*/ 114829 h 246"/>
                <a:gd name="T30" fmla="*/ 84652 w 293"/>
                <a:gd name="T31" fmla="*/ 116417 h 246"/>
                <a:gd name="T32" fmla="*/ 77370 w 293"/>
                <a:gd name="T33" fmla="*/ 121179 h 246"/>
                <a:gd name="T34" fmla="*/ 70088 w 293"/>
                <a:gd name="T35" fmla="*/ 126471 h 246"/>
                <a:gd name="T36" fmla="*/ 60531 w 293"/>
                <a:gd name="T37" fmla="*/ 130175 h 246"/>
                <a:gd name="T38" fmla="*/ 46422 w 293"/>
                <a:gd name="T39" fmla="*/ 127000 h 246"/>
                <a:gd name="T40" fmla="*/ 32313 w 293"/>
                <a:gd name="T41" fmla="*/ 122767 h 246"/>
                <a:gd name="T42" fmla="*/ 26852 w 293"/>
                <a:gd name="T43" fmla="*/ 119592 h 246"/>
                <a:gd name="T44" fmla="*/ 22301 w 293"/>
                <a:gd name="T45" fmla="*/ 116417 h 246"/>
                <a:gd name="T46" fmla="*/ 19570 w 293"/>
                <a:gd name="T47" fmla="*/ 112183 h 246"/>
                <a:gd name="T48" fmla="*/ 18660 w 293"/>
                <a:gd name="T49" fmla="*/ 107950 h 246"/>
                <a:gd name="T50" fmla="*/ 21391 w 293"/>
                <a:gd name="T51" fmla="*/ 94192 h 246"/>
                <a:gd name="T52" fmla="*/ 20480 w 293"/>
                <a:gd name="T53" fmla="*/ 85725 h 246"/>
                <a:gd name="T54" fmla="*/ 18205 w 293"/>
                <a:gd name="T55" fmla="*/ 77788 h 246"/>
                <a:gd name="T56" fmla="*/ 10923 w 293"/>
                <a:gd name="T57" fmla="*/ 62971 h 246"/>
                <a:gd name="T58" fmla="*/ 3641 w 293"/>
                <a:gd name="T59" fmla="*/ 48154 h 246"/>
                <a:gd name="T60" fmla="*/ 910 w 293"/>
                <a:gd name="T61" fmla="*/ 39158 h 246"/>
                <a:gd name="T62" fmla="*/ 0 w 293"/>
                <a:gd name="T63" fmla="*/ 29104 h 246"/>
                <a:gd name="T64" fmla="*/ 910 w 293"/>
                <a:gd name="T65" fmla="*/ 23813 h 246"/>
                <a:gd name="T66" fmla="*/ 3641 w 293"/>
                <a:gd name="T67" fmla="*/ 19050 h 246"/>
                <a:gd name="T68" fmla="*/ 7737 w 293"/>
                <a:gd name="T69" fmla="*/ 15346 h 246"/>
                <a:gd name="T70" fmla="*/ 11833 w 293"/>
                <a:gd name="T71" fmla="*/ 11642 h 246"/>
                <a:gd name="T72" fmla="*/ 21846 w 293"/>
                <a:gd name="T73" fmla="*/ 7408 h 246"/>
                <a:gd name="T74" fmla="*/ 30493 w 293"/>
                <a:gd name="T75" fmla="*/ 6350 h 246"/>
                <a:gd name="T76" fmla="*/ 43691 w 293"/>
                <a:gd name="T77" fmla="*/ 6350 h 246"/>
                <a:gd name="T78" fmla="*/ 60531 w 293"/>
                <a:gd name="T79" fmla="*/ 6350 h 2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07" name="Freeform 278">
              <a:extLst>
                <a:ext uri="{FF2B5EF4-FFF2-40B4-BE49-F238E27FC236}">
                  <a16:creationId xmlns:a16="http://schemas.microsoft.com/office/drawing/2014/main" xmlns="" id="{46DFF3E4-FDFD-E73F-8224-A842A01AADA6}"/>
                </a:ext>
              </a:extLst>
            </p:cNvPr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6582905" y="1607367"/>
              <a:ext cx="74162" cy="95288"/>
            </a:xfrm>
            <a:custGeom>
              <a:avLst/>
              <a:gdLst>
                <a:gd name="T0" fmla="*/ 7715 w 200"/>
                <a:gd name="T1" fmla="*/ 21696 h 246"/>
                <a:gd name="T2" fmla="*/ 12002 w 200"/>
                <a:gd name="T3" fmla="*/ 13758 h 246"/>
                <a:gd name="T4" fmla="*/ 16288 w 200"/>
                <a:gd name="T5" fmla="*/ 8467 h 246"/>
                <a:gd name="T6" fmla="*/ 21431 w 200"/>
                <a:gd name="T7" fmla="*/ 4763 h 246"/>
                <a:gd name="T8" fmla="*/ 31290 w 200"/>
                <a:gd name="T9" fmla="*/ 529 h 246"/>
                <a:gd name="T10" fmla="*/ 37719 w 200"/>
                <a:gd name="T11" fmla="*/ 6350 h 246"/>
                <a:gd name="T12" fmla="*/ 46292 w 200"/>
                <a:gd name="T13" fmla="*/ 17992 h 246"/>
                <a:gd name="T14" fmla="*/ 53578 w 200"/>
                <a:gd name="T15" fmla="*/ 26458 h 246"/>
                <a:gd name="T16" fmla="*/ 59579 w 200"/>
                <a:gd name="T17" fmla="*/ 30692 h 246"/>
                <a:gd name="T18" fmla="*/ 65151 w 200"/>
                <a:gd name="T19" fmla="*/ 33867 h 246"/>
                <a:gd name="T20" fmla="*/ 71152 w 200"/>
                <a:gd name="T21" fmla="*/ 35454 h 246"/>
                <a:gd name="T22" fmla="*/ 78867 w 200"/>
                <a:gd name="T23" fmla="*/ 50800 h 246"/>
                <a:gd name="T24" fmla="*/ 83582 w 200"/>
                <a:gd name="T25" fmla="*/ 72496 h 246"/>
                <a:gd name="T26" fmla="*/ 85296 w 200"/>
                <a:gd name="T27" fmla="*/ 87313 h 246"/>
                <a:gd name="T28" fmla="*/ 85725 w 200"/>
                <a:gd name="T29" fmla="*/ 97896 h 246"/>
                <a:gd name="T30" fmla="*/ 84868 w 200"/>
                <a:gd name="T31" fmla="*/ 104246 h 246"/>
                <a:gd name="T32" fmla="*/ 83582 w 200"/>
                <a:gd name="T33" fmla="*/ 109537 h 246"/>
                <a:gd name="T34" fmla="*/ 81010 w 200"/>
                <a:gd name="T35" fmla="*/ 113242 h 246"/>
                <a:gd name="T36" fmla="*/ 76724 w 200"/>
                <a:gd name="T37" fmla="*/ 116417 h 246"/>
                <a:gd name="T38" fmla="*/ 70295 w 200"/>
                <a:gd name="T39" fmla="*/ 118533 h 246"/>
                <a:gd name="T40" fmla="*/ 60008 w 200"/>
                <a:gd name="T41" fmla="*/ 118533 h 246"/>
                <a:gd name="T42" fmla="*/ 50578 w 200"/>
                <a:gd name="T43" fmla="*/ 121179 h 246"/>
                <a:gd name="T44" fmla="*/ 47577 w 200"/>
                <a:gd name="T45" fmla="*/ 124354 h 246"/>
                <a:gd name="T46" fmla="*/ 46292 w 200"/>
                <a:gd name="T47" fmla="*/ 128058 h 246"/>
                <a:gd name="T48" fmla="*/ 42005 w 200"/>
                <a:gd name="T49" fmla="*/ 129646 h 246"/>
                <a:gd name="T50" fmla="*/ 36433 w 200"/>
                <a:gd name="T51" fmla="*/ 127000 h 246"/>
                <a:gd name="T52" fmla="*/ 33004 w 200"/>
                <a:gd name="T53" fmla="*/ 121708 h 246"/>
                <a:gd name="T54" fmla="*/ 31290 w 200"/>
                <a:gd name="T55" fmla="*/ 114300 h 246"/>
                <a:gd name="T56" fmla="*/ 30861 w 200"/>
                <a:gd name="T57" fmla="*/ 101600 h 246"/>
                <a:gd name="T58" fmla="*/ 30432 w 200"/>
                <a:gd name="T59" fmla="*/ 88900 h 246"/>
                <a:gd name="T60" fmla="*/ 29575 w 200"/>
                <a:gd name="T61" fmla="*/ 81492 h 246"/>
                <a:gd name="T62" fmla="*/ 27432 w 200"/>
                <a:gd name="T63" fmla="*/ 75142 h 246"/>
                <a:gd name="T64" fmla="*/ 24003 w 200"/>
                <a:gd name="T65" fmla="*/ 70908 h 246"/>
                <a:gd name="T66" fmla="*/ 17145 w 200"/>
                <a:gd name="T67" fmla="*/ 66146 h 246"/>
                <a:gd name="T68" fmla="*/ 7715 w 200"/>
                <a:gd name="T69" fmla="*/ 60854 h 246"/>
                <a:gd name="T70" fmla="*/ 2572 w 200"/>
                <a:gd name="T71" fmla="*/ 56092 h 246"/>
                <a:gd name="T72" fmla="*/ 429 w 200"/>
                <a:gd name="T73" fmla="*/ 51858 h 246"/>
                <a:gd name="T74" fmla="*/ 429 w 200"/>
                <a:gd name="T75" fmla="*/ 46038 h 246"/>
                <a:gd name="T76" fmla="*/ 2143 w 200"/>
                <a:gd name="T77" fmla="*/ 41275 h 246"/>
                <a:gd name="T78" fmla="*/ 4286 w 200"/>
                <a:gd name="T79" fmla="*/ 35983 h 246"/>
                <a:gd name="T80" fmla="*/ 5572 w 200"/>
                <a:gd name="T81" fmla="*/ 29633 h 24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08" name="Freeform 279">
              <a:extLst>
                <a:ext uri="{FF2B5EF4-FFF2-40B4-BE49-F238E27FC236}">
                  <a16:creationId xmlns:a16="http://schemas.microsoft.com/office/drawing/2014/main" xmlns="" id="{3B8CA9CC-653E-8D70-D3F8-4C69FF20CFF3}"/>
                </a:ext>
              </a:extLst>
            </p:cNvPr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7074573" y="2556768"/>
              <a:ext cx="200513" cy="185929"/>
            </a:xfrm>
            <a:custGeom>
              <a:avLst/>
              <a:gdLst>
                <a:gd name="T0" fmla="*/ 39204 w 538"/>
                <a:gd name="T1" fmla="*/ 10953 h 487"/>
                <a:gd name="T2" fmla="*/ 68929 w 538"/>
                <a:gd name="T3" fmla="*/ 24513 h 487"/>
                <a:gd name="T4" fmla="*/ 87023 w 538"/>
                <a:gd name="T5" fmla="*/ 36509 h 487"/>
                <a:gd name="T6" fmla="*/ 108995 w 538"/>
                <a:gd name="T7" fmla="*/ 57372 h 487"/>
                <a:gd name="T8" fmla="*/ 129243 w 538"/>
                <a:gd name="T9" fmla="*/ 70932 h 487"/>
                <a:gd name="T10" fmla="*/ 128812 w 538"/>
                <a:gd name="T11" fmla="*/ 83971 h 487"/>
                <a:gd name="T12" fmla="*/ 149491 w 538"/>
                <a:gd name="T13" fmla="*/ 106920 h 487"/>
                <a:gd name="T14" fmla="*/ 169308 w 538"/>
                <a:gd name="T15" fmla="*/ 129347 h 487"/>
                <a:gd name="T16" fmla="*/ 163276 w 538"/>
                <a:gd name="T17" fmla="*/ 130390 h 487"/>
                <a:gd name="T18" fmla="*/ 160261 w 538"/>
                <a:gd name="T19" fmla="*/ 133520 h 487"/>
                <a:gd name="T20" fmla="*/ 160261 w 538"/>
                <a:gd name="T21" fmla="*/ 144994 h 487"/>
                <a:gd name="T22" fmla="*/ 162415 w 538"/>
                <a:gd name="T23" fmla="*/ 156990 h 487"/>
                <a:gd name="T24" fmla="*/ 167585 w 538"/>
                <a:gd name="T25" fmla="*/ 169507 h 487"/>
                <a:gd name="T26" fmla="*/ 175339 w 538"/>
                <a:gd name="T27" fmla="*/ 181503 h 487"/>
                <a:gd name="T28" fmla="*/ 184386 w 538"/>
                <a:gd name="T29" fmla="*/ 190891 h 487"/>
                <a:gd name="T30" fmla="*/ 194295 w 538"/>
                <a:gd name="T31" fmla="*/ 196107 h 487"/>
                <a:gd name="T32" fmla="*/ 198603 w 538"/>
                <a:gd name="T33" fmla="*/ 203409 h 487"/>
                <a:gd name="T34" fmla="*/ 203342 w 538"/>
                <a:gd name="T35" fmla="*/ 211754 h 487"/>
                <a:gd name="T36" fmla="*/ 210665 w 538"/>
                <a:gd name="T37" fmla="*/ 217491 h 487"/>
                <a:gd name="T38" fmla="*/ 221005 w 538"/>
                <a:gd name="T39" fmla="*/ 225314 h 487"/>
                <a:gd name="T40" fmla="*/ 223159 w 538"/>
                <a:gd name="T41" fmla="*/ 231573 h 487"/>
                <a:gd name="T42" fmla="*/ 226174 w 538"/>
                <a:gd name="T43" fmla="*/ 234702 h 487"/>
                <a:gd name="T44" fmla="*/ 231775 w 538"/>
                <a:gd name="T45" fmla="*/ 237832 h 487"/>
                <a:gd name="T46" fmla="*/ 230052 w 538"/>
                <a:gd name="T47" fmla="*/ 246177 h 487"/>
                <a:gd name="T48" fmla="*/ 223590 w 538"/>
                <a:gd name="T49" fmla="*/ 252435 h 487"/>
                <a:gd name="T50" fmla="*/ 211096 w 538"/>
                <a:gd name="T51" fmla="*/ 254000 h 487"/>
                <a:gd name="T52" fmla="*/ 193002 w 538"/>
                <a:gd name="T53" fmla="*/ 250349 h 487"/>
                <a:gd name="T54" fmla="*/ 178355 w 538"/>
                <a:gd name="T55" fmla="*/ 243047 h 487"/>
                <a:gd name="T56" fmla="*/ 166292 w 538"/>
                <a:gd name="T57" fmla="*/ 232616 h 487"/>
                <a:gd name="T58" fmla="*/ 152937 w 538"/>
                <a:gd name="T59" fmla="*/ 216448 h 487"/>
                <a:gd name="T60" fmla="*/ 134412 w 538"/>
                <a:gd name="T61" fmla="*/ 190370 h 487"/>
                <a:gd name="T62" fmla="*/ 118042 w 538"/>
                <a:gd name="T63" fmla="*/ 172115 h 487"/>
                <a:gd name="T64" fmla="*/ 105979 w 538"/>
                <a:gd name="T65" fmla="*/ 164813 h 487"/>
                <a:gd name="T66" fmla="*/ 91331 w 538"/>
                <a:gd name="T67" fmla="*/ 161162 h 487"/>
                <a:gd name="T68" fmla="*/ 77546 w 538"/>
                <a:gd name="T69" fmla="*/ 161684 h 487"/>
                <a:gd name="T70" fmla="*/ 65914 w 538"/>
                <a:gd name="T71" fmla="*/ 165335 h 487"/>
                <a:gd name="T72" fmla="*/ 48681 w 538"/>
                <a:gd name="T73" fmla="*/ 179938 h 487"/>
                <a:gd name="T74" fmla="*/ 58590 w 538"/>
                <a:gd name="T75" fmla="*/ 188283 h 487"/>
                <a:gd name="T76" fmla="*/ 60313 w 538"/>
                <a:gd name="T77" fmla="*/ 192977 h 487"/>
                <a:gd name="T78" fmla="*/ 53420 w 538"/>
                <a:gd name="T79" fmla="*/ 209146 h 487"/>
                <a:gd name="T80" fmla="*/ 48681 w 538"/>
                <a:gd name="T81" fmla="*/ 215926 h 487"/>
                <a:gd name="T82" fmla="*/ 20248 w 538"/>
                <a:gd name="T83" fmla="*/ 210189 h 487"/>
                <a:gd name="T84" fmla="*/ 8616 w 538"/>
                <a:gd name="T85" fmla="*/ 135084 h 487"/>
                <a:gd name="T86" fmla="*/ 8616 w 538"/>
                <a:gd name="T87" fmla="*/ 0 h 48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09" name="Freeform 280">
              <a:extLst>
                <a:ext uri="{FF2B5EF4-FFF2-40B4-BE49-F238E27FC236}">
                  <a16:creationId xmlns:a16="http://schemas.microsoft.com/office/drawing/2014/main" xmlns="" id="{A95B3E26-2599-8268-8BFE-12B96D8B249D}"/>
                </a:ext>
              </a:extLst>
            </p:cNvPr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7240751" y="2545147"/>
              <a:ext cx="92016" cy="94126"/>
            </a:xfrm>
            <a:custGeom>
              <a:avLst/>
              <a:gdLst>
                <a:gd name="T0" fmla="*/ 57175 w 253"/>
                <a:gd name="T1" fmla="*/ 523 h 246"/>
                <a:gd name="T2" fmla="*/ 66003 w 253"/>
                <a:gd name="T3" fmla="*/ 4182 h 246"/>
                <a:gd name="T4" fmla="*/ 75252 w 253"/>
                <a:gd name="T5" fmla="*/ 10977 h 246"/>
                <a:gd name="T6" fmla="*/ 83660 w 253"/>
                <a:gd name="T7" fmla="*/ 19340 h 246"/>
                <a:gd name="T8" fmla="*/ 91648 w 253"/>
                <a:gd name="T9" fmla="*/ 29795 h 246"/>
                <a:gd name="T10" fmla="*/ 98374 w 253"/>
                <a:gd name="T11" fmla="*/ 39726 h 246"/>
                <a:gd name="T12" fmla="*/ 102999 w 253"/>
                <a:gd name="T13" fmla="*/ 49135 h 246"/>
                <a:gd name="T14" fmla="*/ 105942 w 253"/>
                <a:gd name="T15" fmla="*/ 58021 h 246"/>
                <a:gd name="T16" fmla="*/ 105942 w 253"/>
                <a:gd name="T17" fmla="*/ 66907 h 246"/>
                <a:gd name="T18" fmla="*/ 102158 w 253"/>
                <a:gd name="T19" fmla="*/ 78929 h 246"/>
                <a:gd name="T20" fmla="*/ 96272 w 253"/>
                <a:gd name="T21" fmla="*/ 90952 h 246"/>
                <a:gd name="T22" fmla="*/ 87864 w 253"/>
                <a:gd name="T23" fmla="*/ 101929 h 246"/>
                <a:gd name="T24" fmla="*/ 77354 w 253"/>
                <a:gd name="T25" fmla="*/ 111860 h 246"/>
                <a:gd name="T26" fmla="*/ 66003 w 253"/>
                <a:gd name="T27" fmla="*/ 119701 h 246"/>
                <a:gd name="T28" fmla="*/ 54232 w 253"/>
                <a:gd name="T29" fmla="*/ 125451 h 246"/>
                <a:gd name="T30" fmla="*/ 42040 w 253"/>
                <a:gd name="T31" fmla="*/ 128064 h 246"/>
                <a:gd name="T32" fmla="*/ 31110 w 253"/>
                <a:gd name="T33" fmla="*/ 128064 h 246"/>
                <a:gd name="T34" fmla="*/ 22281 w 253"/>
                <a:gd name="T35" fmla="*/ 125451 h 246"/>
                <a:gd name="T36" fmla="*/ 13873 w 253"/>
                <a:gd name="T37" fmla="*/ 122314 h 246"/>
                <a:gd name="T38" fmla="*/ 4624 w 253"/>
                <a:gd name="T39" fmla="*/ 119701 h 246"/>
                <a:gd name="T40" fmla="*/ 1261 w 253"/>
                <a:gd name="T41" fmla="*/ 114474 h 246"/>
                <a:gd name="T42" fmla="*/ 4204 w 253"/>
                <a:gd name="T43" fmla="*/ 107156 h 246"/>
                <a:gd name="T44" fmla="*/ 9249 w 253"/>
                <a:gd name="T45" fmla="*/ 102451 h 246"/>
                <a:gd name="T46" fmla="*/ 15555 w 253"/>
                <a:gd name="T47" fmla="*/ 99838 h 246"/>
                <a:gd name="T48" fmla="*/ 21020 w 253"/>
                <a:gd name="T49" fmla="*/ 102974 h 246"/>
                <a:gd name="T50" fmla="*/ 25224 w 253"/>
                <a:gd name="T51" fmla="*/ 108201 h 246"/>
                <a:gd name="T52" fmla="*/ 28587 w 253"/>
                <a:gd name="T53" fmla="*/ 105065 h 246"/>
                <a:gd name="T54" fmla="*/ 31530 w 253"/>
                <a:gd name="T55" fmla="*/ 99315 h 246"/>
                <a:gd name="T56" fmla="*/ 35314 w 253"/>
                <a:gd name="T57" fmla="*/ 94088 h 246"/>
                <a:gd name="T58" fmla="*/ 38257 w 253"/>
                <a:gd name="T59" fmla="*/ 94611 h 246"/>
                <a:gd name="T60" fmla="*/ 41200 w 253"/>
                <a:gd name="T61" fmla="*/ 93565 h 246"/>
                <a:gd name="T62" fmla="*/ 44563 w 253"/>
                <a:gd name="T63" fmla="*/ 93043 h 246"/>
                <a:gd name="T64" fmla="*/ 50448 w 253"/>
                <a:gd name="T65" fmla="*/ 90952 h 246"/>
                <a:gd name="T66" fmla="*/ 62640 w 253"/>
                <a:gd name="T67" fmla="*/ 85725 h 246"/>
                <a:gd name="T68" fmla="*/ 75252 w 253"/>
                <a:gd name="T69" fmla="*/ 76839 h 246"/>
                <a:gd name="T70" fmla="*/ 82819 w 253"/>
                <a:gd name="T71" fmla="*/ 70566 h 246"/>
                <a:gd name="T72" fmla="*/ 88285 w 253"/>
                <a:gd name="T73" fmla="*/ 64294 h 246"/>
                <a:gd name="T74" fmla="*/ 91648 w 253"/>
                <a:gd name="T75" fmla="*/ 58021 h 246"/>
                <a:gd name="T76" fmla="*/ 92068 w 253"/>
                <a:gd name="T77" fmla="*/ 51226 h 246"/>
                <a:gd name="T78" fmla="*/ 89966 w 253"/>
                <a:gd name="T79" fmla="*/ 45999 h 246"/>
                <a:gd name="T80" fmla="*/ 88285 w 253"/>
                <a:gd name="T81" fmla="*/ 41817 h 246"/>
                <a:gd name="T82" fmla="*/ 87023 w 253"/>
                <a:gd name="T83" fmla="*/ 37635 h 246"/>
                <a:gd name="T84" fmla="*/ 84501 w 253"/>
                <a:gd name="T85" fmla="*/ 35022 h 246"/>
                <a:gd name="T86" fmla="*/ 80297 w 253"/>
                <a:gd name="T87" fmla="*/ 33976 h 246"/>
                <a:gd name="T88" fmla="*/ 77354 w 253"/>
                <a:gd name="T89" fmla="*/ 31885 h 246"/>
                <a:gd name="T90" fmla="*/ 75673 w 253"/>
                <a:gd name="T91" fmla="*/ 28226 h 246"/>
                <a:gd name="T92" fmla="*/ 58856 w 253"/>
                <a:gd name="T93" fmla="*/ 25613 h 246"/>
                <a:gd name="T94" fmla="*/ 57175 w 253"/>
                <a:gd name="T95" fmla="*/ 22999 h 246"/>
                <a:gd name="T96" fmla="*/ 57175 w 253"/>
                <a:gd name="T97" fmla="*/ 18818 h 246"/>
                <a:gd name="T98" fmla="*/ 58856 w 253"/>
                <a:gd name="T99" fmla="*/ 9409 h 246"/>
                <a:gd name="T100" fmla="*/ 46244 w 253"/>
                <a:gd name="T101" fmla="*/ 5750 h 246"/>
                <a:gd name="T102" fmla="*/ 40779 w 253"/>
                <a:gd name="T103" fmla="*/ 6273 h 246"/>
                <a:gd name="T104" fmla="*/ 36155 w 253"/>
                <a:gd name="T105" fmla="*/ 9409 h 246"/>
                <a:gd name="T106" fmla="*/ 43722 w 253"/>
                <a:gd name="T107" fmla="*/ 2614 h 246"/>
                <a:gd name="T108" fmla="*/ 47506 w 253"/>
                <a:gd name="T109" fmla="*/ 523 h 246"/>
                <a:gd name="T110" fmla="*/ 53391 w 253"/>
                <a:gd name="T111" fmla="*/ 0 h 24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10" name="Freeform 281">
              <a:extLst>
                <a:ext uri="{FF2B5EF4-FFF2-40B4-BE49-F238E27FC236}">
                  <a16:creationId xmlns:a16="http://schemas.microsoft.com/office/drawing/2014/main" xmlns="" id="{6FC34F9A-3334-2D50-B5A2-8B3C4B444F02}"/>
                </a:ext>
              </a:extLst>
            </p:cNvPr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5749266" y="2276712"/>
              <a:ext cx="54935" cy="87154"/>
            </a:xfrm>
            <a:custGeom>
              <a:avLst/>
              <a:gdLst>
                <a:gd name="T0" fmla="*/ 18465 w 141"/>
                <a:gd name="T1" fmla="*/ 119063 h 228"/>
                <a:gd name="T2" fmla="*/ 16213 w 141"/>
                <a:gd name="T3" fmla="*/ 114885 h 228"/>
                <a:gd name="T4" fmla="*/ 13060 w 141"/>
                <a:gd name="T5" fmla="*/ 108619 h 228"/>
                <a:gd name="T6" fmla="*/ 9908 w 141"/>
                <a:gd name="T7" fmla="*/ 101308 h 228"/>
                <a:gd name="T8" fmla="*/ 7206 w 141"/>
                <a:gd name="T9" fmla="*/ 92953 h 228"/>
                <a:gd name="T10" fmla="*/ 4504 w 141"/>
                <a:gd name="T11" fmla="*/ 85120 h 228"/>
                <a:gd name="T12" fmla="*/ 2252 w 141"/>
                <a:gd name="T13" fmla="*/ 77287 h 228"/>
                <a:gd name="T14" fmla="*/ 901 w 141"/>
                <a:gd name="T15" fmla="*/ 70498 h 228"/>
                <a:gd name="T16" fmla="*/ 0 w 141"/>
                <a:gd name="T17" fmla="*/ 64231 h 228"/>
                <a:gd name="T18" fmla="*/ 901 w 141"/>
                <a:gd name="T19" fmla="*/ 54309 h 228"/>
                <a:gd name="T20" fmla="*/ 1801 w 141"/>
                <a:gd name="T21" fmla="*/ 45432 h 228"/>
                <a:gd name="T22" fmla="*/ 2702 w 141"/>
                <a:gd name="T23" fmla="*/ 36554 h 228"/>
                <a:gd name="T24" fmla="*/ 4053 w 141"/>
                <a:gd name="T25" fmla="*/ 28721 h 228"/>
                <a:gd name="T26" fmla="*/ 8106 w 141"/>
                <a:gd name="T27" fmla="*/ 14622 h 228"/>
                <a:gd name="T28" fmla="*/ 12610 w 141"/>
                <a:gd name="T29" fmla="*/ 0 h 228"/>
                <a:gd name="T30" fmla="*/ 20266 w 141"/>
                <a:gd name="T31" fmla="*/ 8355 h 228"/>
                <a:gd name="T32" fmla="*/ 27922 w 141"/>
                <a:gd name="T33" fmla="*/ 14622 h 228"/>
                <a:gd name="T34" fmla="*/ 34227 w 141"/>
                <a:gd name="T35" fmla="*/ 19322 h 228"/>
                <a:gd name="T36" fmla="*/ 40082 w 141"/>
                <a:gd name="T37" fmla="*/ 25066 h 228"/>
                <a:gd name="T38" fmla="*/ 42784 w 141"/>
                <a:gd name="T39" fmla="*/ 28721 h 228"/>
                <a:gd name="T40" fmla="*/ 45486 w 141"/>
                <a:gd name="T41" fmla="*/ 32899 h 228"/>
                <a:gd name="T42" fmla="*/ 48188 w 141"/>
                <a:gd name="T43" fmla="*/ 38643 h 228"/>
                <a:gd name="T44" fmla="*/ 51340 w 141"/>
                <a:gd name="T45" fmla="*/ 44910 h 228"/>
                <a:gd name="T46" fmla="*/ 54043 w 141"/>
                <a:gd name="T47" fmla="*/ 52221 h 228"/>
                <a:gd name="T48" fmla="*/ 57195 w 141"/>
                <a:gd name="T49" fmla="*/ 61098 h 228"/>
                <a:gd name="T50" fmla="*/ 59897 w 141"/>
                <a:gd name="T51" fmla="*/ 72064 h 228"/>
                <a:gd name="T52" fmla="*/ 63500 w 141"/>
                <a:gd name="T53" fmla="*/ 84075 h 228"/>
                <a:gd name="T54" fmla="*/ 63050 w 141"/>
                <a:gd name="T55" fmla="*/ 88253 h 228"/>
                <a:gd name="T56" fmla="*/ 62149 w 141"/>
                <a:gd name="T57" fmla="*/ 92430 h 228"/>
                <a:gd name="T58" fmla="*/ 60798 w 141"/>
                <a:gd name="T59" fmla="*/ 97130 h 228"/>
                <a:gd name="T60" fmla="*/ 58996 w 141"/>
                <a:gd name="T61" fmla="*/ 100264 h 228"/>
                <a:gd name="T62" fmla="*/ 57195 w 141"/>
                <a:gd name="T63" fmla="*/ 103919 h 228"/>
                <a:gd name="T64" fmla="*/ 54493 w 141"/>
                <a:gd name="T65" fmla="*/ 106530 h 228"/>
                <a:gd name="T66" fmla="*/ 51791 w 141"/>
                <a:gd name="T67" fmla="*/ 109141 h 228"/>
                <a:gd name="T68" fmla="*/ 48638 w 141"/>
                <a:gd name="T69" fmla="*/ 111230 h 228"/>
                <a:gd name="T70" fmla="*/ 45035 w 141"/>
                <a:gd name="T71" fmla="*/ 113319 h 228"/>
                <a:gd name="T72" fmla="*/ 41883 w 141"/>
                <a:gd name="T73" fmla="*/ 114885 h 228"/>
                <a:gd name="T74" fmla="*/ 38280 w 141"/>
                <a:gd name="T75" fmla="*/ 116452 h 228"/>
                <a:gd name="T76" fmla="*/ 34227 w 141"/>
                <a:gd name="T77" fmla="*/ 117496 h 228"/>
                <a:gd name="T78" fmla="*/ 26571 w 141"/>
                <a:gd name="T79" fmla="*/ 118541 h 228"/>
                <a:gd name="T80" fmla="*/ 18465 w 141"/>
                <a:gd name="T81" fmla="*/ 119063 h 22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grpSp>
          <p:nvGrpSpPr>
            <p:cNvPr id="211" name="Group 282">
              <a:extLst>
                <a:ext uri="{FF2B5EF4-FFF2-40B4-BE49-F238E27FC236}">
                  <a16:creationId xmlns:a16="http://schemas.microsoft.com/office/drawing/2014/main" xmlns="" id="{B075A44F-B949-1895-E653-3EAA6A6E32D0}"/>
                </a:ext>
              </a:extLst>
            </p:cNvPr>
            <p:cNvGrpSpPr>
              <a:grpSpLocks/>
            </p:cNvGrpSpPr>
            <p:nvPr>
              <p:custDataLst>
                <p:tags r:id="rId207"/>
              </p:custDataLst>
            </p:nvPr>
          </p:nvGrpSpPr>
          <p:grpSpPr bwMode="auto">
            <a:xfrm>
              <a:off x="6562304" y="2065217"/>
              <a:ext cx="201886" cy="321891"/>
              <a:chOff x="5062" y="2295"/>
              <a:chExt cx="177" cy="279"/>
            </a:xfrm>
            <a:solidFill>
              <a:schemeClr val="accent2"/>
            </a:solidFill>
          </p:grpSpPr>
          <p:sp>
            <p:nvSpPr>
              <p:cNvPr id="455" name="Freeform 283">
                <a:extLst>
                  <a:ext uri="{FF2B5EF4-FFF2-40B4-BE49-F238E27FC236}">
                    <a16:creationId xmlns:a16="http://schemas.microsoft.com/office/drawing/2014/main" xmlns="" id="{ACF9CF43-CBFF-7E2B-7C60-7F76A2E7BB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12 w 60"/>
                  <a:gd name="T1" fmla="*/ 37 h 110"/>
                  <a:gd name="T2" fmla="*/ 13 w 60"/>
                  <a:gd name="T3" fmla="*/ 37 h 110"/>
                  <a:gd name="T4" fmla="*/ 15 w 60"/>
                  <a:gd name="T5" fmla="*/ 36 h 110"/>
                  <a:gd name="T6" fmla="*/ 16 w 60"/>
                  <a:gd name="T7" fmla="*/ 34 h 110"/>
                  <a:gd name="T8" fmla="*/ 16 w 60"/>
                  <a:gd name="T9" fmla="*/ 32 h 110"/>
                  <a:gd name="T10" fmla="*/ 17 w 60"/>
                  <a:gd name="T11" fmla="*/ 30 h 110"/>
                  <a:gd name="T12" fmla="*/ 18 w 60"/>
                  <a:gd name="T13" fmla="*/ 28 h 110"/>
                  <a:gd name="T14" fmla="*/ 19 w 60"/>
                  <a:gd name="T15" fmla="*/ 26 h 110"/>
                  <a:gd name="T16" fmla="*/ 19 w 60"/>
                  <a:gd name="T17" fmla="*/ 25 h 110"/>
                  <a:gd name="T18" fmla="*/ 19 w 60"/>
                  <a:gd name="T19" fmla="*/ 20 h 110"/>
                  <a:gd name="T20" fmla="*/ 18 w 60"/>
                  <a:gd name="T21" fmla="*/ 16 h 110"/>
                  <a:gd name="T22" fmla="*/ 18 w 60"/>
                  <a:gd name="T23" fmla="*/ 13 h 110"/>
                  <a:gd name="T24" fmla="*/ 17 w 60"/>
                  <a:gd name="T25" fmla="*/ 10 h 110"/>
                  <a:gd name="T26" fmla="*/ 16 w 60"/>
                  <a:gd name="T27" fmla="*/ 7 h 110"/>
                  <a:gd name="T28" fmla="*/ 15 w 60"/>
                  <a:gd name="T29" fmla="*/ 4 h 110"/>
                  <a:gd name="T30" fmla="*/ 14 w 60"/>
                  <a:gd name="T31" fmla="*/ 2 h 110"/>
                  <a:gd name="T32" fmla="*/ 12 w 60"/>
                  <a:gd name="T33" fmla="*/ 0 h 110"/>
                  <a:gd name="T34" fmla="*/ 11 w 60"/>
                  <a:gd name="T35" fmla="*/ 1 h 110"/>
                  <a:gd name="T36" fmla="*/ 10 w 60"/>
                  <a:gd name="T37" fmla="*/ 3 h 110"/>
                  <a:gd name="T38" fmla="*/ 9 w 60"/>
                  <a:gd name="T39" fmla="*/ 4 h 110"/>
                  <a:gd name="T40" fmla="*/ 8 w 60"/>
                  <a:gd name="T41" fmla="*/ 6 h 110"/>
                  <a:gd name="T42" fmla="*/ 6 w 60"/>
                  <a:gd name="T43" fmla="*/ 10 h 110"/>
                  <a:gd name="T44" fmla="*/ 5 w 60"/>
                  <a:gd name="T45" fmla="*/ 13 h 110"/>
                  <a:gd name="T46" fmla="*/ 3 w 60"/>
                  <a:gd name="T47" fmla="*/ 17 h 110"/>
                  <a:gd name="T48" fmla="*/ 2 w 60"/>
                  <a:gd name="T49" fmla="*/ 21 h 110"/>
                  <a:gd name="T50" fmla="*/ 2 w 60"/>
                  <a:gd name="T51" fmla="*/ 22 h 110"/>
                  <a:gd name="T52" fmla="*/ 1 w 60"/>
                  <a:gd name="T53" fmla="*/ 23 h 110"/>
                  <a:gd name="T54" fmla="*/ 1 w 60"/>
                  <a:gd name="T55" fmla="*/ 24 h 110"/>
                  <a:gd name="T56" fmla="*/ 0 w 60"/>
                  <a:gd name="T57" fmla="*/ 25 h 110"/>
                  <a:gd name="T58" fmla="*/ 0 w 60"/>
                  <a:gd name="T59" fmla="*/ 26 h 110"/>
                  <a:gd name="T60" fmla="*/ 1 w 60"/>
                  <a:gd name="T61" fmla="*/ 28 h 110"/>
                  <a:gd name="T62" fmla="*/ 2 w 60"/>
                  <a:gd name="T63" fmla="*/ 30 h 110"/>
                  <a:gd name="T64" fmla="*/ 4 w 60"/>
                  <a:gd name="T65" fmla="*/ 32 h 110"/>
                  <a:gd name="T66" fmla="*/ 6 w 60"/>
                  <a:gd name="T67" fmla="*/ 34 h 110"/>
                  <a:gd name="T68" fmla="*/ 8 w 60"/>
                  <a:gd name="T69" fmla="*/ 36 h 110"/>
                  <a:gd name="T70" fmla="*/ 10 w 60"/>
                  <a:gd name="T71" fmla="*/ 37 h 110"/>
                  <a:gd name="T72" fmla="*/ 12 w 60"/>
                  <a:gd name="T73" fmla="*/ 37 h 11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56" name="Freeform 284">
                <a:extLst>
                  <a:ext uri="{FF2B5EF4-FFF2-40B4-BE49-F238E27FC236}">
                    <a16:creationId xmlns:a16="http://schemas.microsoft.com/office/drawing/2014/main" xmlns="" id="{B1B64787-DC4B-C797-609D-988CA887F4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4 h 75"/>
                  <a:gd name="T2" fmla="*/ 3 w 72"/>
                  <a:gd name="T3" fmla="*/ 6 h 75"/>
                  <a:gd name="T4" fmla="*/ 5 w 72"/>
                  <a:gd name="T5" fmla="*/ 8 h 75"/>
                  <a:gd name="T6" fmla="*/ 8 w 72"/>
                  <a:gd name="T7" fmla="*/ 11 h 75"/>
                  <a:gd name="T8" fmla="*/ 10 w 72"/>
                  <a:gd name="T9" fmla="*/ 13 h 75"/>
                  <a:gd name="T10" fmla="*/ 12 w 72"/>
                  <a:gd name="T11" fmla="*/ 16 h 75"/>
                  <a:gd name="T12" fmla="*/ 14 w 72"/>
                  <a:gd name="T13" fmla="*/ 19 h 75"/>
                  <a:gd name="T14" fmla="*/ 15 w 72"/>
                  <a:gd name="T15" fmla="*/ 22 h 75"/>
                  <a:gd name="T16" fmla="*/ 15 w 72"/>
                  <a:gd name="T17" fmla="*/ 25 h 75"/>
                  <a:gd name="T18" fmla="*/ 24 w 72"/>
                  <a:gd name="T19" fmla="*/ 25 h 75"/>
                  <a:gd name="T20" fmla="*/ 22 w 72"/>
                  <a:gd name="T21" fmla="*/ 17 h 75"/>
                  <a:gd name="T22" fmla="*/ 20 w 72"/>
                  <a:gd name="T23" fmla="*/ 11 h 75"/>
                  <a:gd name="T24" fmla="*/ 20 w 72"/>
                  <a:gd name="T25" fmla="*/ 9 h 75"/>
                  <a:gd name="T26" fmla="*/ 21 w 72"/>
                  <a:gd name="T27" fmla="*/ 6 h 75"/>
                  <a:gd name="T28" fmla="*/ 22 w 72"/>
                  <a:gd name="T29" fmla="*/ 4 h 75"/>
                  <a:gd name="T30" fmla="*/ 24 w 72"/>
                  <a:gd name="T31" fmla="*/ 0 h 75"/>
                  <a:gd name="T32" fmla="*/ 17 w 72"/>
                  <a:gd name="T33" fmla="*/ 0 h 75"/>
                  <a:gd name="T34" fmla="*/ 11 w 72"/>
                  <a:gd name="T35" fmla="*/ 0 h 75"/>
                  <a:gd name="T36" fmla="*/ 7 w 72"/>
                  <a:gd name="T37" fmla="*/ 0 h 75"/>
                  <a:gd name="T38" fmla="*/ 4 w 72"/>
                  <a:gd name="T39" fmla="*/ 1 h 75"/>
                  <a:gd name="T40" fmla="*/ 3 w 72"/>
                  <a:gd name="T41" fmla="*/ 2 h 75"/>
                  <a:gd name="T42" fmla="*/ 2 w 72"/>
                  <a:gd name="T43" fmla="*/ 2 h 75"/>
                  <a:gd name="T44" fmla="*/ 1 w 72"/>
                  <a:gd name="T45" fmla="*/ 3 h 75"/>
                  <a:gd name="T46" fmla="*/ 0 w 72"/>
                  <a:gd name="T47" fmla="*/ 4 h 7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57" name="Freeform 285">
                <a:extLst>
                  <a:ext uri="{FF2B5EF4-FFF2-40B4-BE49-F238E27FC236}">
                    <a16:creationId xmlns:a16="http://schemas.microsoft.com/office/drawing/2014/main" xmlns="" id="{AEB8360D-8DE9-96F1-F26D-4232B3DD26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5 w 15"/>
                  <a:gd name="T1" fmla="*/ 16 h 49"/>
                  <a:gd name="T2" fmla="*/ 5 w 15"/>
                  <a:gd name="T3" fmla="*/ 11 h 49"/>
                  <a:gd name="T4" fmla="*/ 5 w 15"/>
                  <a:gd name="T5" fmla="*/ 6 h 49"/>
                  <a:gd name="T6" fmla="*/ 5 w 15"/>
                  <a:gd name="T7" fmla="*/ 4 h 49"/>
                  <a:gd name="T8" fmla="*/ 4 w 15"/>
                  <a:gd name="T9" fmla="*/ 2 h 49"/>
                  <a:gd name="T10" fmla="*/ 4 w 15"/>
                  <a:gd name="T11" fmla="*/ 1 h 49"/>
                  <a:gd name="T12" fmla="*/ 3 w 15"/>
                  <a:gd name="T13" fmla="*/ 0 h 49"/>
                  <a:gd name="T14" fmla="*/ 1 w 15"/>
                  <a:gd name="T15" fmla="*/ 2 h 49"/>
                  <a:gd name="T16" fmla="*/ 1 w 15"/>
                  <a:gd name="T17" fmla="*/ 5 h 49"/>
                  <a:gd name="T18" fmla="*/ 0 w 15"/>
                  <a:gd name="T19" fmla="*/ 8 h 49"/>
                  <a:gd name="T20" fmla="*/ 0 w 15"/>
                  <a:gd name="T21" fmla="*/ 10 h 49"/>
                  <a:gd name="T22" fmla="*/ 0 w 15"/>
                  <a:gd name="T23" fmla="*/ 12 h 49"/>
                  <a:gd name="T24" fmla="*/ 1 w 15"/>
                  <a:gd name="T25" fmla="*/ 14 h 49"/>
                  <a:gd name="T26" fmla="*/ 2 w 15"/>
                  <a:gd name="T27" fmla="*/ 14 h 49"/>
                  <a:gd name="T28" fmla="*/ 3 w 15"/>
                  <a:gd name="T29" fmla="*/ 15 h 49"/>
                  <a:gd name="T30" fmla="*/ 4 w 15"/>
                  <a:gd name="T31" fmla="*/ 16 h 49"/>
                  <a:gd name="T32" fmla="*/ 5 w 15"/>
                  <a:gd name="T33" fmla="*/ 16 h 4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58" name="Freeform 286">
                <a:extLst>
                  <a:ext uri="{FF2B5EF4-FFF2-40B4-BE49-F238E27FC236}">
                    <a16:creationId xmlns:a16="http://schemas.microsoft.com/office/drawing/2014/main" xmlns="" id="{2EE6CBB5-133C-B93C-EC16-4FD8DDA283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6 w 47"/>
                  <a:gd name="T1" fmla="*/ 2 h 40"/>
                  <a:gd name="T2" fmla="*/ 0 w 47"/>
                  <a:gd name="T3" fmla="*/ 12 h 40"/>
                  <a:gd name="T4" fmla="*/ 2 w 47"/>
                  <a:gd name="T5" fmla="*/ 13 h 40"/>
                  <a:gd name="T6" fmla="*/ 4 w 47"/>
                  <a:gd name="T7" fmla="*/ 13 h 40"/>
                  <a:gd name="T8" fmla="*/ 6 w 47"/>
                  <a:gd name="T9" fmla="*/ 13 h 40"/>
                  <a:gd name="T10" fmla="*/ 8 w 47"/>
                  <a:gd name="T11" fmla="*/ 12 h 40"/>
                  <a:gd name="T12" fmla="*/ 10 w 47"/>
                  <a:gd name="T13" fmla="*/ 12 h 40"/>
                  <a:gd name="T14" fmla="*/ 12 w 47"/>
                  <a:gd name="T15" fmla="*/ 11 h 40"/>
                  <a:gd name="T16" fmla="*/ 14 w 47"/>
                  <a:gd name="T17" fmla="*/ 10 h 40"/>
                  <a:gd name="T18" fmla="*/ 15 w 47"/>
                  <a:gd name="T19" fmla="*/ 8 h 40"/>
                  <a:gd name="T20" fmla="*/ 15 w 47"/>
                  <a:gd name="T21" fmla="*/ 0 h 40"/>
                  <a:gd name="T22" fmla="*/ 13 w 47"/>
                  <a:gd name="T23" fmla="*/ 0 h 40"/>
                  <a:gd name="T24" fmla="*/ 11 w 47"/>
                  <a:gd name="T25" fmla="*/ 0 h 40"/>
                  <a:gd name="T26" fmla="*/ 8 w 47"/>
                  <a:gd name="T27" fmla="*/ 1 h 40"/>
                  <a:gd name="T28" fmla="*/ 6 w 47"/>
                  <a:gd name="T29" fmla="*/ 2 h 4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59" name="Freeform 287">
                <a:extLst>
                  <a:ext uri="{FF2B5EF4-FFF2-40B4-BE49-F238E27FC236}">
                    <a16:creationId xmlns:a16="http://schemas.microsoft.com/office/drawing/2014/main" xmlns="" id="{B8C73ED3-21CF-97B9-95B4-46E9CC56F5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1 w 39"/>
                  <a:gd name="T3" fmla="*/ 3 h 31"/>
                  <a:gd name="T4" fmla="*/ 2 w 39"/>
                  <a:gd name="T5" fmla="*/ 4 h 31"/>
                  <a:gd name="T6" fmla="*/ 4 w 39"/>
                  <a:gd name="T7" fmla="*/ 6 h 31"/>
                  <a:gd name="T8" fmla="*/ 6 w 39"/>
                  <a:gd name="T9" fmla="*/ 7 h 31"/>
                  <a:gd name="T10" fmla="*/ 8 w 39"/>
                  <a:gd name="T11" fmla="*/ 8 h 31"/>
                  <a:gd name="T12" fmla="*/ 9 w 39"/>
                  <a:gd name="T13" fmla="*/ 9 h 31"/>
                  <a:gd name="T14" fmla="*/ 11 w 39"/>
                  <a:gd name="T15" fmla="*/ 10 h 31"/>
                  <a:gd name="T16" fmla="*/ 13 w 39"/>
                  <a:gd name="T17" fmla="*/ 10 h 31"/>
                  <a:gd name="T18" fmla="*/ 11 w 39"/>
                  <a:gd name="T19" fmla="*/ 7 h 31"/>
                  <a:gd name="T20" fmla="*/ 8 w 39"/>
                  <a:gd name="T21" fmla="*/ 5 h 31"/>
                  <a:gd name="T22" fmla="*/ 5 w 39"/>
                  <a:gd name="T23" fmla="*/ 2 h 31"/>
                  <a:gd name="T24" fmla="*/ 2 w 39"/>
                  <a:gd name="T25" fmla="*/ 0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60" name="Freeform 288">
                <a:extLst>
                  <a:ext uri="{FF2B5EF4-FFF2-40B4-BE49-F238E27FC236}">
                    <a16:creationId xmlns:a16="http://schemas.microsoft.com/office/drawing/2014/main" xmlns="" id="{FE72DA21-1216-74F3-0809-5D67C383E4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10 w 34"/>
                  <a:gd name="T3" fmla="*/ 6 h 19"/>
                  <a:gd name="T4" fmla="*/ 10 w 34"/>
                  <a:gd name="T5" fmla="*/ 0 h 19"/>
                  <a:gd name="T6" fmla="*/ 7 w 34"/>
                  <a:gd name="T7" fmla="*/ 0 h 19"/>
                  <a:gd name="T8" fmla="*/ 4 w 34"/>
                  <a:gd name="T9" fmla="*/ 0 h 19"/>
                  <a:gd name="T10" fmla="*/ 2 w 34"/>
                  <a:gd name="T11" fmla="*/ 0 h 19"/>
                  <a:gd name="T12" fmla="*/ 0 w 34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61" name="Freeform 289">
                <a:extLst>
                  <a:ext uri="{FF2B5EF4-FFF2-40B4-BE49-F238E27FC236}">
                    <a16:creationId xmlns:a16="http://schemas.microsoft.com/office/drawing/2014/main" xmlns="" id="{32E1EA49-78AC-A308-6438-E96EE6B7C4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6 w 19"/>
                  <a:gd name="T3" fmla="*/ 4 h 12"/>
                  <a:gd name="T4" fmla="*/ 4 w 19"/>
                  <a:gd name="T5" fmla="*/ 2 h 12"/>
                  <a:gd name="T6" fmla="*/ 2 w 19"/>
                  <a:gd name="T7" fmla="*/ 2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62" name="Freeform 290">
                <a:extLst>
                  <a:ext uri="{FF2B5EF4-FFF2-40B4-BE49-F238E27FC236}">
                    <a16:creationId xmlns:a16="http://schemas.microsoft.com/office/drawing/2014/main" xmlns="" id="{83F57FE0-4DB4-5F55-8C09-80CFF3B30E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38 w 126"/>
                  <a:gd name="T1" fmla="*/ 0 h 166"/>
                  <a:gd name="T2" fmla="*/ 39 w 126"/>
                  <a:gd name="T3" fmla="*/ 2 h 166"/>
                  <a:gd name="T4" fmla="*/ 40 w 126"/>
                  <a:gd name="T5" fmla="*/ 3 h 166"/>
                  <a:gd name="T6" fmla="*/ 41 w 126"/>
                  <a:gd name="T7" fmla="*/ 4 h 166"/>
                  <a:gd name="T8" fmla="*/ 42 w 126"/>
                  <a:gd name="T9" fmla="*/ 6 h 166"/>
                  <a:gd name="T10" fmla="*/ 42 w 126"/>
                  <a:gd name="T11" fmla="*/ 7 h 166"/>
                  <a:gd name="T12" fmla="*/ 42 w 126"/>
                  <a:gd name="T13" fmla="*/ 8 h 166"/>
                  <a:gd name="T14" fmla="*/ 41 w 126"/>
                  <a:gd name="T15" fmla="*/ 11 h 166"/>
                  <a:gd name="T16" fmla="*/ 39 w 126"/>
                  <a:gd name="T17" fmla="*/ 14 h 166"/>
                  <a:gd name="T18" fmla="*/ 38 w 126"/>
                  <a:gd name="T19" fmla="*/ 17 h 166"/>
                  <a:gd name="T20" fmla="*/ 35 w 126"/>
                  <a:gd name="T21" fmla="*/ 20 h 166"/>
                  <a:gd name="T22" fmla="*/ 30 w 126"/>
                  <a:gd name="T23" fmla="*/ 28 h 166"/>
                  <a:gd name="T24" fmla="*/ 24 w 126"/>
                  <a:gd name="T25" fmla="*/ 34 h 166"/>
                  <a:gd name="T26" fmla="*/ 18 w 126"/>
                  <a:gd name="T27" fmla="*/ 42 h 166"/>
                  <a:gd name="T28" fmla="*/ 11 w 126"/>
                  <a:gd name="T29" fmla="*/ 48 h 166"/>
                  <a:gd name="T30" fmla="*/ 8 w 126"/>
                  <a:gd name="T31" fmla="*/ 50 h 166"/>
                  <a:gd name="T32" fmla="*/ 5 w 126"/>
                  <a:gd name="T33" fmla="*/ 52 h 166"/>
                  <a:gd name="T34" fmla="*/ 2 w 126"/>
                  <a:gd name="T35" fmla="*/ 54 h 166"/>
                  <a:gd name="T36" fmla="*/ 0 w 126"/>
                  <a:gd name="T37" fmla="*/ 55 h 166"/>
                  <a:gd name="T38" fmla="*/ 0 w 126"/>
                  <a:gd name="T39" fmla="*/ 53 h 166"/>
                  <a:gd name="T40" fmla="*/ 0 w 126"/>
                  <a:gd name="T41" fmla="*/ 51 h 166"/>
                  <a:gd name="T42" fmla="*/ 0 w 126"/>
                  <a:gd name="T43" fmla="*/ 48 h 166"/>
                  <a:gd name="T44" fmla="*/ 0 w 126"/>
                  <a:gd name="T45" fmla="*/ 45 h 166"/>
                  <a:gd name="T46" fmla="*/ 1 w 126"/>
                  <a:gd name="T47" fmla="*/ 43 h 166"/>
                  <a:gd name="T48" fmla="*/ 2 w 126"/>
                  <a:gd name="T49" fmla="*/ 42 h 166"/>
                  <a:gd name="T50" fmla="*/ 4 w 126"/>
                  <a:gd name="T51" fmla="*/ 41 h 166"/>
                  <a:gd name="T52" fmla="*/ 5 w 126"/>
                  <a:gd name="T53" fmla="*/ 40 h 166"/>
                  <a:gd name="T54" fmla="*/ 9 w 126"/>
                  <a:gd name="T55" fmla="*/ 38 h 166"/>
                  <a:gd name="T56" fmla="*/ 11 w 126"/>
                  <a:gd name="T57" fmla="*/ 36 h 166"/>
                  <a:gd name="T58" fmla="*/ 13 w 126"/>
                  <a:gd name="T59" fmla="*/ 34 h 166"/>
                  <a:gd name="T60" fmla="*/ 16 w 126"/>
                  <a:gd name="T61" fmla="*/ 32 h 166"/>
                  <a:gd name="T62" fmla="*/ 18 w 126"/>
                  <a:gd name="T63" fmla="*/ 29 h 166"/>
                  <a:gd name="T64" fmla="*/ 19 w 126"/>
                  <a:gd name="T65" fmla="*/ 27 h 166"/>
                  <a:gd name="T66" fmla="*/ 22 w 126"/>
                  <a:gd name="T67" fmla="*/ 22 h 166"/>
                  <a:gd name="T68" fmla="*/ 24 w 126"/>
                  <a:gd name="T69" fmla="*/ 17 h 166"/>
                  <a:gd name="T70" fmla="*/ 26 w 126"/>
                  <a:gd name="T71" fmla="*/ 12 h 166"/>
                  <a:gd name="T72" fmla="*/ 29 w 126"/>
                  <a:gd name="T73" fmla="*/ 8 h 166"/>
                  <a:gd name="T74" fmla="*/ 31 w 126"/>
                  <a:gd name="T75" fmla="*/ 5 h 166"/>
                  <a:gd name="T76" fmla="*/ 32 w 126"/>
                  <a:gd name="T77" fmla="*/ 4 h 166"/>
                  <a:gd name="T78" fmla="*/ 35 w 126"/>
                  <a:gd name="T79" fmla="*/ 2 h 166"/>
                  <a:gd name="T80" fmla="*/ 38 w 126"/>
                  <a:gd name="T81" fmla="*/ 0 h 16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63" name="Freeform 291">
                <a:extLst>
                  <a:ext uri="{FF2B5EF4-FFF2-40B4-BE49-F238E27FC236}">
                    <a16:creationId xmlns:a16="http://schemas.microsoft.com/office/drawing/2014/main" xmlns="" id="{C48380FF-2496-18C0-9D4F-1436D2FDD3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3 w 259"/>
                  <a:gd name="T1" fmla="*/ 60 h 259"/>
                  <a:gd name="T2" fmla="*/ 0 w 259"/>
                  <a:gd name="T3" fmla="*/ 54 h 259"/>
                  <a:gd name="T4" fmla="*/ 0 w 259"/>
                  <a:gd name="T5" fmla="*/ 47 h 259"/>
                  <a:gd name="T6" fmla="*/ 2 w 259"/>
                  <a:gd name="T7" fmla="*/ 43 h 259"/>
                  <a:gd name="T8" fmla="*/ 6 w 259"/>
                  <a:gd name="T9" fmla="*/ 42 h 259"/>
                  <a:gd name="T10" fmla="*/ 11 w 259"/>
                  <a:gd name="T11" fmla="*/ 39 h 259"/>
                  <a:gd name="T12" fmla="*/ 16 w 259"/>
                  <a:gd name="T13" fmla="*/ 33 h 259"/>
                  <a:gd name="T14" fmla="*/ 20 w 259"/>
                  <a:gd name="T15" fmla="*/ 30 h 259"/>
                  <a:gd name="T16" fmla="*/ 22 w 259"/>
                  <a:gd name="T17" fmla="*/ 29 h 259"/>
                  <a:gd name="T18" fmla="*/ 27 w 259"/>
                  <a:gd name="T19" fmla="*/ 29 h 259"/>
                  <a:gd name="T20" fmla="*/ 31 w 259"/>
                  <a:gd name="T21" fmla="*/ 31 h 259"/>
                  <a:gd name="T22" fmla="*/ 33 w 259"/>
                  <a:gd name="T23" fmla="*/ 35 h 259"/>
                  <a:gd name="T24" fmla="*/ 35 w 259"/>
                  <a:gd name="T25" fmla="*/ 37 h 259"/>
                  <a:gd name="T26" fmla="*/ 39 w 259"/>
                  <a:gd name="T27" fmla="*/ 37 h 259"/>
                  <a:gd name="T28" fmla="*/ 44 w 259"/>
                  <a:gd name="T29" fmla="*/ 35 h 259"/>
                  <a:gd name="T30" fmla="*/ 49 w 259"/>
                  <a:gd name="T31" fmla="*/ 31 h 259"/>
                  <a:gd name="T32" fmla="*/ 53 w 259"/>
                  <a:gd name="T33" fmla="*/ 26 h 259"/>
                  <a:gd name="T34" fmla="*/ 57 w 259"/>
                  <a:gd name="T35" fmla="*/ 17 h 259"/>
                  <a:gd name="T36" fmla="*/ 62 w 259"/>
                  <a:gd name="T37" fmla="*/ 5 h 259"/>
                  <a:gd name="T38" fmla="*/ 64 w 259"/>
                  <a:gd name="T39" fmla="*/ 1 h 259"/>
                  <a:gd name="T40" fmla="*/ 66 w 259"/>
                  <a:gd name="T41" fmla="*/ 4 h 259"/>
                  <a:gd name="T42" fmla="*/ 70 w 259"/>
                  <a:gd name="T43" fmla="*/ 6 h 259"/>
                  <a:gd name="T44" fmla="*/ 72 w 259"/>
                  <a:gd name="T45" fmla="*/ 11 h 259"/>
                  <a:gd name="T46" fmla="*/ 72 w 259"/>
                  <a:gd name="T47" fmla="*/ 17 h 259"/>
                  <a:gd name="T48" fmla="*/ 74 w 259"/>
                  <a:gd name="T49" fmla="*/ 20 h 259"/>
                  <a:gd name="T50" fmla="*/ 77 w 259"/>
                  <a:gd name="T51" fmla="*/ 23 h 259"/>
                  <a:gd name="T52" fmla="*/ 77 w 259"/>
                  <a:gd name="T53" fmla="*/ 29 h 259"/>
                  <a:gd name="T54" fmla="*/ 77 w 259"/>
                  <a:gd name="T55" fmla="*/ 35 h 259"/>
                  <a:gd name="T56" fmla="*/ 78 w 259"/>
                  <a:gd name="T57" fmla="*/ 37 h 259"/>
                  <a:gd name="T58" fmla="*/ 80 w 259"/>
                  <a:gd name="T59" fmla="*/ 40 h 259"/>
                  <a:gd name="T60" fmla="*/ 82 w 259"/>
                  <a:gd name="T61" fmla="*/ 45 h 259"/>
                  <a:gd name="T62" fmla="*/ 83 w 259"/>
                  <a:gd name="T63" fmla="*/ 53 h 259"/>
                  <a:gd name="T64" fmla="*/ 80 w 259"/>
                  <a:gd name="T65" fmla="*/ 78 h 259"/>
                  <a:gd name="T66" fmla="*/ 78 w 259"/>
                  <a:gd name="T67" fmla="*/ 74 h 259"/>
                  <a:gd name="T68" fmla="*/ 78 w 259"/>
                  <a:gd name="T69" fmla="*/ 69 h 259"/>
                  <a:gd name="T70" fmla="*/ 78 w 259"/>
                  <a:gd name="T71" fmla="*/ 64 h 259"/>
                  <a:gd name="T72" fmla="*/ 73 w 259"/>
                  <a:gd name="T73" fmla="*/ 62 h 259"/>
                  <a:gd name="T74" fmla="*/ 68 w 259"/>
                  <a:gd name="T75" fmla="*/ 59 h 259"/>
                  <a:gd name="T76" fmla="*/ 64 w 259"/>
                  <a:gd name="T77" fmla="*/ 66 h 259"/>
                  <a:gd name="T78" fmla="*/ 62 w 259"/>
                  <a:gd name="T79" fmla="*/ 73 h 259"/>
                  <a:gd name="T80" fmla="*/ 61 w 259"/>
                  <a:gd name="T81" fmla="*/ 86 h 259"/>
                  <a:gd name="T82" fmla="*/ 41 w 259"/>
                  <a:gd name="T83" fmla="*/ 80 h 259"/>
                  <a:gd name="T84" fmla="*/ 36 w 259"/>
                  <a:gd name="T85" fmla="*/ 73 h 259"/>
                  <a:gd name="T86" fmla="*/ 32 w 259"/>
                  <a:gd name="T87" fmla="*/ 69 h 259"/>
                  <a:gd name="T88" fmla="*/ 32 w 259"/>
                  <a:gd name="T89" fmla="*/ 65 h 259"/>
                  <a:gd name="T90" fmla="*/ 34 w 259"/>
                  <a:gd name="T91" fmla="*/ 62 h 259"/>
                  <a:gd name="T92" fmla="*/ 37 w 259"/>
                  <a:gd name="T93" fmla="*/ 60 h 259"/>
                  <a:gd name="T94" fmla="*/ 38 w 259"/>
                  <a:gd name="T95" fmla="*/ 57 h 259"/>
                  <a:gd name="T96" fmla="*/ 31 w 259"/>
                  <a:gd name="T97" fmla="*/ 51 h 259"/>
                  <a:gd name="T98" fmla="*/ 9 w 259"/>
                  <a:gd name="T99" fmla="*/ 51 h 259"/>
                  <a:gd name="T100" fmla="*/ 7 w 259"/>
                  <a:gd name="T101" fmla="*/ 54 h 259"/>
                  <a:gd name="T102" fmla="*/ 5 w 259"/>
                  <a:gd name="T103" fmla="*/ 58 h 259"/>
                  <a:gd name="T104" fmla="*/ 4 w 259"/>
                  <a:gd name="T105" fmla="*/ 62 h 25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64" name="Freeform 292">
                <a:extLst>
                  <a:ext uri="{FF2B5EF4-FFF2-40B4-BE49-F238E27FC236}">
                    <a16:creationId xmlns:a16="http://schemas.microsoft.com/office/drawing/2014/main" xmlns="" id="{72B67AD9-5993-5B1D-5650-A8BE19BF69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23 w 72"/>
                  <a:gd name="T1" fmla="*/ 14 h 92"/>
                  <a:gd name="T2" fmla="*/ 23 w 72"/>
                  <a:gd name="T3" fmla="*/ 31 h 92"/>
                  <a:gd name="T4" fmla="*/ 21 w 72"/>
                  <a:gd name="T5" fmla="*/ 29 h 92"/>
                  <a:gd name="T6" fmla="*/ 19 w 72"/>
                  <a:gd name="T7" fmla="*/ 27 h 92"/>
                  <a:gd name="T8" fmla="*/ 16 w 72"/>
                  <a:gd name="T9" fmla="*/ 25 h 92"/>
                  <a:gd name="T10" fmla="*/ 15 w 72"/>
                  <a:gd name="T11" fmla="*/ 23 h 92"/>
                  <a:gd name="T12" fmla="*/ 12 w 72"/>
                  <a:gd name="T13" fmla="*/ 20 h 92"/>
                  <a:gd name="T14" fmla="*/ 10 w 72"/>
                  <a:gd name="T15" fmla="*/ 16 h 92"/>
                  <a:gd name="T16" fmla="*/ 8 w 72"/>
                  <a:gd name="T17" fmla="*/ 11 h 92"/>
                  <a:gd name="T18" fmla="*/ 6 w 72"/>
                  <a:gd name="T19" fmla="*/ 8 h 92"/>
                  <a:gd name="T20" fmla="*/ 4 w 72"/>
                  <a:gd name="T21" fmla="*/ 4 h 92"/>
                  <a:gd name="T22" fmla="*/ 0 w 72"/>
                  <a:gd name="T23" fmla="*/ 0 h 92"/>
                  <a:gd name="T24" fmla="*/ 8 w 72"/>
                  <a:gd name="T25" fmla="*/ 4 h 92"/>
                  <a:gd name="T26" fmla="*/ 14 w 72"/>
                  <a:gd name="T27" fmla="*/ 7 h 92"/>
                  <a:gd name="T28" fmla="*/ 16 w 72"/>
                  <a:gd name="T29" fmla="*/ 9 h 92"/>
                  <a:gd name="T30" fmla="*/ 19 w 72"/>
                  <a:gd name="T31" fmla="*/ 10 h 92"/>
                  <a:gd name="T32" fmla="*/ 21 w 72"/>
                  <a:gd name="T33" fmla="*/ 12 h 92"/>
                  <a:gd name="T34" fmla="*/ 23 w 72"/>
                  <a:gd name="T35" fmla="*/ 14 h 9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65" name="Freeform 293">
                <a:extLst>
                  <a:ext uri="{FF2B5EF4-FFF2-40B4-BE49-F238E27FC236}">
                    <a16:creationId xmlns:a16="http://schemas.microsoft.com/office/drawing/2014/main" xmlns="" id="{DA987AE3-A493-3FA2-5AC9-DF7F263C5A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2 w 46"/>
                  <a:gd name="T1" fmla="*/ 2 h 62"/>
                  <a:gd name="T2" fmla="*/ 7 w 46"/>
                  <a:gd name="T3" fmla="*/ 2 h 62"/>
                  <a:gd name="T4" fmla="*/ 11 w 46"/>
                  <a:gd name="T5" fmla="*/ 1 h 62"/>
                  <a:gd name="T6" fmla="*/ 14 w 46"/>
                  <a:gd name="T7" fmla="*/ 0 h 62"/>
                  <a:gd name="T8" fmla="*/ 16 w 46"/>
                  <a:gd name="T9" fmla="*/ 0 h 62"/>
                  <a:gd name="T10" fmla="*/ 16 w 46"/>
                  <a:gd name="T11" fmla="*/ 3 h 62"/>
                  <a:gd name="T12" fmla="*/ 16 w 46"/>
                  <a:gd name="T13" fmla="*/ 6 h 62"/>
                  <a:gd name="T14" fmla="*/ 16 w 46"/>
                  <a:gd name="T15" fmla="*/ 9 h 62"/>
                  <a:gd name="T16" fmla="*/ 16 w 46"/>
                  <a:gd name="T17" fmla="*/ 13 h 62"/>
                  <a:gd name="T18" fmla="*/ 16 w 46"/>
                  <a:gd name="T19" fmla="*/ 16 h 62"/>
                  <a:gd name="T20" fmla="*/ 14 w 46"/>
                  <a:gd name="T21" fmla="*/ 18 h 62"/>
                  <a:gd name="T22" fmla="*/ 14 w 46"/>
                  <a:gd name="T23" fmla="*/ 19 h 62"/>
                  <a:gd name="T24" fmla="*/ 13 w 46"/>
                  <a:gd name="T25" fmla="*/ 20 h 62"/>
                  <a:gd name="T26" fmla="*/ 12 w 46"/>
                  <a:gd name="T27" fmla="*/ 21 h 62"/>
                  <a:gd name="T28" fmla="*/ 11 w 46"/>
                  <a:gd name="T29" fmla="*/ 21 h 62"/>
                  <a:gd name="T30" fmla="*/ 9 w 46"/>
                  <a:gd name="T31" fmla="*/ 21 h 62"/>
                  <a:gd name="T32" fmla="*/ 8 w 46"/>
                  <a:gd name="T33" fmla="*/ 20 h 62"/>
                  <a:gd name="T34" fmla="*/ 6 w 46"/>
                  <a:gd name="T35" fmla="*/ 20 h 62"/>
                  <a:gd name="T36" fmla="*/ 5 w 46"/>
                  <a:gd name="T37" fmla="*/ 19 h 62"/>
                  <a:gd name="T38" fmla="*/ 4 w 46"/>
                  <a:gd name="T39" fmla="*/ 18 h 62"/>
                  <a:gd name="T40" fmla="*/ 2 w 46"/>
                  <a:gd name="T41" fmla="*/ 17 h 62"/>
                  <a:gd name="T42" fmla="*/ 2 w 46"/>
                  <a:gd name="T43" fmla="*/ 16 h 62"/>
                  <a:gd name="T44" fmla="*/ 1 w 46"/>
                  <a:gd name="T45" fmla="*/ 15 h 62"/>
                  <a:gd name="T46" fmla="*/ 0 w 46"/>
                  <a:gd name="T47" fmla="*/ 12 h 62"/>
                  <a:gd name="T48" fmla="*/ 0 w 46"/>
                  <a:gd name="T49" fmla="*/ 8 h 62"/>
                  <a:gd name="T50" fmla="*/ 0 w 46"/>
                  <a:gd name="T51" fmla="*/ 5 h 62"/>
                  <a:gd name="T52" fmla="*/ 0 w 46"/>
                  <a:gd name="T53" fmla="*/ 2 h 62"/>
                  <a:gd name="T54" fmla="*/ 2 w 46"/>
                  <a:gd name="T55" fmla="*/ 2 h 62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66" name="Freeform 294">
                <a:extLst>
                  <a:ext uri="{FF2B5EF4-FFF2-40B4-BE49-F238E27FC236}">
                    <a16:creationId xmlns:a16="http://schemas.microsoft.com/office/drawing/2014/main" xmlns="" id="{9BC2AD78-8ED1-DF28-2AD4-A60B7E0FF4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19 w 152"/>
                  <a:gd name="T1" fmla="*/ 0 h 296"/>
                  <a:gd name="T2" fmla="*/ 22 w 152"/>
                  <a:gd name="T3" fmla="*/ 3 h 296"/>
                  <a:gd name="T4" fmla="*/ 25 w 152"/>
                  <a:gd name="T5" fmla="*/ 6 h 296"/>
                  <a:gd name="T6" fmla="*/ 29 w 152"/>
                  <a:gd name="T7" fmla="*/ 8 h 296"/>
                  <a:gd name="T8" fmla="*/ 33 w 152"/>
                  <a:gd name="T9" fmla="*/ 8 h 296"/>
                  <a:gd name="T10" fmla="*/ 36 w 152"/>
                  <a:gd name="T11" fmla="*/ 7 h 296"/>
                  <a:gd name="T12" fmla="*/ 39 w 152"/>
                  <a:gd name="T13" fmla="*/ 4 h 296"/>
                  <a:gd name="T14" fmla="*/ 40 w 152"/>
                  <a:gd name="T15" fmla="*/ 12 h 296"/>
                  <a:gd name="T16" fmla="*/ 43 w 152"/>
                  <a:gd name="T17" fmla="*/ 21 h 296"/>
                  <a:gd name="T18" fmla="*/ 46 w 152"/>
                  <a:gd name="T19" fmla="*/ 28 h 296"/>
                  <a:gd name="T20" fmla="*/ 48 w 152"/>
                  <a:gd name="T21" fmla="*/ 31 h 296"/>
                  <a:gd name="T22" fmla="*/ 50 w 152"/>
                  <a:gd name="T23" fmla="*/ 33 h 296"/>
                  <a:gd name="T24" fmla="*/ 47 w 152"/>
                  <a:gd name="T25" fmla="*/ 40 h 296"/>
                  <a:gd name="T26" fmla="*/ 42 w 152"/>
                  <a:gd name="T27" fmla="*/ 46 h 296"/>
                  <a:gd name="T28" fmla="*/ 38 w 152"/>
                  <a:gd name="T29" fmla="*/ 52 h 296"/>
                  <a:gd name="T30" fmla="*/ 37 w 152"/>
                  <a:gd name="T31" fmla="*/ 57 h 296"/>
                  <a:gd name="T32" fmla="*/ 38 w 152"/>
                  <a:gd name="T33" fmla="*/ 65 h 296"/>
                  <a:gd name="T34" fmla="*/ 38 w 152"/>
                  <a:gd name="T35" fmla="*/ 68 h 296"/>
                  <a:gd name="T36" fmla="*/ 37 w 152"/>
                  <a:gd name="T37" fmla="*/ 72 h 296"/>
                  <a:gd name="T38" fmla="*/ 41 w 152"/>
                  <a:gd name="T39" fmla="*/ 72 h 296"/>
                  <a:gd name="T40" fmla="*/ 48 w 152"/>
                  <a:gd name="T41" fmla="*/ 72 h 296"/>
                  <a:gd name="T42" fmla="*/ 45 w 152"/>
                  <a:gd name="T43" fmla="*/ 83 h 296"/>
                  <a:gd name="T44" fmla="*/ 45 w 152"/>
                  <a:gd name="T45" fmla="*/ 88 h 296"/>
                  <a:gd name="T46" fmla="*/ 48 w 152"/>
                  <a:gd name="T47" fmla="*/ 94 h 296"/>
                  <a:gd name="T48" fmla="*/ 41 w 152"/>
                  <a:gd name="T49" fmla="*/ 96 h 296"/>
                  <a:gd name="T50" fmla="*/ 35 w 152"/>
                  <a:gd name="T51" fmla="*/ 98 h 296"/>
                  <a:gd name="T52" fmla="*/ 28 w 152"/>
                  <a:gd name="T53" fmla="*/ 97 h 296"/>
                  <a:gd name="T54" fmla="*/ 24 w 152"/>
                  <a:gd name="T55" fmla="*/ 95 h 296"/>
                  <a:gd name="T56" fmla="*/ 22 w 152"/>
                  <a:gd name="T57" fmla="*/ 93 h 296"/>
                  <a:gd name="T58" fmla="*/ 22 w 152"/>
                  <a:gd name="T59" fmla="*/ 90 h 296"/>
                  <a:gd name="T60" fmla="*/ 28 w 152"/>
                  <a:gd name="T61" fmla="*/ 84 h 296"/>
                  <a:gd name="T62" fmla="*/ 23 w 152"/>
                  <a:gd name="T63" fmla="*/ 82 h 296"/>
                  <a:gd name="T64" fmla="*/ 17 w 152"/>
                  <a:gd name="T65" fmla="*/ 80 h 296"/>
                  <a:gd name="T66" fmla="*/ 13 w 152"/>
                  <a:gd name="T67" fmla="*/ 76 h 296"/>
                  <a:gd name="T68" fmla="*/ 8 w 152"/>
                  <a:gd name="T69" fmla="*/ 73 h 296"/>
                  <a:gd name="T70" fmla="*/ 5 w 152"/>
                  <a:gd name="T71" fmla="*/ 68 h 296"/>
                  <a:gd name="T72" fmla="*/ 2 w 152"/>
                  <a:gd name="T73" fmla="*/ 63 h 296"/>
                  <a:gd name="T74" fmla="*/ 0 w 152"/>
                  <a:gd name="T75" fmla="*/ 57 h 296"/>
                  <a:gd name="T76" fmla="*/ 0 w 152"/>
                  <a:gd name="T77" fmla="*/ 51 h 296"/>
                  <a:gd name="T78" fmla="*/ 0 w 152"/>
                  <a:gd name="T79" fmla="*/ 43 h 296"/>
                  <a:gd name="T80" fmla="*/ 9 w 152"/>
                  <a:gd name="T81" fmla="*/ 35 h 296"/>
                  <a:gd name="T82" fmla="*/ 11 w 152"/>
                  <a:gd name="T83" fmla="*/ 15 h 296"/>
                  <a:gd name="T84" fmla="*/ 10 w 152"/>
                  <a:gd name="T85" fmla="*/ 6 h 296"/>
                  <a:gd name="T86" fmla="*/ 9 w 152"/>
                  <a:gd name="T87" fmla="*/ 1 h 29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67" name="Freeform 295">
                <a:extLst>
                  <a:ext uri="{FF2B5EF4-FFF2-40B4-BE49-F238E27FC236}">
                    <a16:creationId xmlns:a16="http://schemas.microsoft.com/office/drawing/2014/main" xmlns="" id="{E872396A-6868-5364-393A-5A9EAE0443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8 w 26"/>
                  <a:gd name="T1" fmla="*/ 13 h 38"/>
                  <a:gd name="T2" fmla="*/ 8 w 26"/>
                  <a:gd name="T3" fmla="*/ 0 h 38"/>
                  <a:gd name="T4" fmla="*/ 6 w 26"/>
                  <a:gd name="T5" fmla="*/ 0 h 38"/>
                  <a:gd name="T6" fmla="*/ 4 w 26"/>
                  <a:gd name="T7" fmla="*/ 1 h 38"/>
                  <a:gd name="T8" fmla="*/ 2 w 26"/>
                  <a:gd name="T9" fmla="*/ 3 h 38"/>
                  <a:gd name="T10" fmla="*/ 0 w 26"/>
                  <a:gd name="T11" fmla="*/ 4 h 38"/>
                  <a:gd name="T12" fmla="*/ 6 w 26"/>
                  <a:gd name="T13" fmla="*/ 10 h 38"/>
                  <a:gd name="T14" fmla="*/ 8 w 26"/>
                  <a:gd name="T15" fmla="*/ 13 h 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68" name="Freeform 296">
                <a:extLst>
                  <a:ext uri="{FF2B5EF4-FFF2-40B4-BE49-F238E27FC236}">
                    <a16:creationId xmlns:a16="http://schemas.microsoft.com/office/drawing/2014/main" xmlns="" id="{93E04AF1-CE32-EEC2-544B-8AF6D177D0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6 h 31"/>
                  <a:gd name="T2" fmla="*/ 2 w 34"/>
                  <a:gd name="T3" fmla="*/ 7 h 31"/>
                  <a:gd name="T4" fmla="*/ 5 w 34"/>
                  <a:gd name="T5" fmla="*/ 8 h 31"/>
                  <a:gd name="T6" fmla="*/ 8 w 34"/>
                  <a:gd name="T7" fmla="*/ 10 h 31"/>
                  <a:gd name="T8" fmla="*/ 10 w 34"/>
                  <a:gd name="T9" fmla="*/ 10 h 31"/>
                  <a:gd name="T10" fmla="*/ 10 w 34"/>
                  <a:gd name="T11" fmla="*/ 8 h 31"/>
                  <a:gd name="T12" fmla="*/ 9 w 34"/>
                  <a:gd name="T13" fmla="*/ 5 h 31"/>
                  <a:gd name="T14" fmla="*/ 8 w 34"/>
                  <a:gd name="T15" fmla="*/ 2 h 31"/>
                  <a:gd name="T16" fmla="*/ 6 w 34"/>
                  <a:gd name="T17" fmla="*/ 0 h 31"/>
                  <a:gd name="T18" fmla="*/ 5 w 34"/>
                  <a:gd name="T19" fmla="*/ 2 h 31"/>
                  <a:gd name="T20" fmla="*/ 3 w 34"/>
                  <a:gd name="T21" fmla="*/ 4 h 31"/>
                  <a:gd name="T22" fmla="*/ 2 w 34"/>
                  <a:gd name="T23" fmla="*/ 5 h 31"/>
                  <a:gd name="T24" fmla="*/ 2 w 34"/>
                  <a:gd name="T25" fmla="*/ 5 h 31"/>
                  <a:gd name="T26" fmla="*/ 1 w 34"/>
                  <a:gd name="T27" fmla="*/ 6 h 31"/>
                  <a:gd name="T28" fmla="*/ 0 w 34"/>
                  <a:gd name="T29" fmla="*/ 6 h 3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69" name="Freeform 297">
                <a:extLst>
                  <a:ext uri="{FF2B5EF4-FFF2-40B4-BE49-F238E27FC236}">
                    <a16:creationId xmlns:a16="http://schemas.microsoft.com/office/drawing/2014/main" xmlns="" id="{D45ADB14-6538-3725-0138-6684809463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2 h 37"/>
                  <a:gd name="T2" fmla="*/ 0 w 20"/>
                  <a:gd name="T3" fmla="*/ 12 h 37"/>
                  <a:gd name="T4" fmla="*/ 2 w 20"/>
                  <a:gd name="T5" fmla="*/ 11 h 37"/>
                  <a:gd name="T6" fmla="*/ 6 w 20"/>
                  <a:gd name="T7" fmla="*/ 10 h 37"/>
                  <a:gd name="T8" fmla="*/ 6 w 20"/>
                  <a:gd name="T9" fmla="*/ 0 h 37"/>
                  <a:gd name="T10" fmla="*/ 0 w 20"/>
                  <a:gd name="T11" fmla="*/ 2 h 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70" name="Line 298">
                <a:extLst>
                  <a:ext uri="{FF2B5EF4-FFF2-40B4-BE49-F238E27FC236}">
                    <a16:creationId xmlns:a16="http://schemas.microsoft.com/office/drawing/2014/main" xmlns="" id="{44B551B3-3E36-1013-6E0C-6C190580666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71" name="Freeform 299">
                <a:extLst>
                  <a:ext uri="{FF2B5EF4-FFF2-40B4-BE49-F238E27FC236}">
                    <a16:creationId xmlns:a16="http://schemas.microsoft.com/office/drawing/2014/main" xmlns="" id="{4A6EE18A-9A12-62A2-B4AC-93A711D5DD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6 h 18"/>
                  <a:gd name="T2" fmla="*/ 0 w 13"/>
                  <a:gd name="T3" fmla="*/ 4 h 18"/>
                  <a:gd name="T4" fmla="*/ 1 w 13"/>
                  <a:gd name="T5" fmla="*/ 3 h 18"/>
                  <a:gd name="T6" fmla="*/ 2 w 13"/>
                  <a:gd name="T7" fmla="*/ 1 h 18"/>
                  <a:gd name="T8" fmla="*/ 4 w 13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72" name="Line 300">
                <a:extLst>
                  <a:ext uri="{FF2B5EF4-FFF2-40B4-BE49-F238E27FC236}">
                    <a16:creationId xmlns:a16="http://schemas.microsoft.com/office/drawing/2014/main" xmlns="" id="{5DE9DADD-5C7D-20C7-266D-8CE907AD010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73" name="Freeform 301">
                <a:extLst>
                  <a:ext uri="{FF2B5EF4-FFF2-40B4-BE49-F238E27FC236}">
                    <a16:creationId xmlns:a16="http://schemas.microsoft.com/office/drawing/2014/main" xmlns="" id="{595470D5-1868-B583-15FA-4F6A6429DB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7 w 27"/>
                  <a:gd name="T3" fmla="*/ 10 h 31"/>
                  <a:gd name="T4" fmla="*/ 9 w 27"/>
                  <a:gd name="T5" fmla="*/ 4 h 3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74" name="Freeform 302">
                <a:extLst>
                  <a:ext uri="{FF2B5EF4-FFF2-40B4-BE49-F238E27FC236}">
                    <a16:creationId xmlns:a16="http://schemas.microsoft.com/office/drawing/2014/main" xmlns="" id="{BD4685AC-500E-031A-A73A-CF1D05F9F1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6 w 20"/>
                  <a:gd name="T1" fmla="*/ 0 h 1"/>
                  <a:gd name="T2" fmla="*/ 3 w 20"/>
                  <a:gd name="T3" fmla="*/ 0 h 1"/>
                  <a:gd name="T4" fmla="*/ 0 w 20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75" name="Freeform 303">
                <a:extLst>
                  <a:ext uri="{FF2B5EF4-FFF2-40B4-BE49-F238E27FC236}">
                    <a16:creationId xmlns:a16="http://schemas.microsoft.com/office/drawing/2014/main" xmlns="" id="{AF6688CC-A4E7-DB08-0F9B-300F539284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5 h 13"/>
                  <a:gd name="T2" fmla="*/ 2 w 34"/>
                  <a:gd name="T3" fmla="*/ 5 h 13"/>
                  <a:gd name="T4" fmla="*/ 4 w 34"/>
                  <a:gd name="T5" fmla="*/ 4 h 13"/>
                  <a:gd name="T6" fmla="*/ 6 w 34"/>
                  <a:gd name="T7" fmla="*/ 4 h 13"/>
                  <a:gd name="T8" fmla="*/ 7 w 34"/>
                  <a:gd name="T9" fmla="*/ 3 h 13"/>
                  <a:gd name="T10" fmla="*/ 10 w 34"/>
                  <a:gd name="T11" fmla="*/ 1 h 13"/>
                  <a:gd name="T12" fmla="*/ 12 w 34"/>
                  <a:gd name="T13" fmla="*/ 0 h 13"/>
                  <a:gd name="T14" fmla="*/ 9 w 34"/>
                  <a:gd name="T15" fmla="*/ 0 h 13"/>
                  <a:gd name="T16" fmla="*/ 5 w 34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76" name="Freeform 304">
                <a:extLst>
                  <a:ext uri="{FF2B5EF4-FFF2-40B4-BE49-F238E27FC236}">
                    <a16:creationId xmlns:a16="http://schemas.microsoft.com/office/drawing/2014/main" xmlns="" id="{F7171C9F-C9B8-F851-3906-98D56FEF27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12 w 34"/>
                  <a:gd name="T1" fmla="*/ 6 h 18"/>
                  <a:gd name="T2" fmla="*/ 12 w 34"/>
                  <a:gd name="T3" fmla="*/ 0 h 18"/>
                  <a:gd name="T4" fmla="*/ 10 w 34"/>
                  <a:gd name="T5" fmla="*/ 0 h 18"/>
                  <a:gd name="T6" fmla="*/ 7 w 34"/>
                  <a:gd name="T7" fmla="*/ 0 h 18"/>
                  <a:gd name="T8" fmla="*/ 4 w 34"/>
                  <a:gd name="T9" fmla="*/ 0 h 18"/>
                  <a:gd name="T10" fmla="*/ 0 w 34"/>
                  <a:gd name="T11" fmla="*/ 0 h 18"/>
                  <a:gd name="T12" fmla="*/ 12 w 34"/>
                  <a:gd name="T13" fmla="*/ 6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77" name="Freeform 305">
                <a:extLst>
                  <a:ext uri="{FF2B5EF4-FFF2-40B4-BE49-F238E27FC236}">
                    <a16:creationId xmlns:a16="http://schemas.microsoft.com/office/drawing/2014/main" xmlns="" id="{357DA03B-D288-A9A8-01A3-144CF0877F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18 w 59"/>
                  <a:gd name="T1" fmla="*/ 8 h 25"/>
                  <a:gd name="T2" fmla="*/ 19 w 59"/>
                  <a:gd name="T3" fmla="*/ 4 h 25"/>
                  <a:gd name="T4" fmla="*/ 20 w 59"/>
                  <a:gd name="T5" fmla="*/ 0 h 25"/>
                  <a:gd name="T6" fmla="*/ 15 w 59"/>
                  <a:gd name="T7" fmla="*/ 0 h 25"/>
                  <a:gd name="T8" fmla="*/ 9 w 59"/>
                  <a:gd name="T9" fmla="*/ 0 h 25"/>
                  <a:gd name="T10" fmla="*/ 6 w 59"/>
                  <a:gd name="T11" fmla="*/ 0 h 25"/>
                  <a:gd name="T12" fmla="*/ 4 w 59"/>
                  <a:gd name="T13" fmla="*/ 1 h 25"/>
                  <a:gd name="T14" fmla="*/ 2 w 59"/>
                  <a:gd name="T15" fmla="*/ 1 h 25"/>
                  <a:gd name="T16" fmla="*/ 0 w 59"/>
                  <a:gd name="T17" fmla="*/ 2 h 25"/>
                  <a:gd name="T18" fmla="*/ 4 w 59"/>
                  <a:gd name="T19" fmla="*/ 4 h 25"/>
                  <a:gd name="T20" fmla="*/ 9 w 59"/>
                  <a:gd name="T21" fmla="*/ 6 h 25"/>
                  <a:gd name="T22" fmla="*/ 11 w 59"/>
                  <a:gd name="T23" fmla="*/ 7 h 25"/>
                  <a:gd name="T24" fmla="*/ 13 w 59"/>
                  <a:gd name="T25" fmla="*/ 8 h 25"/>
                  <a:gd name="T26" fmla="*/ 16 w 59"/>
                  <a:gd name="T27" fmla="*/ 8 h 25"/>
                  <a:gd name="T28" fmla="*/ 18 w 59"/>
                  <a:gd name="T29" fmla="*/ 8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78" name="Line 306">
                <a:extLst>
                  <a:ext uri="{FF2B5EF4-FFF2-40B4-BE49-F238E27FC236}">
                    <a16:creationId xmlns:a16="http://schemas.microsoft.com/office/drawing/2014/main" xmlns="" id="{8BA0701E-BAE4-10EF-5409-ECC5EB7B76B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</p:grpSp>
        <p:sp>
          <p:nvSpPr>
            <p:cNvPr id="212" name="Freeform 307">
              <a:extLst>
                <a:ext uri="{FF2B5EF4-FFF2-40B4-BE49-F238E27FC236}">
                  <a16:creationId xmlns:a16="http://schemas.microsoft.com/office/drawing/2014/main" xmlns="" id="{9B74EBE0-265A-6B23-CBD2-3F89FC4C078C}"/>
                </a:ext>
              </a:extLst>
            </p:cNvPr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6860326" y="2664839"/>
              <a:ext cx="12361" cy="40672"/>
            </a:xfrm>
            <a:custGeom>
              <a:avLst/>
              <a:gdLst>
                <a:gd name="T0" fmla="*/ 0 w 33"/>
                <a:gd name="T1" fmla="*/ 55563 h 43"/>
                <a:gd name="T2" fmla="*/ 433 w 33"/>
                <a:gd name="T3" fmla="*/ 43934 h 43"/>
                <a:gd name="T4" fmla="*/ 866 w 33"/>
                <a:gd name="T5" fmla="*/ 34888 h 43"/>
                <a:gd name="T6" fmla="*/ 2165 w 33"/>
                <a:gd name="T7" fmla="*/ 27135 h 43"/>
                <a:gd name="T8" fmla="*/ 3897 w 33"/>
                <a:gd name="T9" fmla="*/ 19382 h 43"/>
                <a:gd name="T10" fmla="*/ 6062 w 33"/>
                <a:gd name="T11" fmla="*/ 11629 h 43"/>
                <a:gd name="T12" fmla="*/ 8659 w 33"/>
                <a:gd name="T13" fmla="*/ 6461 h 43"/>
                <a:gd name="T14" fmla="*/ 11257 w 33"/>
                <a:gd name="T15" fmla="*/ 2584 h 43"/>
                <a:gd name="T16" fmla="*/ 14288 w 33"/>
                <a:gd name="T17" fmla="*/ 0 h 43"/>
                <a:gd name="T18" fmla="*/ 14288 w 33"/>
                <a:gd name="T19" fmla="*/ 32304 h 43"/>
                <a:gd name="T20" fmla="*/ 9958 w 33"/>
                <a:gd name="T21" fmla="*/ 34888 h 43"/>
                <a:gd name="T22" fmla="*/ 7793 w 33"/>
                <a:gd name="T23" fmla="*/ 37473 h 43"/>
                <a:gd name="T24" fmla="*/ 6928 w 33"/>
                <a:gd name="T25" fmla="*/ 41349 h 43"/>
                <a:gd name="T26" fmla="*/ 6928 w 33"/>
                <a:gd name="T27" fmla="*/ 43934 h 43"/>
                <a:gd name="T28" fmla="*/ 6928 w 33"/>
                <a:gd name="T29" fmla="*/ 46518 h 43"/>
                <a:gd name="T30" fmla="*/ 6062 w 33"/>
                <a:gd name="T31" fmla="*/ 49102 h 43"/>
                <a:gd name="T32" fmla="*/ 4330 w 33"/>
                <a:gd name="T33" fmla="*/ 52979 h 43"/>
                <a:gd name="T34" fmla="*/ 0 w 33"/>
                <a:gd name="T35" fmla="*/ 55563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13" name="Freeform 308">
              <a:extLst>
                <a:ext uri="{FF2B5EF4-FFF2-40B4-BE49-F238E27FC236}">
                  <a16:creationId xmlns:a16="http://schemas.microsoft.com/office/drawing/2014/main" xmlns="" id="{D0F1B1C3-97B2-4A09-C9D3-120B4A9C89CA}"/>
                </a:ext>
              </a:extLst>
            </p:cNvPr>
            <p:cNvSpPr>
              <a:spLocks/>
            </p:cNvSpPr>
            <p:nvPr>
              <p:custDataLst>
                <p:tags r:id="rId209"/>
              </p:custDataLst>
            </p:nvPr>
          </p:nvSpPr>
          <p:spPr bwMode="auto">
            <a:xfrm>
              <a:off x="6926249" y="2620680"/>
              <a:ext cx="19227" cy="42997"/>
            </a:xfrm>
            <a:custGeom>
              <a:avLst/>
              <a:gdLst>
                <a:gd name="T0" fmla="*/ 0 w 54"/>
                <a:gd name="T1" fmla="*/ 35115 h 92"/>
                <a:gd name="T2" fmla="*/ 412 w 54"/>
                <a:gd name="T3" fmla="*/ 32561 h 92"/>
                <a:gd name="T4" fmla="*/ 823 w 54"/>
                <a:gd name="T5" fmla="*/ 29369 h 92"/>
                <a:gd name="T6" fmla="*/ 1235 w 54"/>
                <a:gd name="T7" fmla="*/ 26815 h 92"/>
                <a:gd name="T8" fmla="*/ 2469 w 54"/>
                <a:gd name="T9" fmla="*/ 23623 h 92"/>
                <a:gd name="T10" fmla="*/ 4527 w 54"/>
                <a:gd name="T11" fmla="*/ 18515 h 92"/>
                <a:gd name="T12" fmla="*/ 7408 w 54"/>
                <a:gd name="T13" fmla="*/ 13408 h 92"/>
                <a:gd name="T14" fmla="*/ 12759 w 54"/>
                <a:gd name="T15" fmla="*/ 4469 h 92"/>
                <a:gd name="T16" fmla="*/ 16875 w 54"/>
                <a:gd name="T17" fmla="*/ 0 h 92"/>
                <a:gd name="T18" fmla="*/ 22225 w 54"/>
                <a:gd name="T19" fmla="*/ 7661 h 92"/>
                <a:gd name="T20" fmla="*/ 20990 w 54"/>
                <a:gd name="T21" fmla="*/ 13408 h 92"/>
                <a:gd name="T22" fmla="*/ 19344 w 54"/>
                <a:gd name="T23" fmla="*/ 18515 h 92"/>
                <a:gd name="T24" fmla="*/ 18109 w 54"/>
                <a:gd name="T25" fmla="*/ 22346 h 92"/>
                <a:gd name="T26" fmla="*/ 16875 w 54"/>
                <a:gd name="T27" fmla="*/ 26177 h 92"/>
                <a:gd name="T28" fmla="*/ 13582 w 54"/>
                <a:gd name="T29" fmla="*/ 31284 h 92"/>
                <a:gd name="T30" fmla="*/ 11524 w 54"/>
                <a:gd name="T31" fmla="*/ 35115 h 92"/>
                <a:gd name="T32" fmla="*/ 10701 w 54"/>
                <a:gd name="T33" fmla="*/ 40861 h 92"/>
                <a:gd name="T34" fmla="*/ 10701 w 54"/>
                <a:gd name="T35" fmla="*/ 47246 h 92"/>
                <a:gd name="T36" fmla="*/ 9878 w 54"/>
                <a:gd name="T37" fmla="*/ 52992 h 92"/>
                <a:gd name="T38" fmla="*/ 8231 w 54"/>
                <a:gd name="T39" fmla="*/ 58738 h 92"/>
                <a:gd name="T40" fmla="*/ 5762 w 54"/>
                <a:gd name="T41" fmla="*/ 52992 h 92"/>
                <a:gd name="T42" fmla="*/ 3293 w 54"/>
                <a:gd name="T43" fmla="*/ 47246 h 92"/>
                <a:gd name="T44" fmla="*/ 2058 w 54"/>
                <a:gd name="T45" fmla="*/ 44692 h 92"/>
                <a:gd name="T46" fmla="*/ 823 w 54"/>
                <a:gd name="T47" fmla="*/ 40861 h 92"/>
                <a:gd name="T48" fmla="*/ 412 w 54"/>
                <a:gd name="T49" fmla="*/ 38307 h 92"/>
                <a:gd name="T50" fmla="*/ 0 w 54"/>
                <a:gd name="T51" fmla="*/ 35115 h 9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14" name="Freeform 309">
              <a:extLst>
                <a:ext uri="{FF2B5EF4-FFF2-40B4-BE49-F238E27FC236}">
                  <a16:creationId xmlns:a16="http://schemas.microsoft.com/office/drawing/2014/main" xmlns="" id="{F053E79F-DBCB-08A6-55FF-CB801B5E0B42}"/>
                </a:ext>
              </a:extLst>
            </p:cNvPr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6967450" y="2532364"/>
              <a:ext cx="20601" cy="41835"/>
            </a:xfrm>
            <a:custGeom>
              <a:avLst/>
              <a:gdLst>
                <a:gd name="T0" fmla="*/ 0 w 60"/>
                <a:gd name="T1" fmla="*/ 0 h 18"/>
                <a:gd name="T2" fmla="*/ 7541 w 60"/>
                <a:gd name="T3" fmla="*/ 12700 h 18"/>
                <a:gd name="T4" fmla="*/ 14685 w 60"/>
                <a:gd name="T5" fmla="*/ 28575 h 18"/>
                <a:gd name="T6" fmla="*/ 17860 w 60"/>
                <a:gd name="T7" fmla="*/ 34925 h 18"/>
                <a:gd name="T8" fmla="*/ 20241 w 60"/>
                <a:gd name="T9" fmla="*/ 41275 h 18"/>
                <a:gd name="T10" fmla="*/ 22225 w 60"/>
                <a:gd name="T11" fmla="*/ 50800 h 18"/>
                <a:gd name="T12" fmla="*/ 23813 w 60"/>
                <a:gd name="T13" fmla="*/ 57150 h 18"/>
                <a:gd name="T14" fmla="*/ 15082 w 60"/>
                <a:gd name="T15" fmla="*/ 57150 h 18"/>
                <a:gd name="T16" fmla="*/ 9128 w 60"/>
                <a:gd name="T17" fmla="*/ 57150 h 18"/>
                <a:gd name="T18" fmla="*/ 3969 w 60"/>
                <a:gd name="T19" fmla="*/ 57150 h 18"/>
                <a:gd name="T20" fmla="*/ 0 w 60"/>
                <a:gd name="T21" fmla="*/ 57150 h 18"/>
                <a:gd name="T22" fmla="*/ 0 w 6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15" name="Freeform 310">
              <a:extLst>
                <a:ext uri="{FF2B5EF4-FFF2-40B4-BE49-F238E27FC236}">
                  <a16:creationId xmlns:a16="http://schemas.microsoft.com/office/drawing/2014/main" xmlns="" id="{05C490FF-3551-2298-A1F5-E81A39F9F1DC}"/>
                </a:ext>
              </a:extLst>
            </p:cNvPr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6953715" y="2510285"/>
              <a:ext cx="21974" cy="41835"/>
            </a:xfrm>
            <a:custGeom>
              <a:avLst/>
              <a:gdLst>
                <a:gd name="T0" fmla="*/ 0 w 66"/>
                <a:gd name="T1" fmla="*/ 57150 h 18"/>
                <a:gd name="T2" fmla="*/ 25400 w 66"/>
                <a:gd name="T3" fmla="*/ 57150 h 18"/>
                <a:gd name="T4" fmla="*/ 20012 w 66"/>
                <a:gd name="T5" fmla="*/ 41275 h 18"/>
                <a:gd name="T6" fmla="*/ 15394 w 66"/>
                <a:gd name="T7" fmla="*/ 22225 h 18"/>
                <a:gd name="T8" fmla="*/ 13470 w 66"/>
                <a:gd name="T9" fmla="*/ 12700 h 18"/>
                <a:gd name="T10" fmla="*/ 11161 w 66"/>
                <a:gd name="T11" fmla="*/ 6350 h 18"/>
                <a:gd name="T12" fmla="*/ 9621 w 66"/>
                <a:gd name="T13" fmla="*/ 3175 h 18"/>
                <a:gd name="T14" fmla="*/ 7312 w 66"/>
                <a:gd name="T15" fmla="*/ 0 h 18"/>
                <a:gd name="T16" fmla="*/ 0 w 66"/>
                <a:gd name="T17" fmla="*/ 57150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16" name="Freeform 311">
              <a:extLst>
                <a:ext uri="{FF2B5EF4-FFF2-40B4-BE49-F238E27FC236}">
                  <a16:creationId xmlns:a16="http://schemas.microsoft.com/office/drawing/2014/main" xmlns="" id="{3AFC2494-665D-62A6-E607-5D1924E01A34}"/>
                </a:ext>
              </a:extLst>
            </p:cNvPr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6802644" y="2434750"/>
              <a:ext cx="6867" cy="41835"/>
            </a:xfrm>
            <a:custGeom>
              <a:avLst/>
              <a:gdLst>
                <a:gd name="T0" fmla="*/ 0 w 17"/>
                <a:gd name="T1" fmla="*/ 48986 h 42"/>
                <a:gd name="T2" fmla="*/ 6070 w 17"/>
                <a:gd name="T3" fmla="*/ 57150 h 42"/>
                <a:gd name="T4" fmla="*/ 6537 w 17"/>
                <a:gd name="T5" fmla="*/ 44904 h 42"/>
                <a:gd name="T6" fmla="*/ 7471 w 17"/>
                <a:gd name="T7" fmla="*/ 31296 h 42"/>
                <a:gd name="T8" fmla="*/ 7938 w 17"/>
                <a:gd name="T9" fmla="*/ 24493 h 42"/>
                <a:gd name="T10" fmla="*/ 7471 w 17"/>
                <a:gd name="T11" fmla="*/ 16329 h 42"/>
                <a:gd name="T12" fmla="*/ 7471 w 17"/>
                <a:gd name="T13" fmla="*/ 8164 h 42"/>
                <a:gd name="T14" fmla="*/ 6070 w 17"/>
                <a:gd name="T15" fmla="*/ 0 h 42"/>
                <a:gd name="T16" fmla="*/ 0 w 17"/>
                <a:gd name="T17" fmla="*/ 48986 h 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17" name="Freeform 312">
              <a:extLst>
                <a:ext uri="{FF2B5EF4-FFF2-40B4-BE49-F238E27FC236}">
                  <a16:creationId xmlns:a16="http://schemas.microsoft.com/office/drawing/2014/main" xmlns="" id="{C35C3F54-F224-329B-71D5-AE2ACAE49545}"/>
                </a:ext>
              </a:extLst>
            </p:cNvPr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6739470" y="2533527"/>
              <a:ext cx="26095" cy="42996"/>
            </a:xfrm>
            <a:custGeom>
              <a:avLst/>
              <a:gdLst>
                <a:gd name="T0" fmla="*/ 2514 w 72"/>
                <a:gd name="T1" fmla="*/ 58737 h 29"/>
                <a:gd name="T2" fmla="*/ 6284 w 72"/>
                <a:gd name="T3" fmla="*/ 52661 h 29"/>
                <a:gd name="T4" fmla="*/ 10054 w 72"/>
                <a:gd name="T5" fmla="*/ 48610 h 29"/>
                <a:gd name="T6" fmla="*/ 13406 w 72"/>
                <a:gd name="T7" fmla="*/ 48610 h 29"/>
                <a:gd name="T8" fmla="*/ 16338 w 72"/>
                <a:gd name="T9" fmla="*/ 48610 h 29"/>
                <a:gd name="T10" fmla="*/ 23041 w 72"/>
                <a:gd name="T11" fmla="*/ 54686 h 29"/>
                <a:gd name="T12" fmla="*/ 30163 w 72"/>
                <a:gd name="T13" fmla="*/ 58737 h 29"/>
                <a:gd name="T14" fmla="*/ 30163 w 72"/>
                <a:gd name="T15" fmla="*/ 8102 h 29"/>
                <a:gd name="T16" fmla="*/ 24298 w 72"/>
                <a:gd name="T17" fmla="*/ 2025 h 29"/>
                <a:gd name="T18" fmla="*/ 19690 w 72"/>
                <a:gd name="T19" fmla="*/ 0 h 29"/>
                <a:gd name="T20" fmla="*/ 16338 w 72"/>
                <a:gd name="T21" fmla="*/ 0 h 29"/>
                <a:gd name="T22" fmla="*/ 14244 w 72"/>
                <a:gd name="T23" fmla="*/ 4051 h 29"/>
                <a:gd name="T24" fmla="*/ 11311 w 72"/>
                <a:gd name="T25" fmla="*/ 6076 h 29"/>
                <a:gd name="T26" fmla="*/ 8798 w 72"/>
                <a:gd name="T27" fmla="*/ 10127 h 29"/>
                <a:gd name="T28" fmla="*/ 5027 w 72"/>
                <a:gd name="T29" fmla="*/ 10127 h 29"/>
                <a:gd name="T30" fmla="*/ 0 w 72"/>
                <a:gd name="T31" fmla="*/ 8102 h 29"/>
                <a:gd name="T32" fmla="*/ 1257 w 72"/>
                <a:gd name="T33" fmla="*/ 32407 h 29"/>
                <a:gd name="T34" fmla="*/ 2514 w 72"/>
                <a:gd name="T35" fmla="*/ 58737 h 2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18" name="Freeform 313">
              <a:extLst>
                <a:ext uri="{FF2B5EF4-FFF2-40B4-BE49-F238E27FC236}">
                  <a16:creationId xmlns:a16="http://schemas.microsoft.com/office/drawing/2014/main" xmlns="" id="{224D0F55-F95B-68D2-EC5B-216C2AA0E1BC}"/>
                </a:ext>
              </a:extLst>
            </p:cNvPr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6746336" y="2669487"/>
              <a:ext cx="16480" cy="40672"/>
            </a:xfrm>
            <a:custGeom>
              <a:avLst/>
              <a:gdLst>
                <a:gd name="T0" fmla="*/ 0 w 46"/>
                <a:gd name="T1" fmla="*/ 0 h 37"/>
                <a:gd name="T2" fmla="*/ 3727 w 46"/>
                <a:gd name="T3" fmla="*/ 13515 h 37"/>
                <a:gd name="T4" fmla="*/ 8283 w 46"/>
                <a:gd name="T5" fmla="*/ 22526 h 37"/>
                <a:gd name="T6" fmla="*/ 12838 w 46"/>
                <a:gd name="T7" fmla="*/ 30034 h 37"/>
                <a:gd name="T8" fmla="*/ 19050 w 46"/>
                <a:gd name="T9" fmla="*/ 37543 h 37"/>
                <a:gd name="T10" fmla="*/ 15323 w 46"/>
                <a:gd name="T11" fmla="*/ 43549 h 37"/>
                <a:gd name="T12" fmla="*/ 12010 w 46"/>
                <a:gd name="T13" fmla="*/ 49556 h 37"/>
                <a:gd name="T14" fmla="*/ 8697 w 46"/>
                <a:gd name="T15" fmla="*/ 54061 h 37"/>
                <a:gd name="T16" fmla="*/ 5384 w 46"/>
                <a:gd name="T17" fmla="*/ 55563 h 37"/>
                <a:gd name="T18" fmla="*/ 3727 w 46"/>
                <a:gd name="T19" fmla="*/ 54061 h 37"/>
                <a:gd name="T20" fmla="*/ 2899 w 46"/>
                <a:gd name="T21" fmla="*/ 49556 h 37"/>
                <a:gd name="T22" fmla="*/ 2071 w 46"/>
                <a:gd name="T23" fmla="*/ 43549 h 37"/>
                <a:gd name="T24" fmla="*/ 1242 w 46"/>
                <a:gd name="T25" fmla="*/ 34539 h 37"/>
                <a:gd name="T26" fmla="*/ 414 w 46"/>
                <a:gd name="T27" fmla="*/ 18020 h 37"/>
                <a:gd name="T28" fmla="*/ 0 w 46"/>
                <a:gd name="T29" fmla="*/ 0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19" name="Freeform 314">
              <a:extLst>
                <a:ext uri="{FF2B5EF4-FFF2-40B4-BE49-F238E27FC236}">
                  <a16:creationId xmlns:a16="http://schemas.microsoft.com/office/drawing/2014/main" xmlns="" id="{0F46AD2F-C6E2-DEB5-BEFD-33750C3A3091}"/>
                </a:ext>
              </a:extLst>
            </p:cNvPr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6843846" y="2537011"/>
              <a:ext cx="9614" cy="41835"/>
            </a:xfrm>
            <a:custGeom>
              <a:avLst/>
              <a:gdLst>
                <a:gd name="T0" fmla="*/ 0 w 26"/>
                <a:gd name="T1" fmla="*/ 0 h 19"/>
                <a:gd name="T2" fmla="*/ 11113 w 26"/>
                <a:gd name="T3" fmla="*/ 57150 h 19"/>
                <a:gd name="T4" fmla="*/ 11113 w 26"/>
                <a:gd name="T5" fmla="*/ 27071 h 19"/>
                <a:gd name="T6" fmla="*/ 11113 w 26"/>
                <a:gd name="T7" fmla="*/ 0 h 19"/>
                <a:gd name="T8" fmla="*/ 6411 w 26"/>
                <a:gd name="T9" fmla="*/ 0 h 19"/>
                <a:gd name="T10" fmla="*/ 0 w 26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20" name="Freeform 315">
              <a:extLst>
                <a:ext uri="{FF2B5EF4-FFF2-40B4-BE49-F238E27FC236}">
                  <a16:creationId xmlns:a16="http://schemas.microsoft.com/office/drawing/2014/main" xmlns="" id="{94133148-2510-FD3B-D33A-1560240D4CD2}"/>
                </a:ext>
              </a:extLst>
            </p:cNvPr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6722988" y="2533527"/>
              <a:ext cx="16480" cy="42996"/>
            </a:xfrm>
            <a:custGeom>
              <a:avLst/>
              <a:gdLst>
                <a:gd name="T0" fmla="*/ 886 w 43"/>
                <a:gd name="T1" fmla="*/ 0 h 31"/>
                <a:gd name="T2" fmla="*/ 443 w 43"/>
                <a:gd name="T3" fmla="*/ 22737 h 31"/>
                <a:gd name="T4" fmla="*/ 0 w 43"/>
                <a:gd name="T5" fmla="*/ 43579 h 31"/>
                <a:gd name="T6" fmla="*/ 0 w 43"/>
                <a:gd name="T7" fmla="*/ 49263 h 31"/>
                <a:gd name="T8" fmla="*/ 0 w 43"/>
                <a:gd name="T9" fmla="*/ 54948 h 31"/>
                <a:gd name="T10" fmla="*/ 0 w 43"/>
                <a:gd name="T11" fmla="*/ 58737 h 31"/>
                <a:gd name="T12" fmla="*/ 886 w 43"/>
                <a:gd name="T13" fmla="*/ 58737 h 31"/>
                <a:gd name="T14" fmla="*/ 5759 w 43"/>
                <a:gd name="T15" fmla="*/ 41684 h 31"/>
                <a:gd name="T16" fmla="*/ 11076 w 43"/>
                <a:gd name="T17" fmla="*/ 24632 h 31"/>
                <a:gd name="T18" fmla="*/ 15506 w 43"/>
                <a:gd name="T19" fmla="*/ 9474 h 31"/>
                <a:gd name="T20" fmla="*/ 19050 w 43"/>
                <a:gd name="T21" fmla="*/ 0 h 31"/>
                <a:gd name="T22" fmla="*/ 886 w 43"/>
                <a:gd name="T23" fmla="*/ 0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21" name="Freeform 316">
              <a:extLst>
                <a:ext uri="{FF2B5EF4-FFF2-40B4-BE49-F238E27FC236}">
                  <a16:creationId xmlns:a16="http://schemas.microsoft.com/office/drawing/2014/main" xmlns="" id="{89BF147A-EF0F-67AF-F538-0653123515B9}"/>
                </a:ext>
              </a:extLst>
            </p:cNvPr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6761444" y="2568388"/>
              <a:ext cx="26095" cy="41835"/>
            </a:xfrm>
            <a:custGeom>
              <a:avLst/>
              <a:gdLst>
                <a:gd name="T0" fmla="*/ 1699 w 71"/>
                <a:gd name="T1" fmla="*/ 13996 h 49"/>
                <a:gd name="T2" fmla="*/ 1699 w 71"/>
                <a:gd name="T3" fmla="*/ 20994 h 49"/>
                <a:gd name="T4" fmla="*/ 2124 w 71"/>
                <a:gd name="T5" fmla="*/ 29158 h 49"/>
                <a:gd name="T6" fmla="*/ 2974 w 71"/>
                <a:gd name="T7" fmla="*/ 36156 h 49"/>
                <a:gd name="T8" fmla="*/ 3823 w 71"/>
                <a:gd name="T9" fmla="*/ 43154 h 49"/>
                <a:gd name="T10" fmla="*/ 5948 w 71"/>
                <a:gd name="T11" fmla="*/ 47819 h 49"/>
                <a:gd name="T12" fmla="*/ 7647 w 71"/>
                <a:gd name="T13" fmla="*/ 53651 h 49"/>
                <a:gd name="T14" fmla="*/ 9771 w 71"/>
                <a:gd name="T15" fmla="*/ 55984 h 49"/>
                <a:gd name="T16" fmla="*/ 12745 w 71"/>
                <a:gd name="T17" fmla="*/ 57150 h 49"/>
                <a:gd name="T18" fmla="*/ 14869 w 71"/>
                <a:gd name="T19" fmla="*/ 55984 h 49"/>
                <a:gd name="T20" fmla="*/ 16993 w 71"/>
                <a:gd name="T21" fmla="*/ 53651 h 49"/>
                <a:gd name="T22" fmla="*/ 19117 w 71"/>
                <a:gd name="T23" fmla="*/ 48986 h 49"/>
                <a:gd name="T24" fmla="*/ 21242 w 71"/>
                <a:gd name="T25" fmla="*/ 43154 h 49"/>
                <a:gd name="T26" fmla="*/ 25490 w 71"/>
                <a:gd name="T27" fmla="*/ 32657 h 49"/>
                <a:gd name="T28" fmla="*/ 30163 w 71"/>
                <a:gd name="T29" fmla="*/ 20994 h 49"/>
                <a:gd name="T30" fmla="*/ 25915 w 71"/>
                <a:gd name="T31" fmla="*/ 13996 h 49"/>
                <a:gd name="T32" fmla="*/ 22091 w 71"/>
                <a:gd name="T33" fmla="*/ 10497 h 49"/>
                <a:gd name="T34" fmla="*/ 18693 w 71"/>
                <a:gd name="T35" fmla="*/ 8164 h 49"/>
                <a:gd name="T36" fmla="*/ 15719 w 71"/>
                <a:gd name="T37" fmla="*/ 6998 h 49"/>
                <a:gd name="T38" fmla="*/ 12320 w 71"/>
                <a:gd name="T39" fmla="*/ 6998 h 49"/>
                <a:gd name="T40" fmla="*/ 8921 w 71"/>
                <a:gd name="T41" fmla="*/ 5832 h 49"/>
                <a:gd name="T42" fmla="*/ 5948 w 71"/>
                <a:gd name="T43" fmla="*/ 3499 h 49"/>
                <a:gd name="T44" fmla="*/ 1699 w 71"/>
                <a:gd name="T45" fmla="*/ 0 h 49"/>
                <a:gd name="T46" fmla="*/ 1274 w 71"/>
                <a:gd name="T47" fmla="*/ 1166 h 49"/>
                <a:gd name="T48" fmla="*/ 425 w 71"/>
                <a:gd name="T49" fmla="*/ 6998 h 49"/>
                <a:gd name="T50" fmla="*/ 0 w 71"/>
                <a:gd name="T51" fmla="*/ 9331 h 49"/>
                <a:gd name="T52" fmla="*/ 0 w 71"/>
                <a:gd name="T53" fmla="*/ 11663 h 49"/>
                <a:gd name="T54" fmla="*/ 425 w 71"/>
                <a:gd name="T55" fmla="*/ 12830 h 49"/>
                <a:gd name="T56" fmla="*/ 1699 w 71"/>
                <a:gd name="T57" fmla="*/ 13996 h 4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22" name="Freeform 317">
              <a:extLst>
                <a:ext uri="{FF2B5EF4-FFF2-40B4-BE49-F238E27FC236}">
                  <a16:creationId xmlns:a16="http://schemas.microsoft.com/office/drawing/2014/main" xmlns="" id="{2FC334F4-0B0C-525F-87C9-AACC2DBCB300}"/>
                </a:ext>
              </a:extLst>
            </p:cNvPr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6589772" y="2717131"/>
              <a:ext cx="39827" cy="42996"/>
            </a:xfrm>
            <a:custGeom>
              <a:avLst/>
              <a:gdLst>
                <a:gd name="T0" fmla="*/ 18908 w 112"/>
                <a:gd name="T1" fmla="*/ 4518 h 26"/>
                <a:gd name="T2" fmla="*/ 23019 w 112"/>
                <a:gd name="T3" fmla="*/ 4518 h 26"/>
                <a:gd name="T4" fmla="*/ 27129 w 112"/>
                <a:gd name="T5" fmla="*/ 6777 h 26"/>
                <a:gd name="T6" fmla="*/ 30417 w 112"/>
                <a:gd name="T7" fmla="*/ 9036 h 26"/>
                <a:gd name="T8" fmla="*/ 34528 w 112"/>
                <a:gd name="T9" fmla="*/ 13555 h 26"/>
                <a:gd name="T10" fmla="*/ 37816 w 112"/>
                <a:gd name="T11" fmla="*/ 20332 h 26"/>
                <a:gd name="T12" fmla="*/ 41104 w 112"/>
                <a:gd name="T13" fmla="*/ 27109 h 26"/>
                <a:gd name="T14" fmla="*/ 43571 w 112"/>
                <a:gd name="T15" fmla="*/ 36146 h 26"/>
                <a:gd name="T16" fmla="*/ 46037 w 112"/>
                <a:gd name="T17" fmla="*/ 45182 h 26"/>
                <a:gd name="T18" fmla="*/ 45215 w 112"/>
                <a:gd name="T19" fmla="*/ 49701 h 26"/>
                <a:gd name="T20" fmla="*/ 43160 w 112"/>
                <a:gd name="T21" fmla="*/ 51960 h 26"/>
                <a:gd name="T22" fmla="*/ 41516 w 112"/>
                <a:gd name="T23" fmla="*/ 56478 h 26"/>
                <a:gd name="T24" fmla="*/ 39049 w 112"/>
                <a:gd name="T25" fmla="*/ 56478 h 26"/>
                <a:gd name="T26" fmla="*/ 35761 w 112"/>
                <a:gd name="T27" fmla="*/ 58737 h 26"/>
                <a:gd name="T28" fmla="*/ 32473 w 112"/>
                <a:gd name="T29" fmla="*/ 58737 h 26"/>
                <a:gd name="T30" fmla="*/ 27129 w 112"/>
                <a:gd name="T31" fmla="*/ 54219 h 26"/>
                <a:gd name="T32" fmla="*/ 16853 w 112"/>
                <a:gd name="T33" fmla="*/ 42923 h 26"/>
                <a:gd name="T34" fmla="*/ 6577 w 112"/>
                <a:gd name="T35" fmla="*/ 29369 h 26"/>
                <a:gd name="T36" fmla="*/ 0 w 112"/>
                <a:gd name="T37" fmla="*/ 18073 h 26"/>
                <a:gd name="T38" fmla="*/ 2055 w 112"/>
                <a:gd name="T39" fmla="*/ 9036 h 26"/>
                <a:gd name="T40" fmla="*/ 4521 w 112"/>
                <a:gd name="T41" fmla="*/ 4518 h 26"/>
                <a:gd name="T42" fmla="*/ 7399 w 112"/>
                <a:gd name="T43" fmla="*/ 2259 h 26"/>
                <a:gd name="T44" fmla="*/ 10276 w 112"/>
                <a:gd name="T45" fmla="*/ 0 h 26"/>
                <a:gd name="T46" fmla="*/ 15209 w 112"/>
                <a:gd name="T47" fmla="*/ 2259 h 26"/>
                <a:gd name="T48" fmla="*/ 18908 w 112"/>
                <a:gd name="T49" fmla="*/ 4518 h 2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23" name="Freeform 318">
              <a:extLst>
                <a:ext uri="{FF2B5EF4-FFF2-40B4-BE49-F238E27FC236}">
                  <a16:creationId xmlns:a16="http://schemas.microsoft.com/office/drawing/2014/main" xmlns="" id="{960CFBB0-105B-E00E-BA9E-3036E8074AC1}"/>
                </a:ext>
              </a:extLst>
            </p:cNvPr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6674922" y="2745021"/>
              <a:ext cx="12360" cy="42996"/>
            </a:xfrm>
            <a:custGeom>
              <a:avLst/>
              <a:gdLst>
                <a:gd name="T0" fmla="*/ 0 w 41"/>
                <a:gd name="T1" fmla="*/ 0 h 25"/>
                <a:gd name="T2" fmla="*/ 14287 w 41"/>
                <a:gd name="T3" fmla="*/ 0 h 25"/>
                <a:gd name="T4" fmla="*/ 9757 w 41"/>
                <a:gd name="T5" fmla="*/ 18796 h 25"/>
                <a:gd name="T6" fmla="*/ 6272 w 41"/>
                <a:gd name="T7" fmla="*/ 35242 h 25"/>
                <a:gd name="T8" fmla="*/ 3136 w 41"/>
                <a:gd name="T9" fmla="*/ 46990 h 25"/>
                <a:gd name="T10" fmla="*/ 0 w 41"/>
                <a:gd name="T11" fmla="*/ 58737 h 25"/>
                <a:gd name="T12" fmla="*/ 0 w 41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24" name="Freeform 319">
              <a:extLst>
                <a:ext uri="{FF2B5EF4-FFF2-40B4-BE49-F238E27FC236}">
                  <a16:creationId xmlns:a16="http://schemas.microsoft.com/office/drawing/2014/main" xmlns="" id="{96EF2EBC-C3B6-6C93-0141-B840A4543767}"/>
                </a:ext>
              </a:extLst>
            </p:cNvPr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6530717" y="2695052"/>
              <a:ext cx="31588" cy="40672"/>
            </a:xfrm>
            <a:custGeom>
              <a:avLst/>
              <a:gdLst>
                <a:gd name="T0" fmla="*/ 0 w 81"/>
                <a:gd name="T1" fmla="*/ 55563 h 31"/>
                <a:gd name="T2" fmla="*/ 0 w 81"/>
                <a:gd name="T3" fmla="*/ 39432 h 31"/>
                <a:gd name="T4" fmla="*/ 0 w 81"/>
                <a:gd name="T5" fmla="*/ 23301 h 31"/>
                <a:gd name="T6" fmla="*/ 0 w 81"/>
                <a:gd name="T7" fmla="*/ 17924 h 31"/>
                <a:gd name="T8" fmla="*/ 902 w 81"/>
                <a:gd name="T9" fmla="*/ 14339 h 31"/>
                <a:gd name="T10" fmla="*/ 1352 w 81"/>
                <a:gd name="T11" fmla="*/ 10754 h 31"/>
                <a:gd name="T12" fmla="*/ 1803 w 81"/>
                <a:gd name="T13" fmla="*/ 7169 h 31"/>
                <a:gd name="T14" fmla="*/ 3606 w 81"/>
                <a:gd name="T15" fmla="*/ 3585 h 31"/>
                <a:gd name="T16" fmla="*/ 6311 w 81"/>
                <a:gd name="T17" fmla="*/ 0 h 31"/>
                <a:gd name="T18" fmla="*/ 11720 w 81"/>
                <a:gd name="T19" fmla="*/ 1792 h 31"/>
                <a:gd name="T20" fmla="*/ 18482 w 81"/>
                <a:gd name="T21" fmla="*/ 1792 h 31"/>
                <a:gd name="T22" fmla="*/ 25244 w 81"/>
                <a:gd name="T23" fmla="*/ 1792 h 31"/>
                <a:gd name="T24" fmla="*/ 29301 w 81"/>
                <a:gd name="T25" fmla="*/ 1792 h 31"/>
                <a:gd name="T26" fmla="*/ 32907 w 81"/>
                <a:gd name="T27" fmla="*/ 1792 h 31"/>
                <a:gd name="T28" fmla="*/ 36513 w 81"/>
                <a:gd name="T29" fmla="*/ 1792 h 31"/>
                <a:gd name="T30" fmla="*/ 32907 w 81"/>
                <a:gd name="T31" fmla="*/ 10754 h 31"/>
                <a:gd name="T32" fmla="*/ 30202 w 81"/>
                <a:gd name="T33" fmla="*/ 17924 h 31"/>
                <a:gd name="T34" fmla="*/ 28850 w 81"/>
                <a:gd name="T35" fmla="*/ 25093 h 31"/>
                <a:gd name="T36" fmla="*/ 27948 w 81"/>
                <a:gd name="T37" fmla="*/ 32262 h 31"/>
                <a:gd name="T38" fmla="*/ 26596 w 81"/>
                <a:gd name="T39" fmla="*/ 37639 h 31"/>
                <a:gd name="T40" fmla="*/ 24342 w 81"/>
                <a:gd name="T41" fmla="*/ 41224 h 31"/>
                <a:gd name="T42" fmla="*/ 21187 w 81"/>
                <a:gd name="T43" fmla="*/ 44809 h 31"/>
                <a:gd name="T44" fmla="*/ 15326 w 81"/>
                <a:gd name="T45" fmla="*/ 44809 h 31"/>
                <a:gd name="T46" fmla="*/ 0 w 81"/>
                <a:gd name="T47" fmla="*/ 55563 h 3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25" name="Freeform 320">
              <a:extLst>
                <a:ext uri="{FF2B5EF4-FFF2-40B4-BE49-F238E27FC236}">
                  <a16:creationId xmlns:a16="http://schemas.microsoft.com/office/drawing/2014/main" xmlns="" id="{66DE48D0-4338-C720-5744-DFCDFB52B33A}"/>
                </a:ext>
              </a:extLst>
            </p:cNvPr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6569170" y="2684593"/>
              <a:ext cx="34335" cy="40672"/>
            </a:xfrm>
            <a:custGeom>
              <a:avLst/>
              <a:gdLst>
                <a:gd name="T0" fmla="*/ 892 w 89"/>
                <a:gd name="T1" fmla="*/ 55562 h 49"/>
                <a:gd name="T2" fmla="*/ 39688 w 89"/>
                <a:gd name="T3" fmla="*/ 55562 h 49"/>
                <a:gd name="T4" fmla="*/ 34783 w 89"/>
                <a:gd name="T5" fmla="*/ 46491 h 49"/>
                <a:gd name="T6" fmla="*/ 30323 w 89"/>
                <a:gd name="T7" fmla="*/ 39687 h 49"/>
                <a:gd name="T8" fmla="*/ 25418 w 89"/>
                <a:gd name="T9" fmla="*/ 34018 h 49"/>
                <a:gd name="T10" fmla="*/ 20513 w 89"/>
                <a:gd name="T11" fmla="*/ 28348 h 49"/>
                <a:gd name="T12" fmla="*/ 16054 w 89"/>
                <a:gd name="T13" fmla="*/ 23812 h 49"/>
                <a:gd name="T14" fmla="*/ 11594 w 89"/>
                <a:gd name="T15" fmla="*/ 15875 h 49"/>
                <a:gd name="T16" fmla="*/ 7135 w 89"/>
                <a:gd name="T17" fmla="*/ 9071 h 49"/>
                <a:gd name="T18" fmla="*/ 4013 w 89"/>
                <a:gd name="T19" fmla="*/ 0 h 49"/>
                <a:gd name="T20" fmla="*/ 1784 w 89"/>
                <a:gd name="T21" fmla="*/ 11339 h 49"/>
                <a:gd name="T22" fmla="*/ 446 w 89"/>
                <a:gd name="T23" fmla="*/ 26080 h 49"/>
                <a:gd name="T24" fmla="*/ 0 w 89"/>
                <a:gd name="T25" fmla="*/ 32884 h 49"/>
                <a:gd name="T26" fmla="*/ 0 w 89"/>
                <a:gd name="T27" fmla="*/ 40821 h 49"/>
                <a:gd name="T28" fmla="*/ 0 w 89"/>
                <a:gd name="T29" fmla="*/ 48758 h 49"/>
                <a:gd name="T30" fmla="*/ 892 w 89"/>
                <a:gd name="T31" fmla="*/ 55562 h 4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26" name="Freeform 321">
              <a:extLst>
                <a:ext uri="{FF2B5EF4-FFF2-40B4-BE49-F238E27FC236}">
                  <a16:creationId xmlns:a16="http://schemas.microsoft.com/office/drawing/2014/main" xmlns="" id="{6776DCAD-5B33-45E3-9A50-71EBFB30B73B}"/>
                </a:ext>
              </a:extLst>
            </p:cNvPr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6614492" y="2691566"/>
              <a:ext cx="31587" cy="42996"/>
            </a:xfrm>
            <a:custGeom>
              <a:avLst/>
              <a:gdLst>
                <a:gd name="T0" fmla="*/ 0 w 86"/>
                <a:gd name="T1" fmla="*/ 26815 h 46"/>
                <a:gd name="T2" fmla="*/ 5944 w 86"/>
                <a:gd name="T3" fmla="*/ 33199 h 46"/>
                <a:gd name="T4" fmla="*/ 10614 w 86"/>
                <a:gd name="T5" fmla="*/ 37030 h 46"/>
                <a:gd name="T6" fmla="*/ 12737 w 86"/>
                <a:gd name="T7" fmla="*/ 38307 h 46"/>
                <a:gd name="T8" fmla="*/ 15284 w 86"/>
                <a:gd name="T9" fmla="*/ 38307 h 46"/>
                <a:gd name="T10" fmla="*/ 17407 w 86"/>
                <a:gd name="T11" fmla="*/ 37030 h 46"/>
                <a:gd name="T12" fmla="*/ 19530 w 86"/>
                <a:gd name="T13" fmla="*/ 34476 h 46"/>
                <a:gd name="T14" fmla="*/ 19530 w 86"/>
                <a:gd name="T15" fmla="*/ 45968 h 46"/>
                <a:gd name="T16" fmla="*/ 19530 w 86"/>
                <a:gd name="T17" fmla="*/ 58737 h 46"/>
                <a:gd name="T18" fmla="*/ 23775 w 86"/>
                <a:gd name="T19" fmla="*/ 57460 h 46"/>
                <a:gd name="T20" fmla="*/ 28445 w 86"/>
                <a:gd name="T21" fmla="*/ 54906 h 46"/>
                <a:gd name="T22" fmla="*/ 32691 w 86"/>
                <a:gd name="T23" fmla="*/ 51076 h 46"/>
                <a:gd name="T24" fmla="*/ 36512 w 86"/>
                <a:gd name="T25" fmla="*/ 51076 h 46"/>
                <a:gd name="T26" fmla="*/ 35238 w 86"/>
                <a:gd name="T27" fmla="*/ 40861 h 46"/>
                <a:gd name="T28" fmla="*/ 33965 w 86"/>
                <a:gd name="T29" fmla="*/ 31922 h 46"/>
                <a:gd name="T30" fmla="*/ 31417 w 86"/>
                <a:gd name="T31" fmla="*/ 24261 h 46"/>
                <a:gd name="T32" fmla="*/ 29719 w 86"/>
                <a:gd name="T33" fmla="*/ 17876 h 46"/>
                <a:gd name="T34" fmla="*/ 27172 w 86"/>
                <a:gd name="T35" fmla="*/ 11492 h 46"/>
                <a:gd name="T36" fmla="*/ 24624 w 86"/>
                <a:gd name="T37" fmla="*/ 7661 h 46"/>
                <a:gd name="T38" fmla="*/ 21652 w 86"/>
                <a:gd name="T39" fmla="*/ 3831 h 46"/>
                <a:gd name="T40" fmla="*/ 19530 w 86"/>
                <a:gd name="T41" fmla="*/ 1277 h 46"/>
                <a:gd name="T42" fmla="*/ 16558 w 86"/>
                <a:gd name="T43" fmla="*/ 0 h 46"/>
                <a:gd name="T44" fmla="*/ 14010 w 86"/>
                <a:gd name="T45" fmla="*/ 0 h 46"/>
                <a:gd name="T46" fmla="*/ 11039 w 86"/>
                <a:gd name="T47" fmla="*/ 1277 h 46"/>
                <a:gd name="T48" fmla="*/ 8067 w 86"/>
                <a:gd name="T49" fmla="*/ 3831 h 46"/>
                <a:gd name="T50" fmla="*/ 5944 w 86"/>
                <a:gd name="T51" fmla="*/ 7661 h 46"/>
                <a:gd name="T52" fmla="*/ 3396 w 86"/>
                <a:gd name="T53" fmla="*/ 12769 h 46"/>
                <a:gd name="T54" fmla="*/ 1698 w 86"/>
                <a:gd name="T55" fmla="*/ 19153 h 46"/>
                <a:gd name="T56" fmla="*/ 0 w 86"/>
                <a:gd name="T57" fmla="*/ 26815 h 4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27" name="Freeform 322">
              <a:extLst>
                <a:ext uri="{FF2B5EF4-FFF2-40B4-BE49-F238E27FC236}">
                  <a16:creationId xmlns:a16="http://schemas.microsoft.com/office/drawing/2014/main" xmlns="" id="{AD499479-A32E-8DEF-36FF-8150436F946A}"/>
                </a:ext>
              </a:extLst>
            </p:cNvPr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6659813" y="2695052"/>
              <a:ext cx="21974" cy="40672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55563 h 18"/>
                <a:gd name="T4" fmla="*/ 16790 w 59"/>
                <a:gd name="T5" fmla="*/ 55563 h 18"/>
                <a:gd name="T6" fmla="*/ 25400 w 59"/>
                <a:gd name="T7" fmla="*/ 18521 h 18"/>
                <a:gd name="T8" fmla="*/ 21956 w 59"/>
                <a:gd name="T9" fmla="*/ 15434 h 18"/>
                <a:gd name="T10" fmla="*/ 19373 w 59"/>
                <a:gd name="T11" fmla="*/ 12347 h 18"/>
                <a:gd name="T12" fmla="*/ 15929 w 59"/>
                <a:gd name="T13" fmla="*/ 15434 h 18"/>
                <a:gd name="T14" fmla="*/ 12485 w 59"/>
                <a:gd name="T15" fmla="*/ 18521 h 18"/>
                <a:gd name="T16" fmla="*/ 9471 w 59"/>
                <a:gd name="T17" fmla="*/ 18521 h 18"/>
                <a:gd name="T18" fmla="*/ 6027 w 59"/>
                <a:gd name="T19" fmla="*/ 15434 h 18"/>
                <a:gd name="T20" fmla="*/ 3014 w 59"/>
                <a:gd name="T21" fmla="*/ 12347 h 18"/>
                <a:gd name="T22" fmla="*/ 0 w 59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28" name="Freeform 323">
              <a:extLst>
                <a:ext uri="{FF2B5EF4-FFF2-40B4-BE49-F238E27FC236}">
                  <a16:creationId xmlns:a16="http://schemas.microsoft.com/office/drawing/2014/main" xmlns="" id="{6C10D782-A373-5975-10FA-0D8E69A0AE2B}"/>
                </a:ext>
              </a:extLst>
            </p:cNvPr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6722988" y="2689242"/>
              <a:ext cx="1374" cy="40672"/>
            </a:xfrm>
            <a:custGeom>
              <a:avLst/>
              <a:gdLst>
                <a:gd name="T0" fmla="*/ 1588 w 4"/>
                <a:gd name="T1" fmla="*/ 55562 h 19"/>
                <a:gd name="T2" fmla="*/ 1588 w 4"/>
                <a:gd name="T3" fmla="*/ 0 h 19"/>
                <a:gd name="T4" fmla="*/ 794 w 4"/>
                <a:gd name="T5" fmla="*/ 2924 h 19"/>
                <a:gd name="T6" fmla="*/ 397 w 4"/>
                <a:gd name="T7" fmla="*/ 8773 h 19"/>
                <a:gd name="T8" fmla="*/ 0 w 4"/>
                <a:gd name="T9" fmla="*/ 17546 h 19"/>
                <a:gd name="T10" fmla="*/ 0 w 4"/>
                <a:gd name="T11" fmla="*/ 29243 h 19"/>
                <a:gd name="T12" fmla="*/ 0 w 4"/>
                <a:gd name="T13" fmla="*/ 40940 h 19"/>
                <a:gd name="T14" fmla="*/ 397 w 4"/>
                <a:gd name="T15" fmla="*/ 46789 h 19"/>
                <a:gd name="T16" fmla="*/ 794 w 4"/>
                <a:gd name="T17" fmla="*/ 55562 h 19"/>
                <a:gd name="T18" fmla="*/ 1588 w 4"/>
                <a:gd name="T19" fmla="*/ 55562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29" name="Freeform 324">
              <a:extLst>
                <a:ext uri="{FF2B5EF4-FFF2-40B4-BE49-F238E27FC236}">
                  <a16:creationId xmlns:a16="http://schemas.microsoft.com/office/drawing/2014/main" xmlns="" id="{1FC01D7C-65AC-21D9-DD4C-492E8F16615D}"/>
                </a:ext>
              </a:extLst>
            </p:cNvPr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6354924" y="2553280"/>
              <a:ext cx="17854" cy="42997"/>
            </a:xfrm>
            <a:custGeom>
              <a:avLst/>
              <a:gdLst>
                <a:gd name="T0" fmla="*/ 0 w 46"/>
                <a:gd name="T1" fmla="*/ 58738 h 50"/>
                <a:gd name="T2" fmla="*/ 3141 w 46"/>
                <a:gd name="T3" fmla="*/ 0 h 50"/>
                <a:gd name="T4" fmla="*/ 10319 w 46"/>
                <a:gd name="T5" fmla="*/ 9398 h 50"/>
                <a:gd name="T6" fmla="*/ 15254 w 46"/>
                <a:gd name="T7" fmla="*/ 16447 h 50"/>
                <a:gd name="T8" fmla="*/ 16600 w 46"/>
                <a:gd name="T9" fmla="*/ 21146 h 50"/>
                <a:gd name="T10" fmla="*/ 18395 w 46"/>
                <a:gd name="T11" fmla="*/ 25845 h 50"/>
                <a:gd name="T12" fmla="*/ 19741 w 46"/>
                <a:gd name="T13" fmla="*/ 35243 h 50"/>
                <a:gd name="T14" fmla="*/ 20638 w 46"/>
                <a:gd name="T15" fmla="*/ 44641 h 50"/>
                <a:gd name="T16" fmla="*/ 15254 w 46"/>
                <a:gd name="T17" fmla="*/ 49340 h 50"/>
                <a:gd name="T18" fmla="*/ 9422 w 46"/>
                <a:gd name="T19" fmla="*/ 54039 h 50"/>
                <a:gd name="T20" fmla="*/ 3589 w 46"/>
                <a:gd name="T21" fmla="*/ 57563 h 50"/>
                <a:gd name="T22" fmla="*/ 0 w 46"/>
                <a:gd name="T23" fmla="*/ 58738 h 5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30" name="Freeform 325">
              <a:extLst>
                <a:ext uri="{FF2B5EF4-FFF2-40B4-BE49-F238E27FC236}">
                  <a16:creationId xmlns:a16="http://schemas.microsoft.com/office/drawing/2014/main" xmlns="" id="{F416493F-209A-58F5-ED48-17EBA32E3A0F}"/>
                </a:ext>
              </a:extLst>
            </p:cNvPr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6308230" y="2533527"/>
              <a:ext cx="26095" cy="42996"/>
            </a:xfrm>
            <a:custGeom>
              <a:avLst/>
              <a:gdLst>
                <a:gd name="T0" fmla="*/ 0 w 66"/>
                <a:gd name="T1" fmla="*/ 0 h 80"/>
                <a:gd name="T2" fmla="*/ 4570 w 66"/>
                <a:gd name="T3" fmla="*/ 0 h 80"/>
                <a:gd name="T4" fmla="*/ 8226 w 66"/>
                <a:gd name="T5" fmla="*/ 0 h 80"/>
                <a:gd name="T6" fmla="*/ 11882 w 66"/>
                <a:gd name="T7" fmla="*/ 0 h 80"/>
                <a:gd name="T8" fmla="*/ 15082 w 66"/>
                <a:gd name="T9" fmla="*/ 0 h 80"/>
                <a:gd name="T10" fmla="*/ 15082 w 66"/>
                <a:gd name="T11" fmla="*/ 5139 h 80"/>
                <a:gd name="T12" fmla="*/ 15539 w 66"/>
                <a:gd name="T13" fmla="*/ 10279 h 80"/>
                <a:gd name="T14" fmla="*/ 16453 w 66"/>
                <a:gd name="T15" fmla="*/ 15418 h 80"/>
                <a:gd name="T16" fmla="*/ 17367 w 66"/>
                <a:gd name="T17" fmla="*/ 19824 h 80"/>
                <a:gd name="T18" fmla="*/ 20109 w 66"/>
                <a:gd name="T19" fmla="*/ 26432 h 80"/>
                <a:gd name="T20" fmla="*/ 22394 w 66"/>
                <a:gd name="T21" fmla="*/ 33040 h 80"/>
                <a:gd name="T22" fmla="*/ 25593 w 66"/>
                <a:gd name="T23" fmla="*/ 38179 h 80"/>
                <a:gd name="T24" fmla="*/ 27878 w 66"/>
                <a:gd name="T25" fmla="*/ 44053 h 80"/>
                <a:gd name="T26" fmla="*/ 28335 w 66"/>
                <a:gd name="T27" fmla="*/ 47724 h 80"/>
                <a:gd name="T28" fmla="*/ 29706 w 66"/>
                <a:gd name="T29" fmla="*/ 50661 h 80"/>
                <a:gd name="T30" fmla="*/ 30163 w 66"/>
                <a:gd name="T31" fmla="*/ 55066 h 80"/>
                <a:gd name="T32" fmla="*/ 30163 w 66"/>
                <a:gd name="T33" fmla="*/ 58737 h 80"/>
                <a:gd name="T34" fmla="*/ 0 w 66"/>
                <a:gd name="T35" fmla="*/ 13216 h 80"/>
                <a:gd name="T36" fmla="*/ 0 w 66"/>
                <a:gd name="T37" fmla="*/ 0 h 8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31" name="Freeform 326">
              <a:extLst>
                <a:ext uri="{FF2B5EF4-FFF2-40B4-BE49-F238E27FC236}">
                  <a16:creationId xmlns:a16="http://schemas.microsoft.com/office/drawing/2014/main" xmlns="" id="{A06227A8-35BB-4638-19AE-6BF19DC693A6}"/>
                </a:ext>
              </a:extLst>
            </p:cNvPr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6165398" y="2521906"/>
              <a:ext cx="6867" cy="41835"/>
            </a:xfrm>
            <a:custGeom>
              <a:avLst/>
              <a:gdLst>
                <a:gd name="T0" fmla="*/ 7938 w 20"/>
                <a:gd name="T1" fmla="*/ 57150 h 48"/>
                <a:gd name="T2" fmla="*/ 7938 w 20"/>
                <a:gd name="T3" fmla="*/ 46434 h 48"/>
                <a:gd name="T4" fmla="*/ 7541 w 20"/>
                <a:gd name="T5" fmla="*/ 38100 h 48"/>
                <a:gd name="T6" fmla="*/ 6350 w 20"/>
                <a:gd name="T7" fmla="*/ 29766 h 48"/>
                <a:gd name="T8" fmla="*/ 5557 w 20"/>
                <a:gd name="T9" fmla="*/ 22622 h 48"/>
                <a:gd name="T10" fmla="*/ 4763 w 20"/>
                <a:gd name="T11" fmla="*/ 16669 h 48"/>
                <a:gd name="T12" fmla="*/ 3572 w 20"/>
                <a:gd name="T13" fmla="*/ 10716 h 48"/>
                <a:gd name="T14" fmla="*/ 1588 w 20"/>
                <a:gd name="T15" fmla="*/ 4763 h 48"/>
                <a:gd name="T16" fmla="*/ 0 w 20"/>
                <a:gd name="T17" fmla="*/ 0 h 48"/>
                <a:gd name="T18" fmla="*/ 0 w 20"/>
                <a:gd name="T19" fmla="*/ 9525 h 48"/>
                <a:gd name="T20" fmla="*/ 794 w 20"/>
                <a:gd name="T21" fmla="*/ 20241 h 48"/>
                <a:gd name="T22" fmla="*/ 1588 w 20"/>
                <a:gd name="T23" fmla="*/ 28575 h 48"/>
                <a:gd name="T24" fmla="*/ 3175 w 20"/>
                <a:gd name="T25" fmla="*/ 36909 h 48"/>
                <a:gd name="T26" fmla="*/ 5557 w 20"/>
                <a:gd name="T27" fmla="*/ 48816 h 48"/>
                <a:gd name="T28" fmla="*/ 7938 w 20"/>
                <a:gd name="T29" fmla="*/ 57150 h 4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32" name="Line 327" descr="Horizontal dunkel">
              <a:extLst>
                <a:ext uri="{FF2B5EF4-FFF2-40B4-BE49-F238E27FC236}">
                  <a16:creationId xmlns:a16="http://schemas.microsoft.com/office/drawing/2014/main" xmlns="" id="{B8BD63AF-7231-4B1C-3EA6-EC5A32D5650F}"/>
                </a:ext>
              </a:extLst>
            </p:cNvPr>
            <p:cNvSpPr>
              <a:spLocks noChangeShapeType="1"/>
            </p:cNvSpPr>
            <p:nvPr>
              <p:custDataLst>
                <p:tags r:id="rId228"/>
              </p:custDataLst>
            </p:nvPr>
          </p:nvSpPr>
          <p:spPr bwMode="auto">
            <a:xfrm>
              <a:off x="6187373" y="2548633"/>
              <a:ext cx="4121" cy="4649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33" name="Freeform 328">
              <a:extLst>
                <a:ext uri="{FF2B5EF4-FFF2-40B4-BE49-F238E27FC236}">
                  <a16:creationId xmlns:a16="http://schemas.microsoft.com/office/drawing/2014/main" xmlns="" id="{39FF9107-9226-7576-CCB6-3DF647561F8C}"/>
                </a:ext>
              </a:extLst>
            </p:cNvPr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6184625" y="2548633"/>
              <a:ext cx="6867" cy="41835"/>
            </a:xfrm>
            <a:custGeom>
              <a:avLst/>
              <a:gdLst>
                <a:gd name="T0" fmla="*/ 7938 w 20"/>
                <a:gd name="T1" fmla="*/ 57150 h 12"/>
                <a:gd name="T2" fmla="*/ 7938 w 20"/>
                <a:gd name="T3" fmla="*/ 38100 h 12"/>
                <a:gd name="T4" fmla="*/ 7144 w 20"/>
                <a:gd name="T5" fmla="*/ 23813 h 12"/>
                <a:gd name="T6" fmla="*/ 5954 w 20"/>
                <a:gd name="T7" fmla="*/ 14288 h 12"/>
                <a:gd name="T8" fmla="*/ 5160 w 20"/>
                <a:gd name="T9" fmla="*/ 9525 h 12"/>
                <a:gd name="T10" fmla="*/ 2778 w 20"/>
                <a:gd name="T11" fmla="*/ 0 h 12"/>
                <a:gd name="T12" fmla="*/ 0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34" name="Freeform 329">
              <a:extLst>
                <a:ext uri="{FF2B5EF4-FFF2-40B4-BE49-F238E27FC236}">
                  <a16:creationId xmlns:a16="http://schemas.microsoft.com/office/drawing/2014/main" xmlns="" id="{15763C80-AE45-4D98-6338-6D1D618D66E7}"/>
                </a:ext>
              </a:extLst>
            </p:cNvPr>
            <p:cNvSpPr>
              <a:spLocks/>
            </p:cNvSpPr>
            <p:nvPr>
              <p:custDataLst>
                <p:tags r:id="rId230"/>
              </p:custDataLst>
            </p:nvPr>
          </p:nvSpPr>
          <p:spPr bwMode="auto">
            <a:xfrm>
              <a:off x="6099477" y="2434750"/>
              <a:ext cx="19227" cy="41835"/>
            </a:xfrm>
            <a:custGeom>
              <a:avLst/>
              <a:gdLst>
                <a:gd name="T0" fmla="*/ 2935 w 53"/>
                <a:gd name="T1" fmla="*/ 0 h 30"/>
                <a:gd name="T2" fmla="*/ 4613 w 53"/>
                <a:gd name="T3" fmla="*/ 7620 h 30"/>
                <a:gd name="T4" fmla="*/ 9645 w 53"/>
                <a:gd name="T5" fmla="*/ 24765 h 30"/>
                <a:gd name="T6" fmla="*/ 15516 w 53"/>
                <a:gd name="T7" fmla="*/ 43815 h 30"/>
                <a:gd name="T8" fmla="*/ 19290 w 53"/>
                <a:gd name="T9" fmla="*/ 57150 h 30"/>
                <a:gd name="T10" fmla="*/ 20548 w 53"/>
                <a:gd name="T11" fmla="*/ 34290 h 30"/>
                <a:gd name="T12" fmla="*/ 22225 w 53"/>
                <a:gd name="T13" fmla="*/ 11430 h 30"/>
                <a:gd name="T14" fmla="*/ 15516 w 53"/>
                <a:gd name="T15" fmla="*/ 9525 h 30"/>
                <a:gd name="T16" fmla="*/ 10903 w 53"/>
                <a:gd name="T17" fmla="*/ 5715 h 30"/>
                <a:gd name="T18" fmla="*/ 8806 w 53"/>
                <a:gd name="T19" fmla="*/ 5715 h 30"/>
                <a:gd name="T20" fmla="*/ 6290 w 53"/>
                <a:gd name="T21" fmla="*/ 5715 h 30"/>
                <a:gd name="T22" fmla="*/ 3774 w 53"/>
                <a:gd name="T23" fmla="*/ 7620 h 30"/>
                <a:gd name="T24" fmla="*/ 0 w 53"/>
                <a:gd name="T25" fmla="*/ 11430 h 30"/>
                <a:gd name="T26" fmla="*/ 2935 w 53"/>
                <a:gd name="T27" fmla="*/ 0 h 3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35" name="Freeform 330">
              <a:extLst>
                <a:ext uri="{FF2B5EF4-FFF2-40B4-BE49-F238E27FC236}">
                  <a16:creationId xmlns:a16="http://schemas.microsoft.com/office/drawing/2014/main" xmlns="" id="{8FF5ABFA-803B-DE1D-0C5A-799C8103D462}"/>
                </a:ext>
              </a:extLst>
            </p:cNvPr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6556811" y="2700862"/>
              <a:ext cx="9613" cy="41835"/>
            </a:xfrm>
            <a:custGeom>
              <a:avLst/>
              <a:gdLst>
                <a:gd name="T0" fmla="*/ 0 w 33"/>
                <a:gd name="T1" fmla="*/ 11061 h 31"/>
                <a:gd name="T2" fmla="*/ 1347 w 33"/>
                <a:gd name="T3" fmla="*/ 38715 h 31"/>
                <a:gd name="T4" fmla="*/ 2357 w 33"/>
                <a:gd name="T5" fmla="*/ 57150 h 31"/>
                <a:gd name="T6" fmla="*/ 7408 w 33"/>
                <a:gd name="T7" fmla="*/ 57150 h 31"/>
                <a:gd name="T8" fmla="*/ 11112 w 33"/>
                <a:gd name="T9" fmla="*/ 57150 h 31"/>
                <a:gd name="T10" fmla="*/ 11112 w 33"/>
                <a:gd name="T11" fmla="*/ 0 h 31"/>
                <a:gd name="T12" fmla="*/ 9092 w 33"/>
                <a:gd name="T13" fmla="*/ 0 h 31"/>
                <a:gd name="T14" fmla="*/ 6398 w 33"/>
                <a:gd name="T15" fmla="*/ 0 h 31"/>
                <a:gd name="T16" fmla="*/ 3367 w 33"/>
                <a:gd name="T17" fmla="*/ 0 h 31"/>
                <a:gd name="T18" fmla="*/ 0 w 33"/>
                <a:gd name="T19" fmla="*/ 0 h 31"/>
                <a:gd name="T20" fmla="*/ 0 w 33"/>
                <a:gd name="T21" fmla="*/ 11061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36" name="Freeform 331">
              <a:extLst>
                <a:ext uri="{FF2B5EF4-FFF2-40B4-BE49-F238E27FC236}">
                  <a16:creationId xmlns:a16="http://schemas.microsoft.com/office/drawing/2014/main" xmlns="" id="{0947EDAD-0DA0-4530-71D5-50C6D07FA5A6}"/>
                </a:ext>
              </a:extLst>
            </p:cNvPr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7003158" y="2669487"/>
              <a:ext cx="24721" cy="40672"/>
            </a:xfrm>
            <a:custGeom>
              <a:avLst/>
              <a:gdLst>
                <a:gd name="T0" fmla="*/ 8353 w 65"/>
                <a:gd name="T1" fmla="*/ 55563 h 68"/>
                <a:gd name="T2" fmla="*/ 7034 w 65"/>
                <a:gd name="T3" fmla="*/ 55563 h 68"/>
                <a:gd name="T4" fmla="*/ 6155 w 65"/>
                <a:gd name="T5" fmla="*/ 53929 h 68"/>
                <a:gd name="T6" fmla="*/ 4836 w 65"/>
                <a:gd name="T7" fmla="*/ 52295 h 68"/>
                <a:gd name="T8" fmla="*/ 3077 w 65"/>
                <a:gd name="T9" fmla="*/ 49843 h 68"/>
                <a:gd name="T10" fmla="*/ 1758 w 65"/>
                <a:gd name="T11" fmla="*/ 48209 h 68"/>
                <a:gd name="T12" fmla="*/ 879 w 65"/>
                <a:gd name="T13" fmla="*/ 44941 h 68"/>
                <a:gd name="T14" fmla="*/ 0 w 65"/>
                <a:gd name="T15" fmla="*/ 42489 h 68"/>
                <a:gd name="T16" fmla="*/ 0 w 65"/>
                <a:gd name="T17" fmla="*/ 40038 h 68"/>
                <a:gd name="T18" fmla="*/ 0 w 65"/>
                <a:gd name="T19" fmla="*/ 31050 h 68"/>
                <a:gd name="T20" fmla="*/ 879 w 65"/>
                <a:gd name="T21" fmla="*/ 23696 h 68"/>
                <a:gd name="T22" fmla="*/ 2198 w 65"/>
                <a:gd name="T23" fmla="*/ 17159 h 68"/>
                <a:gd name="T24" fmla="*/ 3957 w 65"/>
                <a:gd name="T25" fmla="*/ 11439 h 68"/>
                <a:gd name="T26" fmla="*/ 6594 w 65"/>
                <a:gd name="T27" fmla="*/ 6537 h 68"/>
                <a:gd name="T28" fmla="*/ 9672 w 65"/>
                <a:gd name="T29" fmla="*/ 3268 h 68"/>
                <a:gd name="T30" fmla="*/ 13188 w 65"/>
                <a:gd name="T31" fmla="*/ 1634 h 68"/>
                <a:gd name="T32" fmla="*/ 17145 w 65"/>
                <a:gd name="T33" fmla="*/ 0 h 68"/>
                <a:gd name="T34" fmla="*/ 22860 w 65"/>
                <a:gd name="T35" fmla="*/ 0 h 68"/>
                <a:gd name="T36" fmla="*/ 28575 w 65"/>
                <a:gd name="T37" fmla="*/ 0 h 68"/>
                <a:gd name="T38" fmla="*/ 28575 w 65"/>
                <a:gd name="T39" fmla="*/ 35135 h 68"/>
                <a:gd name="T40" fmla="*/ 24618 w 65"/>
                <a:gd name="T41" fmla="*/ 42489 h 68"/>
                <a:gd name="T42" fmla="*/ 19783 w 65"/>
                <a:gd name="T43" fmla="*/ 49843 h 68"/>
                <a:gd name="T44" fmla="*/ 17145 w 65"/>
                <a:gd name="T45" fmla="*/ 52295 h 68"/>
                <a:gd name="T46" fmla="*/ 14947 w 65"/>
                <a:gd name="T47" fmla="*/ 53929 h 68"/>
                <a:gd name="T48" fmla="*/ 11870 w 65"/>
                <a:gd name="T49" fmla="*/ 55563 h 68"/>
                <a:gd name="T50" fmla="*/ 8353 w 65"/>
                <a:gd name="T51" fmla="*/ 55563 h 6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37" name="Freeform 332">
              <a:extLst>
                <a:ext uri="{FF2B5EF4-FFF2-40B4-BE49-F238E27FC236}">
                  <a16:creationId xmlns:a16="http://schemas.microsoft.com/office/drawing/2014/main" xmlns="" id="{2BC8B2A6-FD8C-3632-79E1-2502F0E30045}"/>
                </a:ext>
              </a:extLst>
            </p:cNvPr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6084370" y="2363866"/>
              <a:ext cx="237593" cy="269597"/>
            </a:xfrm>
            <a:custGeom>
              <a:avLst/>
              <a:gdLst>
                <a:gd name="T0" fmla="*/ 220588 w 625"/>
                <a:gd name="T1" fmla="*/ 178843 h 694"/>
                <a:gd name="T2" fmla="*/ 212679 w 625"/>
                <a:gd name="T3" fmla="*/ 180966 h 694"/>
                <a:gd name="T4" fmla="*/ 210482 w 625"/>
                <a:gd name="T5" fmla="*/ 202724 h 694"/>
                <a:gd name="T6" fmla="*/ 226301 w 625"/>
                <a:gd name="T7" fmla="*/ 214399 h 694"/>
                <a:gd name="T8" fmla="*/ 234650 w 625"/>
                <a:gd name="T9" fmla="*/ 214930 h 694"/>
                <a:gd name="T10" fmla="*/ 241681 w 625"/>
                <a:gd name="T11" fmla="*/ 225013 h 694"/>
                <a:gd name="T12" fmla="*/ 246075 w 625"/>
                <a:gd name="T13" fmla="*/ 243587 h 694"/>
                <a:gd name="T14" fmla="*/ 251348 w 625"/>
                <a:gd name="T15" fmla="*/ 251548 h 694"/>
                <a:gd name="T16" fmla="*/ 258378 w 625"/>
                <a:gd name="T17" fmla="*/ 256324 h 694"/>
                <a:gd name="T18" fmla="*/ 269803 w 625"/>
                <a:gd name="T19" fmla="*/ 258447 h 694"/>
                <a:gd name="T20" fmla="*/ 274637 w 625"/>
                <a:gd name="T21" fmla="*/ 267999 h 694"/>
                <a:gd name="T22" fmla="*/ 274637 w 625"/>
                <a:gd name="T23" fmla="*/ 286043 h 694"/>
                <a:gd name="T24" fmla="*/ 271561 w 625"/>
                <a:gd name="T25" fmla="*/ 320007 h 694"/>
                <a:gd name="T26" fmla="*/ 268485 w 625"/>
                <a:gd name="T27" fmla="*/ 356625 h 694"/>
                <a:gd name="T28" fmla="*/ 246954 w 625"/>
                <a:gd name="T29" fmla="*/ 367769 h 694"/>
                <a:gd name="T30" fmla="*/ 236847 w 625"/>
                <a:gd name="T31" fmla="*/ 367769 h 694"/>
                <a:gd name="T32" fmla="*/ 173131 w 625"/>
                <a:gd name="T33" fmla="*/ 299310 h 694"/>
                <a:gd name="T34" fmla="*/ 174449 w 625"/>
                <a:gd name="T35" fmla="*/ 292942 h 694"/>
                <a:gd name="T36" fmla="*/ 173131 w 625"/>
                <a:gd name="T37" fmla="*/ 286043 h 694"/>
                <a:gd name="T38" fmla="*/ 148524 w 625"/>
                <a:gd name="T39" fmla="*/ 258978 h 694"/>
                <a:gd name="T40" fmla="*/ 134023 w 625"/>
                <a:gd name="T41" fmla="*/ 240403 h 694"/>
                <a:gd name="T42" fmla="*/ 128750 w 625"/>
                <a:gd name="T43" fmla="*/ 222360 h 694"/>
                <a:gd name="T44" fmla="*/ 127871 w 625"/>
                <a:gd name="T45" fmla="*/ 202194 h 694"/>
                <a:gd name="T46" fmla="*/ 125234 w 625"/>
                <a:gd name="T47" fmla="*/ 191049 h 694"/>
                <a:gd name="T48" fmla="*/ 117764 w 625"/>
                <a:gd name="T49" fmla="*/ 181497 h 694"/>
                <a:gd name="T50" fmla="*/ 105900 w 625"/>
                <a:gd name="T51" fmla="*/ 164514 h 694"/>
                <a:gd name="T52" fmla="*/ 98430 w 625"/>
                <a:gd name="T53" fmla="*/ 142756 h 694"/>
                <a:gd name="T54" fmla="*/ 93596 w 625"/>
                <a:gd name="T55" fmla="*/ 126305 h 694"/>
                <a:gd name="T56" fmla="*/ 83490 w 625"/>
                <a:gd name="T57" fmla="*/ 112507 h 694"/>
                <a:gd name="T58" fmla="*/ 65913 w 625"/>
                <a:gd name="T59" fmla="*/ 90748 h 694"/>
                <a:gd name="T60" fmla="*/ 59761 w 625"/>
                <a:gd name="T61" fmla="*/ 77481 h 694"/>
                <a:gd name="T62" fmla="*/ 49215 w 625"/>
                <a:gd name="T63" fmla="*/ 70051 h 694"/>
                <a:gd name="T64" fmla="*/ 35154 w 625"/>
                <a:gd name="T65" fmla="*/ 59968 h 694"/>
                <a:gd name="T66" fmla="*/ 21532 w 625"/>
                <a:gd name="T67" fmla="*/ 45109 h 694"/>
                <a:gd name="T68" fmla="*/ 10107 w 625"/>
                <a:gd name="T69" fmla="*/ 27065 h 694"/>
                <a:gd name="T70" fmla="*/ 2197 w 625"/>
                <a:gd name="T71" fmla="*/ 10083 h 694"/>
                <a:gd name="T72" fmla="*/ 4394 w 625"/>
                <a:gd name="T73" fmla="*/ 2123 h 694"/>
                <a:gd name="T74" fmla="*/ 16259 w 625"/>
                <a:gd name="T75" fmla="*/ 6899 h 694"/>
                <a:gd name="T76" fmla="*/ 36911 w 625"/>
                <a:gd name="T77" fmla="*/ 8491 h 694"/>
                <a:gd name="T78" fmla="*/ 50973 w 625"/>
                <a:gd name="T79" fmla="*/ 10614 h 694"/>
                <a:gd name="T80" fmla="*/ 60640 w 625"/>
                <a:gd name="T81" fmla="*/ 14329 h 694"/>
                <a:gd name="T82" fmla="*/ 68549 w 625"/>
                <a:gd name="T83" fmla="*/ 22289 h 694"/>
                <a:gd name="T84" fmla="*/ 89642 w 625"/>
                <a:gd name="T85" fmla="*/ 57845 h 694"/>
                <a:gd name="T86" fmla="*/ 111612 w 625"/>
                <a:gd name="T87" fmla="*/ 86503 h 694"/>
                <a:gd name="T88" fmla="*/ 131386 w 625"/>
                <a:gd name="T89" fmla="*/ 107200 h 694"/>
                <a:gd name="T90" fmla="*/ 144569 w 625"/>
                <a:gd name="T91" fmla="*/ 116221 h 694"/>
                <a:gd name="T92" fmla="*/ 160827 w 625"/>
                <a:gd name="T93" fmla="*/ 120467 h 694"/>
                <a:gd name="T94" fmla="*/ 170495 w 625"/>
                <a:gd name="T95" fmla="*/ 122059 h 694"/>
                <a:gd name="T96" fmla="*/ 176207 w 625"/>
                <a:gd name="T97" fmla="*/ 127897 h 694"/>
                <a:gd name="T98" fmla="*/ 182798 w 625"/>
                <a:gd name="T99" fmla="*/ 137980 h 694"/>
                <a:gd name="T100" fmla="*/ 187632 w 625"/>
                <a:gd name="T101" fmla="*/ 140633 h 6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38" name="Freeform 333">
              <a:extLst>
                <a:ext uri="{FF2B5EF4-FFF2-40B4-BE49-F238E27FC236}">
                  <a16:creationId xmlns:a16="http://schemas.microsoft.com/office/drawing/2014/main" xmlns="" id="{C459AB94-8C73-5D85-1BA9-D535CC4E67ED}"/>
                </a:ext>
              </a:extLst>
            </p:cNvPr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6379645" y="2399890"/>
              <a:ext cx="219740" cy="188253"/>
            </a:xfrm>
            <a:custGeom>
              <a:avLst/>
              <a:gdLst>
                <a:gd name="T0" fmla="*/ 224041 w 585"/>
                <a:gd name="T1" fmla="*/ 14606 h 493"/>
                <a:gd name="T2" fmla="*/ 214923 w 585"/>
                <a:gd name="T3" fmla="*/ 28691 h 493"/>
                <a:gd name="T4" fmla="*/ 222304 w 585"/>
                <a:gd name="T5" fmla="*/ 48514 h 493"/>
                <a:gd name="T6" fmla="*/ 231856 w 585"/>
                <a:gd name="T7" fmla="*/ 67815 h 493"/>
                <a:gd name="T8" fmla="*/ 248790 w 585"/>
                <a:gd name="T9" fmla="*/ 92333 h 493"/>
                <a:gd name="T10" fmla="*/ 251829 w 585"/>
                <a:gd name="T11" fmla="*/ 106939 h 493"/>
                <a:gd name="T12" fmla="*/ 237501 w 585"/>
                <a:gd name="T13" fmla="*/ 106417 h 493"/>
                <a:gd name="T14" fmla="*/ 224041 w 585"/>
                <a:gd name="T15" fmla="*/ 121545 h 493"/>
                <a:gd name="T16" fmla="*/ 219699 w 585"/>
                <a:gd name="T17" fmla="*/ 128327 h 493"/>
                <a:gd name="T18" fmla="*/ 224909 w 585"/>
                <a:gd name="T19" fmla="*/ 141368 h 493"/>
                <a:gd name="T20" fmla="*/ 227949 w 585"/>
                <a:gd name="T21" fmla="*/ 153366 h 493"/>
                <a:gd name="T22" fmla="*/ 219265 w 585"/>
                <a:gd name="T23" fmla="*/ 160669 h 493"/>
                <a:gd name="T24" fmla="*/ 199292 w 585"/>
                <a:gd name="T25" fmla="*/ 168494 h 493"/>
                <a:gd name="T26" fmla="*/ 192345 w 585"/>
                <a:gd name="T27" fmla="*/ 184665 h 493"/>
                <a:gd name="T28" fmla="*/ 193214 w 585"/>
                <a:gd name="T29" fmla="*/ 216486 h 493"/>
                <a:gd name="T30" fmla="*/ 186701 w 585"/>
                <a:gd name="T31" fmla="*/ 236831 h 493"/>
                <a:gd name="T32" fmla="*/ 173675 w 585"/>
                <a:gd name="T33" fmla="*/ 246220 h 493"/>
                <a:gd name="T34" fmla="*/ 160650 w 585"/>
                <a:gd name="T35" fmla="*/ 254567 h 493"/>
                <a:gd name="T36" fmla="*/ 148058 w 585"/>
                <a:gd name="T37" fmla="*/ 257175 h 493"/>
                <a:gd name="T38" fmla="*/ 142848 w 585"/>
                <a:gd name="T39" fmla="*/ 254045 h 493"/>
                <a:gd name="T40" fmla="*/ 141979 w 585"/>
                <a:gd name="T41" fmla="*/ 245699 h 493"/>
                <a:gd name="T42" fmla="*/ 131993 w 585"/>
                <a:gd name="T43" fmla="*/ 235266 h 493"/>
                <a:gd name="T44" fmla="*/ 108981 w 585"/>
                <a:gd name="T45" fmla="*/ 236831 h 493"/>
                <a:gd name="T46" fmla="*/ 95087 w 585"/>
                <a:gd name="T47" fmla="*/ 241004 h 493"/>
                <a:gd name="T48" fmla="*/ 76417 w 585"/>
                <a:gd name="T49" fmla="*/ 229527 h 493"/>
                <a:gd name="T50" fmla="*/ 52971 w 585"/>
                <a:gd name="T51" fmla="*/ 227441 h 493"/>
                <a:gd name="T52" fmla="*/ 41248 w 585"/>
                <a:gd name="T53" fmla="*/ 223789 h 493"/>
                <a:gd name="T54" fmla="*/ 35169 w 585"/>
                <a:gd name="T55" fmla="*/ 190925 h 493"/>
                <a:gd name="T56" fmla="*/ 25183 w 585"/>
                <a:gd name="T57" fmla="*/ 161712 h 493"/>
                <a:gd name="T58" fmla="*/ 15197 w 585"/>
                <a:gd name="T59" fmla="*/ 152323 h 493"/>
                <a:gd name="T60" fmla="*/ 5210 w 585"/>
                <a:gd name="T61" fmla="*/ 135630 h 493"/>
                <a:gd name="T62" fmla="*/ 2171 w 585"/>
                <a:gd name="T63" fmla="*/ 106417 h 493"/>
                <a:gd name="T64" fmla="*/ 13460 w 585"/>
                <a:gd name="T65" fmla="*/ 79813 h 493"/>
                <a:gd name="T66" fmla="*/ 23446 w 585"/>
                <a:gd name="T67" fmla="*/ 73553 h 493"/>
                <a:gd name="T68" fmla="*/ 32564 w 585"/>
                <a:gd name="T69" fmla="*/ 79291 h 493"/>
                <a:gd name="T70" fmla="*/ 42116 w 585"/>
                <a:gd name="T71" fmla="*/ 97549 h 493"/>
                <a:gd name="T72" fmla="*/ 56010 w 585"/>
                <a:gd name="T73" fmla="*/ 111634 h 493"/>
                <a:gd name="T74" fmla="*/ 73812 w 585"/>
                <a:gd name="T75" fmla="*/ 111112 h 493"/>
                <a:gd name="T76" fmla="*/ 95956 w 585"/>
                <a:gd name="T77" fmla="*/ 98592 h 493"/>
                <a:gd name="T78" fmla="*/ 101166 w 585"/>
                <a:gd name="T79" fmla="*/ 89724 h 493"/>
                <a:gd name="T80" fmla="*/ 125046 w 585"/>
                <a:gd name="T81" fmla="*/ 92854 h 493"/>
                <a:gd name="T82" fmla="*/ 141545 w 585"/>
                <a:gd name="T83" fmla="*/ 94419 h 493"/>
                <a:gd name="T84" fmla="*/ 146321 w 585"/>
                <a:gd name="T85" fmla="*/ 88681 h 493"/>
                <a:gd name="T86" fmla="*/ 157176 w 585"/>
                <a:gd name="T87" fmla="*/ 82421 h 493"/>
                <a:gd name="T88" fmla="*/ 166294 w 585"/>
                <a:gd name="T89" fmla="*/ 70945 h 493"/>
                <a:gd name="T90" fmla="*/ 180188 w 585"/>
                <a:gd name="T91" fmla="*/ 41211 h 493"/>
                <a:gd name="T92" fmla="*/ 185398 w 585"/>
                <a:gd name="T93" fmla="*/ 13041 h 493"/>
                <a:gd name="T94" fmla="*/ 194082 w 585"/>
                <a:gd name="T95" fmla="*/ 3130 h 493"/>
                <a:gd name="T96" fmla="*/ 207976 w 585"/>
                <a:gd name="T97" fmla="*/ 1043 h 4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39" name="Freeform 334">
              <a:extLst>
                <a:ext uri="{FF2B5EF4-FFF2-40B4-BE49-F238E27FC236}">
                  <a16:creationId xmlns:a16="http://schemas.microsoft.com/office/drawing/2014/main" xmlns="" id="{3F204473-C1C3-19A8-9E2A-0A1B0F396F01}"/>
                </a:ext>
              </a:extLst>
            </p:cNvPr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6687282" y="2697376"/>
              <a:ext cx="79656" cy="41835"/>
            </a:xfrm>
            <a:custGeom>
              <a:avLst/>
              <a:gdLst>
                <a:gd name="T0" fmla="*/ 0 w 212"/>
                <a:gd name="T1" fmla="*/ 57150 h 105"/>
                <a:gd name="T2" fmla="*/ 6949 w 212"/>
                <a:gd name="T3" fmla="*/ 46264 h 105"/>
                <a:gd name="T4" fmla="*/ 15201 w 212"/>
                <a:gd name="T5" fmla="*/ 37011 h 105"/>
                <a:gd name="T6" fmla="*/ 19110 w 212"/>
                <a:gd name="T7" fmla="*/ 32657 h 105"/>
                <a:gd name="T8" fmla="*/ 23453 w 212"/>
                <a:gd name="T9" fmla="*/ 28847 h 105"/>
                <a:gd name="T10" fmla="*/ 27796 w 212"/>
                <a:gd name="T11" fmla="*/ 25037 h 105"/>
                <a:gd name="T12" fmla="*/ 31705 w 212"/>
                <a:gd name="T13" fmla="*/ 20683 h 105"/>
                <a:gd name="T14" fmla="*/ 36048 w 212"/>
                <a:gd name="T15" fmla="*/ 17417 h 105"/>
                <a:gd name="T16" fmla="*/ 40826 w 212"/>
                <a:gd name="T17" fmla="*/ 14696 h 105"/>
                <a:gd name="T18" fmla="*/ 46038 w 212"/>
                <a:gd name="T19" fmla="*/ 11430 h 105"/>
                <a:gd name="T20" fmla="*/ 51249 w 212"/>
                <a:gd name="T21" fmla="*/ 8709 h 105"/>
                <a:gd name="T22" fmla="*/ 62542 w 212"/>
                <a:gd name="T23" fmla="*/ 4354 h 105"/>
                <a:gd name="T24" fmla="*/ 74702 w 212"/>
                <a:gd name="T25" fmla="*/ 0 h 105"/>
                <a:gd name="T26" fmla="*/ 92075 w 212"/>
                <a:gd name="T27" fmla="*/ 0 h 105"/>
                <a:gd name="T28" fmla="*/ 87732 w 212"/>
                <a:gd name="T29" fmla="*/ 4899 h 105"/>
                <a:gd name="T30" fmla="*/ 82520 w 212"/>
                <a:gd name="T31" fmla="*/ 9797 h 105"/>
                <a:gd name="T32" fmla="*/ 77308 w 212"/>
                <a:gd name="T33" fmla="*/ 14696 h 105"/>
                <a:gd name="T34" fmla="*/ 71662 w 212"/>
                <a:gd name="T35" fmla="*/ 19050 h 105"/>
                <a:gd name="T36" fmla="*/ 59501 w 212"/>
                <a:gd name="T37" fmla="*/ 28303 h 105"/>
                <a:gd name="T38" fmla="*/ 47340 w 212"/>
                <a:gd name="T39" fmla="*/ 35923 h 105"/>
                <a:gd name="T40" fmla="*/ 34311 w 212"/>
                <a:gd name="T41" fmla="*/ 42999 h 105"/>
                <a:gd name="T42" fmla="*/ 21716 w 212"/>
                <a:gd name="T43" fmla="*/ 48986 h 105"/>
                <a:gd name="T44" fmla="*/ 9989 w 212"/>
                <a:gd name="T45" fmla="*/ 53884 h 105"/>
                <a:gd name="T46" fmla="*/ 0 w 212"/>
                <a:gd name="T47" fmla="*/ 57150 h 10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40" name="Freeform 335">
              <a:extLst>
                <a:ext uri="{FF2B5EF4-FFF2-40B4-BE49-F238E27FC236}">
                  <a16:creationId xmlns:a16="http://schemas.microsoft.com/office/drawing/2014/main" xmlns="" id="{FA032445-0BA2-41D0-3EE2-125D94023097}"/>
                </a:ext>
              </a:extLst>
            </p:cNvPr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6787538" y="2453344"/>
              <a:ext cx="37081" cy="65075"/>
            </a:xfrm>
            <a:custGeom>
              <a:avLst/>
              <a:gdLst>
                <a:gd name="T0" fmla="*/ 0 w 92"/>
                <a:gd name="T1" fmla="*/ 43379 h 166"/>
                <a:gd name="T2" fmla="*/ 0 w 92"/>
                <a:gd name="T3" fmla="*/ 79260 h 166"/>
                <a:gd name="T4" fmla="*/ 2329 w 92"/>
                <a:gd name="T5" fmla="*/ 77118 h 166"/>
                <a:gd name="T6" fmla="*/ 5591 w 92"/>
                <a:gd name="T7" fmla="*/ 74440 h 166"/>
                <a:gd name="T8" fmla="*/ 6522 w 92"/>
                <a:gd name="T9" fmla="*/ 73369 h 166"/>
                <a:gd name="T10" fmla="*/ 7920 w 92"/>
                <a:gd name="T11" fmla="*/ 72298 h 166"/>
                <a:gd name="T12" fmla="*/ 8386 w 92"/>
                <a:gd name="T13" fmla="*/ 70692 h 166"/>
                <a:gd name="T14" fmla="*/ 8852 w 92"/>
                <a:gd name="T15" fmla="*/ 69620 h 166"/>
                <a:gd name="T16" fmla="*/ 9318 w 92"/>
                <a:gd name="T17" fmla="*/ 73905 h 166"/>
                <a:gd name="T18" fmla="*/ 11181 w 92"/>
                <a:gd name="T19" fmla="*/ 79260 h 166"/>
                <a:gd name="T20" fmla="*/ 12579 w 92"/>
                <a:gd name="T21" fmla="*/ 82473 h 166"/>
                <a:gd name="T22" fmla="*/ 13977 w 92"/>
                <a:gd name="T23" fmla="*/ 85151 h 166"/>
                <a:gd name="T24" fmla="*/ 16306 w 92"/>
                <a:gd name="T25" fmla="*/ 87293 h 166"/>
                <a:gd name="T26" fmla="*/ 18170 w 92"/>
                <a:gd name="T27" fmla="*/ 88900 h 166"/>
                <a:gd name="T28" fmla="*/ 19102 w 92"/>
                <a:gd name="T29" fmla="*/ 84616 h 166"/>
                <a:gd name="T30" fmla="*/ 19102 w 92"/>
                <a:gd name="T31" fmla="*/ 79260 h 166"/>
                <a:gd name="T32" fmla="*/ 19102 w 92"/>
                <a:gd name="T33" fmla="*/ 73369 h 166"/>
                <a:gd name="T34" fmla="*/ 19102 w 92"/>
                <a:gd name="T35" fmla="*/ 67478 h 166"/>
                <a:gd name="T36" fmla="*/ 18636 w 92"/>
                <a:gd name="T37" fmla="*/ 57303 h 166"/>
                <a:gd name="T38" fmla="*/ 18170 w 92"/>
                <a:gd name="T39" fmla="*/ 53019 h 166"/>
                <a:gd name="T40" fmla="*/ 22363 w 92"/>
                <a:gd name="T41" fmla="*/ 53554 h 166"/>
                <a:gd name="T42" fmla="*/ 26556 w 92"/>
                <a:gd name="T43" fmla="*/ 54625 h 166"/>
                <a:gd name="T44" fmla="*/ 29817 w 92"/>
                <a:gd name="T45" fmla="*/ 56232 h 166"/>
                <a:gd name="T46" fmla="*/ 33078 w 92"/>
                <a:gd name="T47" fmla="*/ 57839 h 166"/>
                <a:gd name="T48" fmla="*/ 35408 w 92"/>
                <a:gd name="T49" fmla="*/ 59445 h 166"/>
                <a:gd name="T50" fmla="*/ 38203 w 92"/>
                <a:gd name="T51" fmla="*/ 61052 h 166"/>
                <a:gd name="T52" fmla="*/ 40533 w 92"/>
                <a:gd name="T53" fmla="*/ 62123 h 166"/>
                <a:gd name="T54" fmla="*/ 42862 w 92"/>
                <a:gd name="T55" fmla="*/ 63194 h 166"/>
                <a:gd name="T56" fmla="*/ 39601 w 92"/>
                <a:gd name="T57" fmla="*/ 55161 h 166"/>
                <a:gd name="T58" fmla="*/ 37737 w 92"/>
                <a:gd name="T59" fmla="*/ 47663 h 166"/>
                <a:gd name="T60" fmla="*/ 35408 w 92"/>
                <a:gd name="T61" fmla="*/ 40166 h 166"/>
                <a:gd name="T62" fmla="*/ 34010 w 92"/>
                <a:gd name="T63" fmla="*/ 32133 h 166"/>
                <a:gd name="T64" fmla="*/ 32612 w 92"/>
                <a:gd name="T65" fmla="*/ 25170 h 166"/>
                <a:gd name="T66" fmla="*/ 31215 w 92"/>
                <a:gd name="T67" fmla="*/ 18208 h 166"/>
                <a:gd name="T68" fmla="*/ 29351 w 92"/>
                <a:gd name="T69" fmla="*/ 12317 h 166"/>
                <a:gd name="T70" fmla="*/ 27488 w 92"/>
                <a:gd name="T71" fmla="*/ 6962 h 166"/>
                <a:gd name="T72" fmla="*/ 27488 w 92"/>
                <a:gd name="T73" fmla="*/ 10175 h 166"/>
                <a:gd name="T74" fmla="*/ 27488 w 92"/>
                <a:gd name="T75" fmla="*/ 13389 h 166"/>
                <a:gd name="T76" fmla="*/ 23295 w 92"/>
                <a:gd name="T77" fmla="*/ 12317 h 166"/>
                <a:gd name="T78" fmla="*/ 19567 w 92"/>
                <a:gd name="T79" fmla="*/ 10175 h 166"/>
                <a:gd name="T80" fmla="*/ 16306 w 92"/>
                <a:gd name="T81" fmla="*/ 8033 h 166"/>
                <a:gd name="T82" fmla="*/ 13511 w 92"/>
                <a:gd name="T83" fmla="*/ 5891 h 166"/>
                <a:gd name="T84" fmla="*/ 10716 w 92"/>
                <a:gd name="T85" fmla="*/ 3749 h 166"/>
                <a:gd name="T86" fmla="*/ 7454 w 92"/>
                <a:gd name="T87" fmla="*/ 1607 h 166"/>
                <a:gd name="T88" fmla="*/ 3727 w 92"/>
                <a:gd name="T89" fmla="*/ 536 h 166"/>
                <a:gd name="T90" fmla="*/ 0 w 92"/>
                <a:gd name="T91" fmla="*/ 0 h 166"/>
                <a:gd name="T92" fmla="*/ 0 w 92"/>
                <a:gd name="T93" fmla="*/ 5355 h 166"/>
                <a:gd name="T94" fmla="*/ 0 w 92"/>
                <a:gd name="T95" fmla="*/ 10175 h 166"/>
                <a:gd name="T96" fmla="*/ 0 w 92"/>
                <a:gd name="T97" fmla="*/ 17673 h 166"/>
                <a:gd name="T98" fmla="*/ 0 w 92"/>
                <a:gd name="T99" fmla="*/ 27848 h 166"/>
                <a:gd name="T100" fmla="*/ 0 w 92"/>
                <a:gd name="T101" fmla="*/ 37488 h 166"/>
                <a:gd name="T102" fmla="*/ 0 w 92"/>
                <a:gd name="T103" fmla="*/ 43379 h 16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41" name="Freeform 336">
              <a:extLst>
                <a:ext uri="{FF2B5EF4-FFF2-40B4-BE49-F238E27FC236}">
                  <a16:creationId xmlns:a16="http://schemas.microsoft.com/office/drawing/2014/main" xmlns="" id="{33363826-7B30-BEF0-FAD9-E7A5FE0CA901}"/>
                </a:ext>
              </a:extLst>
            </p:cNvPr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6798525" y="2559091"/>
              <a:ext cx="61801" cy="40672"/>
            </a:xfrm>
            <a:custGeom>
              <a:avLst/>
              <a:gdLst>
                <a:gd name="T0" fmla="*/ 3012 w 166"/>
                <a:gd name="T1" fmla="*/ 0 h 62"/>
                <a:gd name="T2" fmla="*/ 6025 w 166"/>
                <a:gd name="T3" fmla="*/ 2688 h 62"/>
                <a:gd name="T4" fmla="*/ 9468 w 166"/>
                <a:gd name="T5" fmla="*/ 5377 h 62"/>
                <a:gd name="T6" fmla="*/ 12910 w 166"/>
                <a:gd name="T7" fmla="*/ 6273 h 62"/>
                <a:gd name="T8" fmla="*/ 15492 w 166"/>
                <a:gd name="T9" fmla="*/ 7169 h 62"/>
                <a:gd name="T10" fmla="*/ 20656 w 166"/>
                <a:gd name="T11" fmla="*/ 7169 h 62"/>
                <a:gd name="T12" fmla="*/ 24960 w 166"/>
                <a:gd name="T13" fmla="*/ 6273 h 62"/>
                <a:gd name="T14" fmla="*/ 29694 w 166"/>
                <a:gd name="T15" fmla="*/ 4481 h 62"/>
                <a:gd name="T16" fmla="*/ 34427 w 166"/>
                <a:gd name="T17" fmla="*/ 2688 h 62"/>
                <a:gd name="T18" fmla="*/ 39592 w 166"/>
                <a:gd name="T19" fmla="*/ 896 h 62"/>
                <a:gd name="T20" fmla="*/ 45616 w 166"/>
                <a:gd name="T21" fmla="*/ 0 h 62"/>
                <a:gd name="T22" fmla="*/ 47768 w 166"/>
                <a:gd name="T23" fmla="*/ 896 h 62"/>
                <a:gd name="T24" fmla="*/ 49489 w 166"/>
                <a:gd name="T25" fmla="*/ 1792 h 62"/>
                <a:gd name="T26" fmla="*/ 51641 w 166"/>
                <a:gd name="T27" fmla="*/ 4481 h 62"/>
                <a:gd name="T28" fmla="*/ 53363 w 166"/>
                <a:gd name="T29" fmla="*/ 7169 h 62"/>
                <a:gd name="T30" fmla="*/ 56805 w 166"/>
                <a:gd name="T31" fmla="*/ 15235 h 62"/>
                <a:gd name="T32" fmla="*/ 59387 w 166"/>
                <a:gd name="T33" fmla="*/ 23300 h 62"/>
                <a:gd name="T34" fmla="*/ 62400 w 166"/>
                <a:gd name="T35" fmla="*/ 32262 h 62"/>
                <a:gd name="T36" fmla="*/ 64982 w 166"/>
                <a:gd name="T37" fmla="*/ 40327 h 62"/>
                <a:gd name="T38" fmla="*/ 66703 w 166"/>
                <a:gd name="T39" fmla="*/ 43912 h 62"/>
                <a:gd name="T40" fmla="*/ 67994 w 166"/>
                <a:gd name="T41" fmla="*/ 46600 h 62"/>
                <a:gd name="T42" fmla="*/ 69716 w 166"/>
                <a:gd name="T43" fmla="*/ 48393 h 62"/>
                <a:gd name="T44" fmla="*/ 71437 w 166"/>
                <a:gd name="T45" fmla="*/ 50185 h 62"/>
                <a:gd name="T46" fmla="*/ 68425 w 166"/>
                <a:gd name="T47" fmla="*/ 51081 h 62"/>
                <a:gd name="T48" fmla="*/ 64982 w 166"/>
                <a:gd name="T49" fmla="*/ 52874 h 62"/>
                <a:gd name="T50" fmla="*/ 61539 w 166"/>
                <a:gd name="T51" fmla="*/ 54666 h 62"/>
                <a:gd name="T52" fmla="*/ 57236 w 166"/>
                <a:gd name="T53" fmla="*/ 55562 h 62"/>
                <a:gd name="T54" fmla="*/ 53793 w 166"/>
                <a:gd name="T55" fmla="*/ 54666 h 62"/>
                <a:gd name="T56" fmla="*/ 51211 w 166"/>
                <a:gd name="T57" fmla="*/ 51977 h 62"/>
                <a:gd name="T58" fmla="*/ 48198 w 166"/>
                <a:gd name="T59" fmla="*/ 48393 h 62"/>
                <a:gd name="T60" fmla="*/ 45616 w 166"/>
                <a:gd name="T61" fmla="*/ 44808 h 62"/>
                <a:gd name="T62" fmla="*/ 43034 w 166"/>
                <a:gd name="T63" fmla="*/ 40327 h 62"/>
                <a:gd name="T64" fmla="*/ 40022 w 166"/>
                <a:gd name="T65" fmla="*/ 36743 h 62"/>
                <a:gd name="T66" fmla="*/ 37440 w 166"/>
                <a:gd name="T67" fmla="*/ 34950 h 62"/>
                <a:gd name="T68" fmla="*/ 33997 w 166"/>
                <a:gd name="T69" fmla="*/ 34054 h 62"/>
                <a:gd name="T70" fmla="*/ 24099 w 166"/>
                <a:gd name="T71" fmla="*/ 34054 h 62"/>
                <a:gd name="T72" fmla="*/ 15062 w 166"/>
                <a:gd name="T73" fmla="*/ 34950 h 62"/>
                <a:gd name="T74" fmla="*/ 11189 w 166"/>
                <a:gd name="T75" fmla="*/ 36743 h 62"/>
                <a:gd name="T76" fmla="*/ 8177 w 166"/>
                <a:gd name="T77" fmla="*/ 38535 h 62"/>
                <a:gd name="T78" fmla="*/ 5164 w 166"/>
                <a:gd name="T79" fmla="*/ 41223 h 62"/>
                <a:gd name="T80" fmla="*/ 3012 w 166"/>
                <a:gd name="T81" fmla="*/ 44808 h 62"/>
                <a:gd name="T82" fmla="*/ 861 w 166"/>
                <a:gd name="T83" fmla="*/ 40327 h 62"/>
                <a:gd name="T84" fmla="*/ 430 w 166"/>
                <a:gd name="T85" fmla="*/ 35846 h 62"/>
                <a:gd name="T86" fmla="*/ 0 w 166"/>
                <a:gd name="T87" fmla="*/ 30469 h 62"/>
                <a:gd name="T88" fmla="*/ 430 w 166"/>
                <a:gd name="T89" fmla="*/ 25093 h 62"/>
                <a:gd name="T90" fmla="*/ 1721 w 166"/>
                <a:gd name="T91" fmla="*/ 13442 h 62"/>
                <a:gd name="T92" fmla="*/ 3012 w 166"/>
                <a:gd name="T93" fmla="*/ 0 h 6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42" name="Freeform 337">
              <a:extLst>
                <a:ext uri="{FF2B5EF4-FFF2-40B4-BE49-F238E27FC236}">
                  <a16:creationId xmlns:a16="http://schemas.microsoft.com/office/drawing/2014/main" xmlns="" id="{3ECB3229-22B1-E653-6E75-264ED6910D4A}"/>
                </a:ext>
              </a:extLst>
            </p:cNvPr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6864447" y="2503313"/>
              <a:ext cx="74162" cy="46482"/>
            </a:xfrm>
            <a:custGeom>
              <a:avLst/>
              <a:gdLst>
                <a:gd name="T0" fmla="*/ 14658 w 193"/>
                <a:gd name="T1" fmla="*/ 18368 h 121"/>
                <a:gd name="T2" fmla="*/ 21320 w 193"/>
                <a:gd name="T3" fmla="*/ 13120 h 121"/>
                <a:gd name="T4" fmla="*/ 30204 w 193"/>
                <a:gd name="T5" fmla="*/ 6298 h 121"/>
                <a:gd name="T6" fmla="*/ 37310 w 193"/>
                <a:gd name="T7" fmla="*/ 2099 h 121"/>
                <a:gd name="T8" fmla="*/ 41752 w 193"/>
                <a:gd name="T9" fmla="*/ 525 h 121"/>
                <a:gd name="T10" fmla="*/ 46638 w 193"/>
                <a:gd name="T11" fmla="*/ 525 h 121"/>
                <a:gd name="T12" fmla="*/ 51524 w 193"/>
                <a:gd name="T13" fmla="*/ 1574 h 121"/>
                <a:gd name="T14" fmla="*/ 58186 w 193"/>
                <a:gd name="T15" fmla="*/ 5248 h 121"/>
                <a:gd name="T16" fmla="*/ 65737 w 193"/>
                <a:gd name="T17" fmla="*/ 11021 h 121"/>
                <a:gd name="T18" fmla="*/ 71956 w 193"/>
                <a:gd name="T19" fmla="*/ 14694 h 121"/>
                <a:gd name="T20" fmla="*/ 76842 w 193"/>
                <a:gd name="T21" fmla="*/ 15744 h 121"/>
                <a:gd name="T22" fmla="*/ 79507 w 193"/>
                <a:gd name="T23" fmla="*/ 25190 h 121"/>
                <a:gd name="T24" fmla="*/ 79062 w 193"/>
                <a:gd name="T25" fmla="*/ 34636 h 121"/>
                <a:gd name="T26" fmla="*/ 80839 w 193"/>
                <a:gd name="T27" fmla="*/ 39360 h 121"/>
                <a:gd name="T28" fmla="*/ 83060 w 193"/>
                <a:gd name="T29" fmla="*/ 46707 h 121"/>
                <a:gd name="T30" fmla="*/ 83504 w 193"/>
                <a:gd name="T31" fmla="*/ 53529 h 121"/>
                <a:gd name="T32" fmla="*/ 84837 w 193"/>
                <a:gd name="T33" fmla="*/ 57202 h 121"/>
                <a:gd name="T34" fmla="*/ 83504 w 193"/>
                <a:gd name="T35" fmla="*/ 59826 h 121"/>
                <a:gd name="T36" fmla="*/ 78618 w 193"/>
                <a:gd name="T37" fmla="*/ 61926 h 121"/>
                <a:gd name="T38" fmla="*/ 70623 w 193"/>
                <a:gd name="T39" fmla="*/ 63500 h 121"/>
                <a:gd name="T40" fmla="*/ 51524 w 193"/>
                <a:gd name="T41" fmla="*/ 62450 h 121"/>
                <a:gd name="T42" fmla="*/ 31980 w 193"/>
                <a:gd name="T43" fmla="*/ 60876 h 121"/>
                <a:gd name="T44" fmla="*/ 27983 w 193"/>
                <a:gd name="T45" fmla="*/ 57727 h 121"/>
                <a:gd name="T46" fmla="*/ 24874 w 193"/>
                <a:gd name="T47" fmla="*/ 52479 h 121"/>
                <a:gd name="T48" fmla="*/ 23985 w 193"/>
                <a:gd name="T49" fmla="*/ 45657 h 121"/>
                <a:gd name="T50" fmla="*/ 20876 w 193"/>
                <a:gd name="T51" fmla="*/ 41459 h 121"/>
                <a:gd name="T52" fmla="*/ 13769 w 193"/>
                <a:gd name="T53" fmla="*/ 39360 h 121"/>
                <a:gd name="T54" fmla="*/ 5774 w 193"/>
                <a:gd name="T55" fmla="*/ 36211 h 121"/>
                <a:gd name="T56" fmla="*/ 1333 w 193"/>
                <a:gd name="T57" fmla="*/ 32537 h 121"/>
                <a:gd name="T58" fmla="*/ 0 w 193"/>
                <a:gd name="T59" fmla="*/ 30438 h 121"/>
                <a:gd name="T60" fmla="*/ 444 w 193"/>
                <a:gd name="T61" fmla="*/ 26764 h 121"/>
                <a:gd name="T62" fmla="*/ 3109 w 193"/>
                <a:gd name="T63" fmla="*/ 23616 h 121"/>
                <a:gd name="T64" fmla="*/ 8883 w 193"/>
                <a:gd name="T65" fmla="*/ 19942 h 12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43" name="Freeform 338">
              <a:extLst>
                <a:ext uri="{FF2B5EF4-FFF2-40B4-BE49-F238E27FC236}">
                  <a16:creationId xmlns:a16="http://schemas.microsoft.com/office/drawing/2014/main" xmlns="" id="{23B68F1D-F85E-8D95-DC61-00F959F6E060}"/>
                </a:ext>
              </a:extLst>
            </p:cNvPr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6595266" y="2457992"/>
              <a:ext cx="144204" cy="168499"/>
            </a:xfrm>
            <a:custGeom>
              <a:avLst/>
              <a:gdLst>
                <a:gd name="T0" fmla="*/ 16273 w 379"/>
                <a:gd name="T1" fmla="*/ 220707 h 437"/>
                <a:gd name="T2" fmla="*/ 20231 w 379"/>
                <a:gd name="T3" fmla="*/ 214386 h 437"/>
                <a:gd name="T4" fmla="*/ 10555 w 379"/>
                <a:gd name="T5" fmla="*/ 163818 h 437"/>
                <a:gd name="T6" fmla="*/ 880 w 379"/>
                <a:gd name="T7" fmla="*/ 154863 h 437"/>
                <a:gd name="T8" fmla="*/ 6597 w 379"/>
                <a:gd name="T9" fmla="*/ 142221 h 437"/>
                <a:gd name="T10" fmla="*/ 13634 w 379"/>
                <a:gd name="T11" fmla="*/ 116411 h 437"/>
                <a:gd name="T12" fmla="*/ 17152 w 379"/>
                <a:gd name="T13" fmla="*/ 90600 h 437"/>
                <a:gd name="T14" fmla="*/ 25069 w 379"/>
                <a:gd name="T15" fmla="*/ 83753 h 437"/>
                <a:gd name="T16" fmla="*/ 28587 w 379"/>
                <a:gd name="T17" fmla="*/ 68477 h 437"/>
                <a:gd name="T18" fmla="*/ 33425 w 379"/>
                <a:gd name="T19" fmla="*/ 41086 h 437"/>
                <a:gd name="T20" fmla="*/ 39583 w 379"/>
                <a:gd name="T21" fmla="*/ 26864 h 437"/>
                <a:gd name="T22" fmla="*/ 50578 w 379"/>
                <a:gd name="T23" fmla="*/ 16329 h 437"/>
                <a:gd name="T24" fmla="*/ 67291 w 379"/>
                <a:gd name="T25" fmla="*/ 13169 h 437"/>
                <a:gd name="T26" fmla="*/ 95438 w 379"/>
                <a:gd name="T27" fmla="*/ 20016 h 437"/>
                <a:gd name="T28" fmla="*/ 115230 w 379"/>
                <a:gd name="T29" fmla="*/ 25284 h 437"/>
                <a:gd name="T30" fmla="*/ 133262 w 379"/>
                <a:gd name="T31" fmla="*/ 23704 h 437"/>
                <a:gd name="T32" fmla="*/ 144697 w 379"/>
                <a:gd name="T33" fmla="*/ 16329 h 437"/>
                <a:gd name="T34" fmla="*/ 156571 w 379"/>
                <a:gd name="T35" fmla="*/ 3687 h 437"/>
                <a:gd name="T36" fmla="*/ 164488 w 379"/>
                <a:gd name="T37" fmla="*/ 4741 h 437"/>
                <a:gd name="T38" fmla="*/ 163608 w 379"/>
                <a:gd name="T39" fmla="*/ 18436 h 437"/>
                <a:gd name="T40" fmla="*/ 144697 w 379"/>
                <a:gd name="T41" fmla="*/ 42140 h 437"/>
                <a:gd name="T42" fmla="*/ 128424 w 379"/>
                <a:gd name="T43" fmla="*/ 51094 h 437"/>
                <a:gd name="T44" fmla="*/ 119188 w 379"/>
                <a:gd name="T45" fmla="*/ 49514 h 437"/>
                <a:gd name="T46" fmla="*/ 104674 w 379"/>
                <a:gd name="T47" fmla="*/ 36345 h 437"/>
                <a:gd name="T48" fmla="*/ 93239 w 379"/>
                <a:gd name="T49" fmla="*/ 29498 h 437"/>
                <a:gd name="T50" fmla="*/ 77846 w 379"/>
                <a:gd name="T51" fmla="*/ 29498 h 437"/>
                <a:gd name="T52" fmla="*/ 60693 w 379"/>
                <a:gd name="T53" fmla="*/ 32132 h 437"/>
                <a:gd name="T54" fmla="*/ 50138 w 379"/>
                <a:gd name="T55" fmla="*/ 41613 h 437"/>
                <a:gd name="T56" fmla="*/ 34745 w 379"/>
                <a:gd name="T57" fmla="*/ 84806 h 437"/>
                <a:gd name="T58" fmla="*/ 52337 w 379"/>
                <a:gd name="T59" fmla="*/ 89020 h 437"/>
                <a:gd name="T60" fmla="*/ 58494 w 379"/>
                <a:gd name="T61" fmla="*/ 100608 h 437"/>
                <a:gd name="T62" fmla="*/ 68170 w 379"/>
                <a:gd name="T63" fmla="*/ 88493 h 437"/>
                <a:gd name="T64" fmla="*/ 75647 w 379"/>
                <a:gd name="T65" fmla="*/ 80592 h 437"/>
                <a:gd name="T66" fmla="*/ 97197 w 379"/>
                <a:gd name="T67" fmla="*/ 79012 h 437"/>
                <a:gd name="T68" fmla="*/ 109952 w 379"/>
                <a:gd name="T69" fmla="*/ 77432 h 437"/>
                <a:gd name="T70" fmla="*/ 120067 w 379"/>
                <a:gd name="T71" fmla="*/ 91127 h 437"/>
                <a:gd name="T72" fmla="*/ 122706 w 379"/>
                <a:gd name="T73" fmla="*/ 106929 h 437"/>
                <a:gd name="T74" fmla="*/ 108193 w 379"/>
                <a:gd name="T75" fmla="*/ 101135 h 437"/>
                <a:gd name="T76" fmla="*/ 95878 w 379"/>
                <a:gd name="T77" fmla="*/ 97448 h 437"/>
                <a:gd name="T78" fmla="*/ 84443 w 379"/>
                <a:gd name="T79" fmla="*/ 102715 h 437"/>
                <a:gd name="T80" fmla="*/ 81804 w 379"/>
                <a:gd name="T81" fmla="*/ 110090 h 437"/>
                <a:gd name="T82" fmla="*/ 84443 w 379"/>
                <a:gd name="T83" fmla="*/ 122732 h 437"/>
                <a:gd name="T84" fmla="*/ 96758 w 379"/>
                <a:gd name="T85" fmla="*/ 143275 h 437"/>
                <a:gd name="T86" fmla="*/ 98957 w 379"/>
                <a:gd name="T87" fmla="*/ 155917 h 437"/>
                <a:gd name="T88" fmla="*/ 94559 w 379"/>
                <a:gd name="T89" fmla="*/ 169612 h 437"/>
                <a:gd name="T90" fmla="*/ 90161 w 379"/>
                <a:gd name="T91" fmla="*/ 181727 h 437"/>
                <a:gd name="T92" fmla="*/ 92360 w 379"/>
                <a:gd name="T93" fmla="*/ 187522 h 437"/>
                <a:gd name="T94" fmla="*/ 103795 w 379"/>
                <a:gd name="T95" fmla="*/ 193843 h 437"/>
                <a:gd name="T96" fmla="*/ 110831 w 379"/>
                <a:gd name="T97" fmla="*/ 210698 h 437"/>
                <a:gd name="T98" fmla="*/ 105114 w 379"/>
                <a:gd name="T99" fmla="*/ 225974 h 437"/>
                <a:gd name="T100" fmla="*/ 97197 w 379"/>
                <a:gd name="T101" fmla="*/ 221760 h 437"/>
                <a:gd name="T102" fmla="*/ 88841 w 379"/>
                <a:gd name="T103" fmla="*/ 219653 h 437"/>
                <a:gd name="T104" fmla="*/ 77846 w 379"/>
                <a:gd name="T105" fmla="*/ 210698 h 437"/>
                <a:gd name="T106" fmla="*/ 67291 w 379"/>
                <a:gd name="T107" fmla="*/ 187522 h 437"/>
                <a:gd name="T108" fmla="*/ 60254 w 379"/>
                <a:gd name="T109" fmla="*/ 160131 h 437"/>
                <a:gd name="T110" fmla="*/ 50138 w 379"/>
                <a:gd name="T111" fmla="*/ 138534 h 437"/>
                <a:gd name="T112" fmla="*/ 42661 w 379"/>
                <a:gd name="T113" fmla="*/ 136427 h 437"/>
                <a:gd name="T114" fmla="*/ 46180 w 379"/>
                <a:gd name="T115" fmla="*/ 200690 h 437"/>
                <a:gd name="T116" fmla="*/ 40902 w 379"/>
                <a:gd name="T117" fmla="*/ 212805 h 437"/>
                <a:gd name="T118" fmla="*/ 25069 w 379"/>
                <a:gd name="T119" fmla="*/ 224394 h 437"/>
                <a:gd name="T120" fmla="*/ 25949 w 379"/>
                <a:gd name="T121" fmla="*/ 230188 h 43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44" name="Freeform 339">
              <a:extLst>
                <a:ext uri="{FF2B5EF4-FFF2-40B4-BE49-F238E27FC236}">
                  <a16:creationId xmlns:a16="http://schemas.microsoft.com/office/drawing/2014/main" xmlns="" id="{DA24450E-1BDD-A4AC-CF01-CE4F5ECCA3B0}"/>
                </a:ext>
              </a:extLst>
            </p:cNvPr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6305483" y="2634625"/>
              <a:ext cx="216993" cy="69724"/>
            </a:xfrm>
            <a:custGeom>
              <a:avLst/>
              <a:gdLst>
                <a:gd name="T0" fmla="*/ 4773 w 578"/>
                <a:gd name="T1" fmla="*/ 25883 h 184"/>
                <a:gd name="T2" fmla="*/ 10415 w 578"/>
                <a:gd name="T3" fmla="*/ 16565 h 184"/>
                <a:gd name="T4" fmla="*/ 17792 w 578"/>
                <a:gd name="T5" fmla="*/ 3624 h 184"/>
                <a:gd name="T6" fmla="*/ 23433 w 578"/>
                <a:gd name="T7" fmla="*/ 0 h 184"/>
                <a:gd name="T8" fmla="*/ 34282 w 578"/>
                <a:gd name="T9" fmla="*/ 1035 h 184"/>
                <a:gd name="T10" fmla="*/ 41226 w 578"/>
                <a:gd name="T11" fmla="*/ 1035 h 184"/>
                <a:gd name="T12" fmla="*/ 43829 w 578"/>
                <a:gd name="T13" fmla="*/ 2588 h 184"/>
                <a:gd name="T14" fmla="*/ 49905 w 578"/>
                <a:gd name="T15" fmla="*/ 7765 h 184"/>
                <a:gd name="T16" fmla="*/ 63791 w 578"/>
                <a:gd name="T17" fmla="*/ 13977 h 184"/>
                <a:gd name="T18" fmla="*/ 72904 w 578"/>
                <a:gd name="T19" fmla="*/ 19154 h 184"/>
                <a:gd name="T20" fmla="*/ 77244 w 578"/>
                <a:gd name="T21" fmla="*/ 27436 h 184"/>
                <a:gd name="T22" fmla="*/ 83319 w 578"/>
                <a:gd name="T23" fmla="*/ 31577 h 184"/>
                <a:gd name="T24" fmla="*/ 100243 w 578"/>
                <a:gd name="T25" fmla="*/ 31060 h 184"/>
                <a:gd name="T26" fmla="*/ 120205 w 578"/>
                <a:gd name="T27" fmla="*/ 26401 h 184"/>
                <a:gd name="T28" fmla="*/ 129752 w 578"/>
                <a:gd name="T29" fmla="*/ 20189 h 184"/>
                <a:gd name="T30" fmla="*/ 136261 w 578"/>
                <a:gd name="T31" fmla="*/ 17601 h 184"/>
                <a:gd name="T32" fmla="*/ 141903 w 578"/>
                <a:gd name="T33" fmla="*/ 18118 h 184"/>
                <a:gd name="T34" fmla="*/ 147110 w 578"/>
                <a:gd name="T35" fmla="*/ 16048 h 184"/>
                <a:gd name="T36" fmla="*/ 158827 w 578"/>
                <a:gd name="T37" fmla="*/ 17601 h 184"/>
                <a:gd name="T38" fmla="*/ 173147 w 578"/>
                <a:gd name="T39" fmla="*/ 30542 h 184"/>
                <a:gd name="T40" fmla="*/ 185732 w 578"/>
                <a:gd name="T41" fmla="*/ 46072 h 184"/>
                <a:gd name="T42" fmla="*/ 197883 w 578"/>
                <a:gd name="T43" fmla="*/ 54355 h 184"/>
                <a:gd name="T44" fmla="*/ 207864 w 578"/>
                <a:gd name="T45" fmla="*/ 55390 h 184"/>
                <a:gd name="T46" fmla="*/ 213939 w 578"/>
                <a:gd name="T47" fmla="*/ 55908 h 184"/>
                <a:gd name="T48" fmla="*/ 219146 w 578"/>
                <a:gd name="T49" fmla="*/ 64708 h 184"/>
                <a:gd name="T50" fmla="*/ 226524 w 578"/>
                <a:gd name="T51" fmla="*/ 72473 h 184"/>
                <a:gd name="T52" fmla="*/ 231731 w 578"/>
                <a:gd name="T53" fmla="*/ 71955 h 184"/>
                <a:gd name="T54" fmla="*/ 236938 w 578"/>
                <a:gd name="T55" fmla="*/ 66261 h 184"/>
                <a:gd name="T56" fmla="*/ 242146 w 578"/>
                <a:gd name="T57" fmla="*/ 69367 h 184"/>
                <a:gd name="T58" fmla="*/ 247787 w 578"/>
                <a:gd name="T59" fmla="*/ 75061 h 184"/>
                <a:gd name="T60" fmla="*/ 250825 w 578"/>
                <a:gd name="T61" fmla="*/ 82826 h 184"/>
                <a:gd name="T62" fmla="*/ 249523 w 578"/>
                <a:gd name="T63" fmla="*/ 89556 h 184"/>
                <a:gd name="T64" fmla="*/ 246052 w 578"/>
                <a:gd name="T65" fmla="*/ 94215 h 184"/>
                <a:gd name="T66" fmla="*/ 239108 w 578"/>
                <a:gd name="T67" fmla="*/ 92144 h 184"/>
                <a:gd name="T68" fmla="*/ 228259 w 578"/>
                <a:gd name="T69" fmla="*/ 88003 h 184"/>
                <a:gd name="T70" fmla="*/ 213071 w 578"/>
                <a:gd name="T71" fmla="*/ 89038 h 184"/>
                <a:gd name="T72" fmla="*/ 200486 w 578"/>
                <a:gd name="T73" fmla="*/ 88003 h 184"/>
                <a:gd name="T74" fmla="*/ 195713 w 578"/>
                <a:gd name="T75" fmla="*/ 82826 h 184"/>
                <a:gd name="T76" fmla="*/ 190072 w 578"/>
                <a:gd name="T77" fmla="*/ 79720 h 184"/>
                <a:gd name="T78" fmla="*/ 184864 w 578"/>
                <a:gd name="T79" fmla="*/ 82826 h 184"/>
                <a:gd name="T80" fmla="*/ 180525 w 578"/>
                <a:gd name="T81" fmla="*/ 88003 h 184"/>
                <a:gd name="T82" fmla="*/ 172713 w 578"/>
                <a:gd name="T83" fmla="*/ 88520 h 184"/>
                <a:gd name="T84" fmla="*/ 142337 w 578"/>
                <a:gd name="T85" fmla="*/ 79202 h 184"/>
                <a:gd name="T86" fmla="*/ 120205 w 578"/>
                <a:gd name="T87" fmla="*/ 68332 h 184"/>
                <a:gd name="T88" fmla="*/ 115432 w 578"/>
                <a:gd name="T89" fmla="*/ 63673 h 184"/>
                <a:gd name="T90" fmla="*/ 99809 w 578"/>
                <a:gd name="T91" fmla="*/ 61602 h 184"/>
                <a:gd name="T92" fmla="*/ 87225 w 578"/>
                <a:gd name="T93" fmla="*/ 58496 h 184"/>
                <a:gd name="T94" fmla="*/ 72904 w 578"/>
                <a:gd name="T95" fmla="*/ 57461 h 184"/>
                <a:gd name="T96" fmla="*/ 63357 w 578"/>
                <a:gd name="T97" fmla="*/ 57461 h 184"/>
                <a:gd name="T98" fmla="*/ 53810 w 578"/>
                <a:gd name="T99" fmla="*/ 54355 h 184"/>
                <a:gd name="T100" fmla="*/ 52074 w 578"/>
                <a:gd name="T101" fmla="*/ 51249 h 184"/>
                <a:gd name="T102" fmla="*/ 29943 w 578"/>
                <a:gd name="T103" fmla="*/ 50213 h 184"/>
                <a:gd name="T104" fmla="*/ 19962 w 578"/>
                <a:gd name="T105" fmla="*/ 45554 h 184"/>
                <a:gd name="T106" fmla="*/ 0 w 578"/>
                <a:gd name="T107" fmla="*/ 28471 h 18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45" name="Freeform 340">
              <a:extLst>
                <a:ext uri="{FF2B5EF4-FFF2-40B4-BE49-F238E27FC236}">
                  <a16:creationId xmlns:a16="http://schemas.microsoft.com/office/drawing/2014/main" xmlns="" id="{C9DD18D8-5F87-A831-B0C4-59F9CCAB59DE}"/>
                </a:ext>
              </a:extLst>
            </p:cNvPr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6894661" y="2530040"/>
              <a:ext cx="185405" cy="184768"/>
            </a:xfrm>
            <a:custGeom>
              <a:avLst/>
              <a:gdLst>
                <a:gd name="T0" fmla="*/ 210384 w 491"/>
                <a:gd name="T1" fmla="*/ 251363 h 481"/>
                <a:gd name="T2" fmla="*/ 199472 w 491"/>
                <a:gd name="T3" fmla="*/ 244017 h 481"/>
                <a:gd name="T4" fmla="*/ 184195 w 491"/>
                <a:gd name="T5" fmla="*/ 227749 h 481"/>
                <a:gd name="T6" fmla="*/ 179830 w 491"/>
                <a:gd name="T7" fmla="*/ 218828 h 481"/>
                <a:gd name="T8" fmla="*/ 164117 w 491"/>
                <a:gd name="T9" fmla="*/ 215155 h 481"/>
                <a:gd name="T10" fmla="*/ 157133 w 491"/>
                <a:gd name="T11" fmla="*/ 213055 h 481"/>
                <a:gd name="T12" fmla="*/ 152768 w 491"/>
                <a:gd name="T13" fmla="*/ 207808 h 481"/>
                <a:gd name="T14" fmla="*/ 151022 w 491"/>
                <a:gd name="T15" fmla="*/ 196263 h 481"/>
                <a:gd name="T16" fmla="*/ 149276 w 491"/>
                <a:gd name="T17" fmla="*/ 174223 h 481"/>
                <a:gd name="T18" fmla="*/ 142729 w 491"/>
                <a:gd name="T19" fmla="*/ 159004 h 481"/>
                <a:gd name="T20" fmla="*/ 139237 w 491"/>
                <a:gd name="T21" fmla="*/ 145361 h 481"/>
                <a:gd name="T22" fmla="*/ 137055 w 491"/>
                <a:gd name="T23" fmla="*/ 128043 h 481"/>
                <a:gd name="T24" fmla="*/ 127452 w 491"/>
                <a:gd name="T25" fmla="*/ 117023 h 481"/>
                <a:gd name="T26" fmla="*/ 113485 w 491"/>
                <a:gd name="T27" fmla="*/ 107577 h 481"/>
                <a:gd name="T28" fmla="*/ 96462 w 491"/>
                <a:gd name="T29" fmla="*/ 99706 h 481"/>
                <a:gd name="T30" fmla="*/ 77694 w 491"/>
                <a:gd name="T31" fmla="*/ 94983 h 481"/>
                <a:gd name="T32" fmla="*/ 58052 w 491"/>
                <a:gd name="T33" fmla="*/ 93409 h 481"/>
                <a:gd name="T34" fmla="*/ 58052 w 491"/>
                <a:gd name="T35" fmla="*/ 81864 h 481"/>
                <a:gd name="T36" fmla="*/ 48013 w 491"/>
                <a:gd name="T37" fmla="*/ 76091 h 481"/>
                <a:gd name="T38" fmla="*/ 37101 w 491"/>
                <a:gd name="T39" fmla="*/ 68220 h 481"/>
                <a:gd name="T40" fmla="*/ 28808 w 491"/>
                <a:gd name="T41" fmla="*/ 58249 h 481"/>
                <a:gd name="T42" fmla="*/ 31863 w 491"/>
                <a:gd name="T43" fmla="*/ 69794 h 481"/>
                <a:gd name="T44" fmla="*/ 23570 w 491"/>
                <a:gd name="T45" fmla="*/ 77141 h 481"/>
                <a:gd name="T46" fmla="*/ 17459 w 491"/>
                <a:gd name="T47" fmla="*/ 93409 h 481"/>
                <a:gd name="T48" fmla="*/ 10476 w 491"/>
                <a:gd name="T49" fmla="*/ 115449 h 481"/>
                <a:gd name="T50" fmla="*/ 5674 w 491"/>
                <a:gd name="T51" fmla="*/ 139063 h 481"/>
                <a:gd name="T52" fmla="*/ 6111 w 491"/>
                <a:gd name="T53" fmla="*/ 124370 h 481"/>
                <a:gd name="T54" fmla="*/ 10039 w 491"/>
                <a:gd name="T55" fmla="*/ 109676 h 481"/>
                <a:gd name="T56" fmla="*/ 13967 w 491"/>
                <a:gd name="T57" fmla="*/ 94983 h 481"/>
                <a:gd name="T58" fmla="*/ 13094 w 491"/>
                <a:gd name="T59" fmla="*/ 75042 h 481"/>
                <a:gd name="T60" fmla="*/ 7420 w 491"/>
                <a:gd name="T61" fmla="*/ 58249 h 481"/>
                <a:gd name="T62" fmla="*/ 0 w 491"/>
                <a:gd name="T63" fmla="*/ 38308 h 481"/>
                <a:gd name="T64" fmla="*/ 14840 w 491"/>
                <a:gd name="T65" fmla="*/ 30961 h 481"/>
                <a:gd name="T66" fmla="*/ 25752 w 491"/>
                <a:gd name="T67" fmla="*/ 28862 h 481"/>
                <a:gd name="T68" fmla="*/ 36664 w 491"/>
                <a:gd name="T69" fmla="*/ 30436 h 481"/>
                <a:gd name="T70" fmla="*/ 44521 w 491"/>
                <a:gd name="T71" fmla="*/ 34635 h 481"/>
                <a:gd name="T72" fmla="*/ 52814 w 491"/>
                <a:gd name="T73" fmla="*/ 43031 h 481"/>
                <a:gd name="T74" fmla="*/ 61107 w 491"/>
                <a:gd name="T75" fmla="*/ 58249 h 481"/>
                <a:gd name="T76" fmla="*/ 79876 w 491"/>
                <a:gd name="T77" fmla="*/ 54051 h 481"/>
                <a:gd name="T78" fmla="*/ 85550 w 491"/>
                <a:gd name="T79" fmla="*/ 50378 h 481"/>
                <a:gd name="T80" fmla="*/ 87296 w 491"/>
                <a:gd name="T81" fmla="*/ 47229 h 481"/>
                <a:gd name="T82" fmla="*/ 90351 w 491"/>
                <a:gd name="T83" fmla="*/ 38308 h 481"/>
                <a:gd name="T84" fmla="*/ 101264 w 491"/>
                <a:gd name="T85" fmla="*/ 28337 h 481"/>
                <a:gd name="T86" fmla="*/ 110866 w 491"/>
                <a:gd name="T87" fmla="*/ 25714 h 481"/>
                <a:gd name="T88" fmla="*/ 114794 w 491"/>
                <a:gd name="T89" fmla="*/ 15743 h 481"/>
                <a:gd name="T90" fmla="*/ 122215 w 491"/>
                <a:gd name="T91" fmla="*/ 4723 h 481"/>
                <a:gd name="T92" fmla="*/ 130944 w 491"/>
                <a:gd name="T93" fmla="*/ 525 h 481"/>
                <a:gd name="T94" fmla="*/ 140983 w 491"/>
                <a:gd name="T95" fmla="*/ 0 h 481"/>
                <a:gd name="T96" fmla="*/ 153205 w 491"/>
                <a:gd name="T97" fmla="*/ 4198 h 481"/>
                <a:gd name="T98" fmla="*/ 174156 w 491"/>
                <a:gd name="T99" fmla="*/ 19941 h 481"/>
                <a:gd name="T100" fmla="*/ 186814 w 491"/>
                <a:gd name="T101" fmla="*/ 27813 h 481"/>
                <a:gd name="T102" fmla="*/ 200345 w 491"/>
                <a:gd name="T103" fmla="*/ 31486 h 481"/>
                <a:gd name="T104" fmla="*/ 214312 w 491"/>
                <a:gd name="T105" fmla="*/ 35159 h 481"/>
                <a:gd name="T106" fmla="*/ 214312 w 491"/>
                <a:gd name="T107" fmla="*/ 171074 h 48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46" name="Freeform 341">
              <a:extLst>
                <a:ext uri="{FF2B5EF4-FFF2-40B4-BE49-F238E27FC236}">
                  <a16:creationId xmlns:a16="http://schemas.microsoft.com/office/drawing/2014/main" xmlns="" id="{93D0BE3A-6DA2-CA2C-0270-A2161CCD6555}"/>
                </a:ext>
              </a:extLst>
            </p:cNvPr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5624289" y="1674766"/>
              <a:ext cx="46695" cy="44158"/>
            </a:xfrm>
            <a:custGeom>
              <a:avLst/>
              <a:gdLst>
                <a:gd name="T0" fmla="*/ 0 w 133"/>
                <a:gd name="T1" fmla="*/ 9796 h 117"/>
                <a:gd name="T2" fmla="*/ 29220 w 133"/>
                <a:gd name="T3" fmla="*/ 0 h 117"/>
                <a:gd name="T4" fmla="*/ 32872 w 133"/>
                <a:gd name="T5" fmla="*/ 3094 h 117"/>
                <a:gd name="T6" fmla="*/ 36930 w 133"/>
                <a:gd name="T7" fmla="*/ 7218 h 117"/>
                <a:gd name="T8" fmla="*/ 40989 w 133"/>
                <a:gd name="T9" fmla="*/ 12890 h 117"/>
                <a:gd name="T10" fmla="*/ 44235 w 133"/>
                <a:gd name="T11" fmla="*/ 19077 h 117"/>
                <a:gd name="T12" fmla="*/ 47888 w 133"/>
                <a:gd name="T13" fmla="*/ 25264 h 117"/>
                <a:gd name="T14" fmla="*/ 51134 w 133"/>
                <a:gd name="T15" fmla="*/ 31967 h 117"/>
                <a:gd name="T16" fmla="*/ 51946 w 133"/>
                <a:gd name="T17" fmla="*/ 35061 h 117"/>
                <a:gd name="T18" fmla="*/ 52758 w 133"/>
                <a:gd name="T19" fmla="*/ 38154 h 117"/>
                <a:gd name="T20" fmla="*/ 53163 w 133"/>
                <a:gd name="T21" fmla="*/ 41248 h 117"/>
                <a:gd name="T22" fmla="*/ 53975 w 133"/>
                <a:gd name="T23" fmla="*/ 44341 h 117"/>
                <a:gd name="T24" fmla="*/ 53163 w 133"/>
                <a:gd name="T25" fmla="*/ 47435 h 117"/>
                <a:gd name="T26" fmla="*/ 51946 w 133"/>
                <a:gd name="T27" fmla="*/ 50013 h 117"/>
                <a:gd name="T28" fmla="*/ 50323 w 133"/>
                <a:gd name="T29" fmla="*/ 52591 h 117"/>
                <a:gd name="T30" fmla="*/ 47888 w 133"/>
                <a:gd name="T31" fmla="*/ 55169 h 117"/>
                <a:gd name="T32" fmla="*/ 45858 w 133"/>
                <a:gd name="T33" fmla="*/ 57231 h 117"/>
                <a:gd name="T34" fmla="*/ 43423 w 133"/>
                <a:gd name="T35" fmla="*/ 58778 h 117"/>
                <a:gd name="T36" fmla="*/ 41800 w 133"/>
                <a:gd name="T37" fmla="*/ 60325 h 117"/>
                <a:gd name="T38" fmla="*/ 40583 w 133"/>
                <a:gd name="T39" fmla="*/ 60325 h 117"/>
                <a:gd name="T40" fmla="*/ 29220 w 133"/>
                <a:gd name="T41" fmla="*/ 48982 h 117"/>
                <a:gd name="T42" fmla="*/ 18262 w 133"/>
                <a:gd name="T43" fmla="*/ 36092 h 117"/>
                <a:gd name="T44" fmla="*/ 12986 w 133"/>
                <a:gd name="T45" fmla="*/ 29905 h 117"/>
                <a:gd name="T46" fmla="*/ 7305 w 133"/>
                <a:gd name="T47" fmla="*/ 23718 h 117"/>
                <a:gd name="T48" fmla="*/ 3247 w 133"/>
                <a:gd name="T49" fmla="*/ 17015 h 117"/>
                <a:gd name="T50" fmla="*/ 0 w 133"/>
                <a:gd name="T51" fmla="*/ 9796 h 11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47" name="Freeform 342">
              <a:extLst>
                <a:ext uri="{FF2B5EF4-FFF2-40B4-BE49-F238E27FC236}">
                  <a16:creationId xmlns:a16="http://schemas.microsoft.com/office/drawing/2014/main" xmlns="" id="{B18A2DCE-8A0F-FF04-18C7-7B643136E228}"/>
                </a:ext>
              </a:extLst>
            </p:cNvPr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4289369" y="1238995"/>
              <a:ext cx="190900" cy="130150"/>
            </a:xfrm>
            <a:custGeom>
              <a:avLst/>
              <a:gdLst>
                <a:gd name="T0" fmla="*/ 118852 w 505"/>
                <a:gd name="T1" fmla="*/ 18881 h 339"/>
                <a:gd name="T2" fmla="*/ 211487 w 505"/>
                <a:gd name="T3" fmla="*/ 45106 h 339"/>
                <a:gd name="T4" fmla="*/ 208865 w 505"/>
                <a:gd name="T5" fmla="*/ 57169 h 339"/>
                <a:gd name="T6" fmla="*/ 205806 w 505"/>
                <a:gd name="T7" fmla="*/ 67658 h 339"/>
                <a:gd name="T8" fmla="*/ 201437 w 505"/>
                <a:gd name="T9" fmla="*/ 76050 h 339"/>
                <a:gd name="T10" fmla="*/ 197067 w 505"/>
                <a:gd name="T11" fmla="*/ 80246 h 339"/>
                <a:gd name="T12" fmla="*/ 201437 w 505"/>
                <a:gd name="T13" fmla="*/ 96505 h 339"/>
                <a:gd name="T14" fmla="*/ 208428 w 505"/>
                <a:gd name="T15" fmla="*/ 112764 h 339"/>
                <a:gd name="T16" fmla="*/ 220663 w 505"/>
                <a:gd name="T17" fmla="*/ 135317 h 339"/>
                <a:gd name="T18" fmla="*/ 215420 w 505"/>
                <a:gd name="T19" fmla="*/ 142135 h 339"/>
                <a:gd name="T20" fmla="*/ 209302 w 505"/>
                <a:gd name="T21" fmla="*/ 153149 h 339"/>
                <a:gd name="T22" fmla="*/ 204496 w 505"/>
                <a:gd name="T23" fmla="*/ 164688 h 339"/>
                <a:gd name="T24" fmla="*/ 202748 w 505"/>
                <a:gd name="T25" fmla="*/ 177800 h 339"/>
                <a:gd name="T26" fmla="*/ 193572 w 505"/>
                <a:gd name="T27" fmla="*/ 177276 h 339"/>
                <a:gd name="T28" fmla="*/ 180900 w 505"/>
                <a:gd name="T29" fmla="*/ 175702 h 339"/>
                <a:gd name="T30" fmla="*/ 168228 w 505"/>
                <a:gd name="T31" fmla="*/ 173604 h 339"/>
                <a:gd name="T32" fmla="*/ 156430 w 505"/>
                <a:gd name="T33" fmla="*/ 170982 h 339"/>
                <a:gd name="T34" fmla="*/ 132835 w 505"/>
                <a:gd name="T35" fmla="*/ 170457 h 339"/>
                <a:gd name="T36" fmla="*/ 115356 w 505"/>
                <a:gd name="T37" fmla="*/ 168359 h 339"/>
                <a:gd name="T38" fmla="*/ 108365 w 505"/>
                <a:gd name="T39" fmla="*/ 166261 h 339"/>
                <a:gd name="T40" fmla="*/ 101374 w 505"/>
                <a:gd name="T41" fmla="*/ 162590 h 339"/>
                <a:gd name="T42" fmla="*/ 93072 w 505"/>
                <a:gd name="T43" fmla="*/ 157345 h 339"/>
                <a:gd name="T44" fmla="*/ 78652 w 505"/>
                <a:gd name="T45" fmla="*/ 151576 h 339"/>
                <a:gd name="T46" fmla="*/ 63796 w 505"/>
                <a:gd name="T47" fmla="*/ 143184 h 339"/>
                <a:gd name="T48" fmla="*/ 42822 w 505"/>
                <a:gd name="T49" fmla="*/ 130596 h 339"/>
                <a:gd name="T50" fmla="*/ 27091 w 505"/>
                <a:gd name="T51" fmla="*/ 108044 h 339"/>
                <a:gd name="T52" fmla="*/ 22722 w 505"/>
                <a:gd name="T53" fmla="*/ 88638 h 339"/>
                <a:gd name="T54" fmla="*/ 15730 w 505"/>
                <a:gd name="T55" fmla="*/ 65036 h 339"/>
                <a:gd name="T56" fmla="*/ 6554 w 505"/>
                <a:gd name="T57" fmla="*/ 43532 h 339"/>
                <a:gd name="T58" fmla="*/ 874 w 505"/>
                <a:gd name="T59" fmla="*/ 33567 h 339"/>
                <a:gd name="T60" fmla="*/ 2185 w 505"/>
                <a:gd name="T61" fmla="*/ 31994 h 339"/>
                <a:gd name="T62" fmla="*/ 4807 w 505"/>
                <a:gd name="T63" fmla="*/ 29371 h 339"/>
                <a:gd name="T64" fmla="*/ 4807 w 505"/>
                <a:gd name="T65" fmla="*/ 25175 h 339"/>
                <a:gd name="T66" fmla="*/ 4807 w 505"/>
                <a:gd name="T67" fmla="*/ 22553 h 339"/>
                <a:gd name="T68" fmla="*/ 14857 w 505"/>
                <a:gd name="T69" fmla="*/ 17832 h 339"/>
                <a:gd name="T70" fmla="*/ 31898 w 505"/>
                <a:gd name="T71" fmla="*/ 11539 h 339"/>
                <a:gd name="T72" fmla="*/ 55930 w 505"/>
                <a:gd name="T73" fmla="*/ 4196 h 339"/>
                <a:gd name="T74" fmla="*/ 75593 w 505"/>
                <a:gd name="T75" fmla="*/ 5769 h 339"/>
                <a:gd name="T76" fmla="*/ 82148 w 505"/>
                <a:gd name="T77" fmla="*/ 14686 h 339"/>
                <a:gd name="T78" fmla="*/ 87828 w 505"/>
                <a:gd name="T79" fmla="*/ 18357 h 339"/>
                <a:gd name="T80" fmla="*/ 95693 w 505"/>
                <a:gd name="T81" fmla="*/ 18881 h 339"/>
                <a:gd name="T82" fmla="*/ 104433 w 505"/>
                <a:gd name="T83" fmla="*/ 18881 h 339"/>
                <a:gd name="T84" fmla="*/ 113172 w 505"/>
                <a:gd name="T85" fmla="*/ 12588 h 3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48" name="Freeform 343">
              <a:extLst>
                <a:ext uri="{FF2B5EF4-FFF2-40B4-BE49-F238E27FC236}">
                  <a16:creationId xmlns:a16="http://schemas.microsoft.com/office/drawing/2014/main" xmlns="" id="{B1271533-4B30-CD41-B59B-CE4B3A11EDA9}"/>
                </a:ext>
              </a:extLst>
            </p:cNvPr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4344303" y="1388900"/>
              <a:ext cx="126350" cy="52293"/>
            </a:xfrm>
            <a:custGeom>
              <a:avLst/>
              <a:gdLst>
                <a:gd name="T0" fmla="*/ 134815 w 338"/>
                <a:gd name="T1" fmla="*/ 0 h 141"/>
                <a:gd name="T2" fmla="*/ 80371 w 338"/>
                <a:gd name="T3" fmla="*/ 0 h 141"/>
                <a:gd name="T4" fmla="*/ 72593 w 338"/>
                <a:gd name="T5" fmla="*/ 4053 h 141"/>
                <a:gd name="T6" fmla="*/ 62222 w 338"/>
                <a:gd name="T7" fmla="*/ 10640 h 141"/>
                <a:gd name="T8" fmla="*/ 57037 w 338"/>
                <a:gd name="T9" fmla="*/ 13680 h 141"/>
                <a:gd name="T10" fmla="*/ 51420 w 338"/>
                <a:gd name="T11" fmla="*/ 16213 h 141"/>
                <a:gd name="T12" fmla="*/ 48395 w 338"/>
                <a:gd name="T13" fmla="*/ 17226 h 141"/>
                <a:gd name="T14" fmla="*/ 45371 w 338"/>
                <a:gd name="T15" fmla="*/ 17733 h 141"/>
                <a:gd name="T16" fmla="*/ 42778 w 338"/>
                <a:gd name="T17" fmla="*/ 18239 h 141"/>
                <a:gd name="T18" fmla="*/ 40185 w 338"/>
                <a:gd name="T19" fmla="*/ 18746 h 141"/>
                <a:gd name="T20" fmla="*/ 38025 w 338"/>
                <a:gd name="T21" fmla="*/ 18239 h 141"/>
                <a:gd name="T22" fmla="*/ 36296 w 338"/>
                <a:gd name="T23" fmla="*/ 17733 h 141"/>
                <a:gd name="T24" fmla="*/ 33704 w 338"/>
                <a:gd name="T25" fmla="*/ 16213 h 141"/>
                <a:gd name="T26" fmla="*/ 31975 w 338"/>
                <a:gd name="T27" fmla="*/ 15200 h 141"/>
                <a:gd name="T28" fmla="*/ 28519 w 338"/>
                <a:gd name="T29" fmla="*/ 12160 h 141"/>
                <a:gd name="T30" fmla="*/ 25494 w 338"/>
                <a:gd name="T31" fmla="*/ 9120 h 141"/>
                <a:gd name="T32" fmla="*/ 21173 w 338"/>
                <a:gd name="T33" fmla="*/ 17226 h 141"/>
                <a:gd name="T34" fmla="*/ 15988 w 338"/>
                <a:gd name="T35" fmla="*/ 25839 h 141"/>
                <a:gd name="T36" fmla="*/ 12963 w 338"/>
                <a:gd name="T37" fmla="*/ 30399 h 141"/>
                <a:gd name="T38" fmla="*/ 9074 w 338"/>
                <a:gd name="T39" fmla="*/ 34452 h 141"/>
                <a:gd name="T40" fmla="*/ 4753 w 338"/>
                <a:gd name="T41" fmla="*/ 37999 h 141"/>
                <a:gd name="T42" fmla="*/ 0 w 338"/>
                <a:gd name="T43" fmla="*/ 40532 h 141"/>
                <a:gd name="T44" fmla="*/ 5185 w 338"/>
                <a:gd name="T45" fmla="*/ 45599 h 141"/>
                <a:gd name="T46" fmla="*/ 9938 w 338"/>
                <a:gd name="T47" fmla="*/ 50665 h 141"/>
                <a:gd name="T48" fmla="*/ 14259 w 338"/>
                <a:gd name="T49" fmla="*/ 54718 h 141"/>
                <a:gd name="T50" fmla="*/ 19012 w 338"/>
                <a:gd name="T51" fmla="*/ 58772 h 141"/>
                <a:gd name="T52" fmla="*/ 23766 w 338"/>
                <a:gd name="T53" fmla="*/ 61812 h 141"/>
                <a:gd name="T54" fmla="*/ 28519 w 338"/>
                <a:gd name="T55" fmla="*/ 65358 h 141"/>
                <a:gd name="T56" fmla="*/ 34136 w 338"/>
                <a:gd name="T57" fmla="*/ 68398 h 141"/>
                <a:gd name="T58" fmla="*/ 40185 w 338"/>
                <a:gd name="T59" fmla="*/ 71438 h 141"/>
                <a:gd name="T60" fmla="*/ 111914 w 338"/>
                <a:gd name="T61" fmla="*/ 71438 h 141"/>
                <a:gd name="T62" fmla="*/ 116235 w 338"/>
                <a:gd name="T63" fmla="*/ 62825 h 141"/>
                <a:gd name="T64" fmla="*/ 121420 w 338"/>
                <a:gd name="T65" fmla="*/ 54212 h 141"/>
                <a:gd name="T66" fmla="*/ 126173 w 338"/>
                <a:gd name="T67" fmla="*/ 46612 h 141"/>
                <a:gd name="T68" fmla="*/ 131359 w 338"/>
                <a:gd name="T69" fmla="*/ 39519 h 141"/>
                <a:gd name="T70" fmla="*/ 136112 w 338"/>
                <a:gd name="T71" fmla="*/ 32426 h 141"/>
                <a:gd name="T72" fmla="*/ 140001 w 338"/>
                <a:gd name="T73" fmla="*/ 24319 h 141"/>
                <a:gd name="T74" fmla="*/ 143889 w 338"/>
                <a:gd name="T75" fmla="*/ 17226 h 141"/>
                <a:gd name="T76" fmla="*/ 146050 w 338"/>
                <a:gd name="T77" fmla="*/ 9120 h 141"/>
                <a:gd name="T78" fmla="*/ 134815 w 338"/>
                <a:gd name="T79" fmla="*/ 0 h 14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49" name="Freeform 344">
              <a:extLst>
                <a:ext uri="{FF2B5EF4-FFF2-40B4-BE49-F238E27FC236}">
                  <a16:creationId xmlns:a16="http://schemas.microsoft.com/office/drawing/2014/main" xmlns="" id="{423DF53E-FA36-1140-84ED-AE95EC2DCE33}"/>
                </a:ext>
              </a:extLst>
            </p:cNvPr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4430827" y="1136735"/>
              <a:ext cx="96136" cy="47644"/>
            </a:xfrm>
            <a:custGeom>
              <a:avLst/>
              <a:gdLst>
                <a:gd name="T0" fmla="*/ 111125 w 259"/>
                <a:gd name="T1" fmla="*/ 65087 h 129"/>
                <a:gd name="T2" fmla="*/ 109409 w 259"/>
                <a:gd name="T3" fmla="*/ 51464 h 129"/>
                <a:gd name="T4" fmla="*/ 108122 w 259"/>
                <a:gd name="T5" fmla="*/ 40364 h 129"/>
                <a:gd name="T6" fmla="*/ 108122 w 259"/>
                <a:gd name="T7" fmla="*/ 31787 h 129"/>
                <a:gd name="T8" fmla="*/ 108551 w 259"/>
                <a:gd name="T9" fmla="*/ 25228 h 129"/>
                <a:gd name="T10" fmla="*/ 110267 w 259"/>
                <a:gd name="T11" fmla="*/ 14632 h 129"/>
                <a:gd name="T12" fmla="*/ 111125 w 259"/>
                <a:gd name="T13" fmla="*/ 6055 h 129"/>
                <a:gd name="T14" fmla="*/ 110696 w 259"/>
                <a:gd name="T15" fmla="*/ 7064 h 129"/>
                <a:gd name="T16" fmla="*/ 109838 w 259"/>
                <a:gd name="T17" fmla="*/ 8073 h 129"/>
                <a:gd name="T18" fmla="*/ 108551 w 259"/>
                <a:gd name="T19" fmla="*/ 8577 h 129"/>
                <a:gd name="T20" fmla="*/ 106834 w 259"/>
                <a:gd name="T21" fmla="*/ 9082 h 129"/>
                <a:gd name="T22" fmla="*/ 102544 w 259"/>
                <a:gd name="T23" fmla="*/ 9586 h 129"/>
                <a:gd name="T24" fmla="*/ 97824 w 259"/>
                <a:gd name="T25" fmla="*/ 9586 h 129"/>
                <a:gd name="T26" fmla="*/ 87956 w 259"/>
                <a:gd name="T27" fmla="*/ 9586 h 129"/>
                <a:gd name="T28" fmla="*/ 82378 w 259"/>
                <a:gd name="T29" fmla="*/ 9082 h 129"/>
                <a:gd name="T30" fmla="*/ 77659 w 259"/>
                <a:gd name="T31" fmla="*/ 8577 h 129"/>
                <a:gd name="T32" fmla="*/ 73797 w 259"/>
                <a:gd name="T33" fmla="*/ 7568 h 129"/>
                <a:gd name="T34" fmla="*/ 69936 w 259"/>
                <a:gd name="T35" fmla="*/ 6055 h 129"/>
                <a:gd name="T36" fmla="*/ 66932 w 259"/>
                <a:gd name="T37" fmla="*/ 4541 h 129"/>
                <a:gd name="T38" fmla="*/ 62642 w 259"/>
                <a:gd name="T39" fmla="*/ 3027 h 129"/>
                <a:gd name="T40" fmla="*/ 57493 w 259"/>
                <a:gd name="T41" fmla="*/ 1514 h 129"/>
                <a:gd name="T42" fmla="*/ 50628 w 259"/>
                <a:gd name="T43" fmla="*/ 505 h 129"/>
                <a:gd name="T44" fmla="*/ 42476 w 259"/>
                <a:gd name="T45" fmla="*/ 0 h 129"/>
                <a:gd name="T46" fmla="*/ 35611 w 259"/>
                <a:gd name="T47" fmla="*/ 0 h 129"/>
                <a:gd name="T48" fmla="*/ 28747 w 259"/>
                <a:gd name="T49" fmla="*/ 0 h 129"/>
                <a:gd name="T50" fmla="*/ 21453 w 259"/>
                <a:gd name="T51" fmla="*/ 0 h 129"/>
                <a:gd name="T52" fmla="*/ 14588 w 259"/>
                <a:gd name="T53" fmla="*/ 1009 h 129"/>
                <a:gd name="T54" fmla="*/ 11584 w 259"/>
                <a:gd name="T55" fmla="*/ 2018 h 129"/>
                <a:gd name="T56" fmla="*/ 9010 w 259"/>
                <a:gd name="T57" fmla="*/ 3027 h 129"/>
                <a:gd name="T58" fmla="*/ 6007 w 259"/>
                <a:gd name="T59" fmla="*/ 4541 h 129"/>
                <a:gd name="T60" fmla="*/ 4291 w 259"/>
                <a:gd name="T61" fmla="*/ 6559 h 129"/>
                <a:gd name="T62" fmla="*/ 2145 w 259"/>
                <a:gd name="T63" fmla="*/ 8577 h 129"/>
                <a:gd name="T64" fmla="*/ 858 w 259"/>
                <a:gd name="T65" fmla="*/ 11100 h 129"/>
                <a:gd name="T66" fmla="*/ 0 w 259"/>
                <a:gd name="T67" fmla="*/ 14632 h 129"/>
                <a:gd name="T68" fmla="*/ 0 w 259"/>
                <a:gd name="T69" fmla="*/ 18164 h 129"/>
                <a:gd name="T70" fmla="*/ 0 w 259"/>
                <a:gd name="T71" fmla="*/ 24218 h 129"/>
                <a:gd name="T72" fmla="*/ 1287 w 259"/>
                <a:gd name="T73" fmla="*/ 29264 h 129"/>
                <a:gd name="T74" fmla="*/ 2574 w 259"/>
                <a:gd name="T75" fmla="*/ 32796 h 129"/>
                <a:gd name="T76" fmla="*/ 5149 w 259"/>
                <a:gd name="T77" fmla="*/ 35823 h 129"/>
                <a:gd name="T78" fmla="*/ 7294 w 259"/>
                <a:gd name="T79" fmla="*/ 38346 h 129"/>
                <a:gd name="T80" fmla="*/ 10297 w 259"/>
                <a:gd name="T81" fmla="*/ 40364 h 129"/>
                <a:gd name="T82" fmla="*/ 13301 w 259"/>
                <a:gd name="T83" fmla="*/ 41878 h 129"/>
                <a:gd name="T84" fmla="*/ 15875 w 259"/>
                <a:gd name="T85" fmla="*/ 42887 h 129"/>
                <a:gd name="T86" fmla="*/ 21453 w 259"/>
                <a:gd name="T87" fmla="*/ 44400 h 129"/>
                <a:gd name="T88" fmla="*/ 26172 w 259"/>
                <a:gd name="T89" fmla="*/ 46419 h 129"/>
                <a:gd name="T90" fmla="*/ 27889 w 259"/>
                <a:gd name="T91" fmla="*/ 47932 h 129"/>
                <a:gd name="T92" fmla="*/ 28747 w 259"/>
                <a:gd name="T93" fmla="*/ 49950 h 129"/>
                <a:gd name="T94" fmla="*/ 28747 w 259"/>
                <a:gd name="T95" fmla="*/ 52978 h 129"/>
                <a:gd name="T96" fmla="*/ 28318 w 259"/>
                <a:gd name="T97" fmla="*/ 56005 h 129"/>
                <a:gd name="T98" fmla="*/ 34753 w 259"/>
                <a:gd name="T99" fmla="*/ 55501 h 129"/>
                <a:gd name="T100" fmla="*/ 39044 w 259"/>
                <a:gd name="T101" fmla="*/ 54491 h 129"/>
                <a:gd name="T102" fmla="*/ 42047 w 259"/>
                <a:gd name="T103" fmla="*/ 53482 h 129"/>
                <a:gd name="T104" fmla="*/ 45051 w 259"/>
                <a:gd name="T105" fmla="*/ 52978 h 129"/>
                <a:gd name="T106" fmla="*/ 51486 w 259"/>
                <a:gd name="T107" fmla="*/ 53482 h 129"/>
                <a:gd name="T108" fmla="*/ 60068 w 259"/>
                <a:gd name="T109" fmla="*/ 54491 h 129"/>
                <a:gd name="T110" fmla="*/ 71223 w 259"/>
                <a:gd name="T111" fmla="*/ 56510 h 129"/>
                <a:gd name="T112" fmla="*/ 82378 w 259"/>
                <a:gd name="T113" fmla="*/ 59032 h 129"/>
                <a:gd name="T114" fmla="*/ 102115 w 259"/>
                <a:gd name="T115" fmla="*/ 63069 h 129"/>
                <a:gd name="T116" fmla="*/ 111125 w 259"/>
                <a:gd name="T117" fmla="*/ 65087 h 12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50" name="Freeform 345">
              <a:extLst>
                <a:ext uri="{FF2B5EF4-FFF2-40B4-BE49-F238E27FC236}">
                  <a16:creationId xmlns:a16="http://schemas.microsoft.com/office/drawing/2014/main" xmlns="" id="{00D52479-666D-77E0-ED39-711B609164D0}"/>
                </a:ext>
              </a:extLst>
            </p:cNvPr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4441814" y="1391225"/>
              <a:ext cx="155191" cy="104585"/>
            </a:xfrm>
            <a:custGeom>
              <a:avLst/>
              <a:gdLst>
                <a:gd name="T0" fmla="*/ 176432 w 425"/>
                <a:gd name="T1" fmla="*/ 89297 h 272"/>
                <a:gd name="T2" fmla="*/ 167991 w 425"/>
                <a:gd name="T3" fmla="*/ 98752 h 272"/>
                <a:gd name="T4" fmla="*/ 161659 w 425"/>
                <a:gd name="T5" fmla="*/ 108207 h 272"/>
                <a:gd name="T6" fmla="*/ 162081 w 425"/>
                <a:gd name="T7" fmla="*/ 116086 h 272"/>
                <a:gd name="T8" fmla="*/ 164192 w 425"/>
                <a:gd name="T9" fmla="*/ 124490 h 272"/>
                <a:gd name="T10" fmla="*/ 158283 w 425"/>
                <a:gd name="T11" fmla="*/ 128167 h 272"/>
                <a:gd name="T12" fmla="*/ 146464 w 425"/>
                <a:gd name="T13" fmla="*/ 125016 h 272"/>
                <a:gd name="T14" fmla="*/ 136756 w 425"/>
                <a:gd name="T15" fmla="*/ 123440 h 272"/>
                <a:gd name="T16" fmla="*/ 124516 w 425"/>
                <a:gd name="T17" fmla="*/ 123440 h 272"/>
                <a:gd name="T18" fmla="*/ 111009 w 425"/>
                <a:gd name="T19" fmla="*/ 127642 h 272"/>
                <a:gd name="T20" fmla="*/ 97924 w 425"/>
                <a:gd name="T21" fmla="*/ 133420 h 272"/>
                <a:gd name="T22" fmla="*/ 83151 w 425"/>
                <a:gd name="T23" fmla="*/ 140249 h 272"/>
                <a:gd name="T24" fmla="*/ 42209 w 425"/>
                <a:gd name="T25" fmla="*/ 126066 h 272"/>
                <a:gd name="T26" fmla="*/ 35877 w 425"/>
                <a:gd name="T27" fmla="*/ 118712 h 272"/>
                <a:gd name="T28" fmla="*/ 29546 w 425"/>
                <a:gd name="T29" fmla="*/ 112409 h 272"/>
                <a:gd name="T30" fmla="*/ 15617 w 425"/>
                <a:gd name="T31" fmla="*/ 100853 h 272"/>
                <a:gd name="T32" fmla="*/ 9286 w 425"/>
                <a:gd name="T33" fmla="*/ 94550 h 272"/>
                <a:gd name="T34" fmla="*/ 4643 w 425"/>
                <a:gd name="T35" fmla="*/ 87721 h 272"/>
                <a:gd name="T36" fmla="*/ 844 w 425"/>
                <a:gd name="T37" fmla="*/ 78791 h 272"/>
                <a:gd name="T38" fmla="*/ 0 w 425"/>
                <a:gd name="T39" fmla="*/ 67761 h 272"/>
                <a:gd name="T40" fmla="*/ 21104 w 425"/>
                <a:gd name="T41" fmla="*/ 34668 h 272"/>
                <a:gd name="T42" fmla="*/ 29968 w 425"/>
                <a:gd name="T43" fmla="*/ 18910 h 272"/>
                <a:gd name="T44" fmla="*/ 33767 w 425"/>
                <a:gd name="T45" fmla="*/ 11556 h 272"/>
                <a:gd name="T46" fmla="*/ 35877 w 425"/>
                <a:gd name="T47" fmla="*/ 3152 h 272"/>
                <a:gd name="T48" fmla="*/ 51917 w 425"/>
                <a:gd name="T49" fmla="*/ 5253 h 272"/>
                <a:gd name="T50" fmla="*/ 64579 w 425"/>
                <a:gd name="T51" fmla="*/ 9455 h 272"/>
                <a:gd name="T52" fmla="*/ 75976 w 425"/>
                <a:gd name="T53" fmla="*/ 14182 h 272"/>
                <a:gd name="T54" fmla="*/ 86528 w 425"/>
                <a:gd name="T55" fmla="*/ 16284 h 272"/>
                <a:gd name="T56" fmla="*/ 90327 w 425"/>
                <a:gd name="T57" fmla="*/ 15233 h 272"/>
                <a:gd name="T58" fmla="*/ 93281 w 425"/>
                <a:gd name="T59" fmla="*/ 13657 h 272"/>
                <a:gd name="T60" fmla="*/ 97924 w 425"/>
                <a:gd name="T61" fmla="*/ 7879 h 272"/>
                <a:gd name="T62" fmla="*/ 102145 w 425"/>
                <a:gd name="T63" fmla="*/ 2626 h 272"/>
                <a:gd name="T64" fmla="*/ 105522 w 425"/>
                <a:gd name="T65" fmla="*/ 1051 h 272"/>
                <a:gd name="T66" fmla="*/ 109321 w 425"/>
                <a:gd name="T67" fmla="*/ 0 h 272"/>
                <a:gd name="T68" fmla="*/ 116074 w 425"/>
                <a:gd name="T69" fmla="*/ 1051 h 272"/>
                <a:gd name="T70" fmla="*/ 121983 w 425"/>
                <a:gd name="T71" fmla="*/ 3677 h 272"/>
                <a:gd name="T72" fmla="*/ 127470 w 425"/>
                <a:gd name="T73" fmla="*/ 7879 h 272"/>
                <a:gd name="T74" fmla="*/ 130847 w 425"/>
                <a:gd name="T75" fmla="*/ 13657 h 272"/>
                <a:gd name="T76" fmla="*/ 137178 w 425"/>
                <a:gd name="T77" fmla="*/ 27840 h 272"/>
                <a:gd name="T78" fmla="*/ 142243 w 425"/>
                <a:gd name="T79" fmla="*/ 43073 h 272"/>
                <a:gd name="T80" fmla="*/ 147308 w 425"/>
                <a:gd name="T81" fmla="*/ 59356 h 272"/>
                <a:gd name="T82" fmla="*/ 150263 w 425"/>
                <a:gd name="T83" fmla="*/ 66185 h 272"/>
                <a:gd name="T84" fmla="*/ 154062 w 425"/>
                <a:gd name="T85" fmla="*/ 72488 h 272"/>
                <a:gd name="T86" fmla="*/ 158705 w 425"/>
                <a:gd name="T87" fmla="*/ 77216 h 272"/>
                <a:gd name="T88" fmla="*/ 164192 w 425"/>
                <a:gd name="T89" fmla="*/ 81943 h 272"/>
                <a:gd name="T90" fmla="*/ 170945 w 425"/>
                <a:gd name="T91" fmla="*/ 84044 h 272"/>
                <a:gd name="T92" fmla="*/ 179387 w 425"/>
                <a:gd name="T93" fmla="*/ 84569 h 27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51" name="Freeform 346">
              <a:extLst>
                <a:ext uri="{FF2B5EF4-FFF2-40B4-BE49-F238E27FC236}">
                  <a16:creationId xmlns:a16="http://schemas.microsoft.com/office/drawing/2014/main" xmlns="" id="{179FB8E0-57D7-6F78-7D86-68AA5EB6D22B}"/>
                </a:ext>
              </a:extLst>
            </p:cNvPr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2711362" y="2151210"/>
              <a:ext cx="12360" cy="40672"/>
            </a:xfrm>
            <a:custGeom>
              <a:avLst/>
              <a:gdLst>
                <a:gd name="T0" fmla="*/ 5628 w 33"/>
                <a:gd name="T1" fmla="*/ 10754 h 31"/>
                <a:gd name="T2" fmla="*/ 0 w 33"/>
                <a:gd name="T3" fmla="*/ 34055 h 31"/>
                <a:gd name="T4" fmla="*/ 2165 w 33"/>
                <a:gd name="T5" fmla="*/ 37639 h 31"/>
                <a:gd name="T6" fmla="*/ 6061 w 33"/>
                <a:gd name="T7" fmla="*/ 44809 h 31"/>
                <a:gd name="T8" fmla="*/ 8226 w 33"/>
                <a:gd name="T9" fmla="*/ 48394 h 31"/>
                <a:gd name="T10" fmla="*/ 9958 w 33"/>
                <a:gd name="T11" fmla="*/ 51978 h 31"/>
                <a:gd name="T12" fmla="*/ 11689 w 33"/>
                <a:gd name="T13" fmla="*/ 53771 h 31"/>
                <a:gd name="T14" fmla="*/ 14287 w 33"/>
                <a:gd name="T15" fmla="*/ 55563 h 31"/>
                <a:gd name="T16" fmla="*/ 14287 w 33"/>
                <a:gd name="T17" fmla="*/ 0 h 31"/>
                <a:gd name="T18" fmla="*/ 8659 w 33"/>
                <a:gd name="T19" fmla="*/ 0 h 31"/>
                <a:gd name="T20" fmla="*/ 5628 w 33"/>
                <a:gd name="T21" fmla="*/ 10754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52" name="Freeform 347">
              <a:extLst>
                <a:ext uri="{FF2B5EF4-FFF2-40B4-BE49-F238E27FC236}">
                  <a16:creationId xmlns:a16="http://schemas.microsoft.com/office/drawing/2014/main" xmlns="" id="{E24ACE6B-38EB-A071-AD2C-8BE7676333EC}"/>
                </a:ext>
              </a:extLst>
            </p:cNvPr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4532457" y="1385414"/>
              <a:ext cx="74162" cy="58103"/>
            </a:xfrm>
            <a:custGeom>
              <a:avLst/>
              <a:gdLst>
                <a:gd name="T0" fmla="*/ 2679 w 192"/>
                <a:gd name="T1" fmla="*/ 9793 h 154"/>
                <a:gd name="T2" fmla="*/ 23217 w 192"/>
                <a:gd name="T3" fmla="*/ 0 h 154"/>
                <a:gd name="T4" fmla="*/ 41077 w 192"/>
                <a:gd name="T5" fmla="*/ 9793 h 154"/>
                <a:gd name="T6" fmla="*/ 53132 w 192"/>
                <a:gd name="T7" fmla="*/ 15978 h 154"/>
                <a:gd name="T8" fmla="*/ 65187 w 192"/>
                <a:gd name="T9" fmla="*/ 32472 h 154"/>
                <a:gd name="T10" fmla="*/ 74116 w 192"/>
                <a:gd name="T11" fmla="*/ 47934 h 154"/>
                <a:gd name="T12" fmla="*/ 85725 w 192"/>
                <a:gd name="T13" fmla="*/ 60820 h 154"/>
                <a:gd name="T14" fmla="*/ 67866 w 192"/>
                <a:gd name="T15" fmla="*/ 63912 h 154"/>
                <a:gd name="T16" fmla="*/ 56257 w 192"/>
                <a:gd name="T17" fmla="*/ 67005 h 154"/>
                <a:gd name="T18" fmla="*/ 56257 w 192"/>
                <a:gd name="T19" fmla="*/ 79375 h 154"/>
                <a:gd name="T20" fmla="*/ 47327 w 192"/>
                <a:gd name="T21" fmla="*/ 79375 h 154"/>
                <a:gd name="T22" fmla="*/ 44202 w 192"/>
                <a:gd name="T23" fmla="*/ 75252 h 154"/>
                <a:gd name="T24" fmla="*/ 41523 w 192"/>
                <a:gd name="T25" fmla="*/ 70613 h 154"/>
                <a:gd name="T26" fmla="*/ 39291 w 192"/>
                <a:gd name="T27" fmla="*/ 64943 h 154"/>
                <a:gd name="T28" fmla="*/ 36612 w 192"/>
                <a:gd name="T29" fmla="*/ 59274 h 154"/>
                <a:gd name="T30" fmla="*/ 33040 w 192"/>
                <a:gd name="T31" fmla="*/ 47934 h 154"/>
                <a:gd name="T32" fmla="*/ 29021 w 192"/>
                <a:gd name="T33" fmla="*/ 36595 h 154"/>
                <a:gd name="T34" fmla="*/ 26789 w 192"/>
                <a:gd name="T35" fmla="*/ 31441 h 154"/>
                <a:gd name="T36" fmla="*/ 24557 w 192"/>
                <a:gd name="T37" fmla="*/ 25771 h 154"/>
                <a:gd name="T38" fmla="*/ 21431 w 192"/>
                <a:gd name="T39" fmla="*/ 21648 h 154"/>
                <a:gd name="T40" fmla="*/ 18306 w 192"/>
                <a:gd name="T41" fmla="*/ 17524 h 154"/>
                <a:gd name="T42" fmla="*/ 14734 w 192"/>
                <a:gd name="T43" fmla="*/ 14432 h 154"/>
                <a:gd name="T44" fmla="*/ 10716 w 192"/>
                <a:gd name="T45" fmla="*/ 11855 h 154"/>
                <a:gd name="T46" fmla="*/ 8037 w 192"/>
                <a:gd name="T47" fmla="*/ 11339 h 154"/>
                <a:gd name="T48" fmla="*/ 5358 w 192"/>
                <a:gd name="T49" fmla="*/ 10308 h 154"/>
                <a:gd name="T50" fmla="*/ 2679 w 192"/>
                <a:gd name="T51" fmla="*/ 10308 h 154"/>
                <a:gd name="T52" fmla="*/ 0 w 192"/>
                <a:gd name="T53" fmla="*/ 9793 h 154"/>
                <a:gd name="T54" fmla="*/ 2679 w 192"/>
                <a:gd name="T55" fmla="*/ 9793 h 15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53" name="Freeform 348">
              <a:extLst>
                <a:ext uri="{FF2B5EF4-FFF2-40B4-BE49-F238E27FC236}">
                  <a16:creationId xmlns:a16="http://schemas.microsoft.com/office/drawing/2014/main" xmlns="" id="{89F5BBB6-8094-6782-07DB-FEC26788405F}"/>
                </a:ext>
              </a:extLst>
            </p:cNvPr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4461040" y="1299421"/>
              <a:ext cx="329610" cy="181281"/>
            </a:xfrm>
            <a:custGeom>
              <a:avLst/>
              <a:gdLst>
                <a:gd name="T0" fmla="*/ 170299 w 877"/>
                <a:gd name="T1" fmla="*/ 179533 h 469"/>
                <a:gd name="T2" fmla="*/ 138585 w 877"/>
                <a:gd name="T3" fmla="*/ 133594 h 469"/>
                <a:gd name="T4" fmla="*/ 89494 w 877"/>
                <a:gd name="T5" fmla="*/ 127257 h 469"/>
                <a:gd name="T6" fmla="*/ 82977 w 877"/>
                <a:gd name="T7" fmla="*/ 128313 h 469"/>
                <a:gd name="T8" fmla="*/ 77330 w 877"/>
                <a:gd name="T9" fmla="*/ 132538 h 469"/>
                <a:gd name="T10" fmla="*/ 70379 w 877"/>
                <a:gd name="T11" fmla="*/ 140986 h 469"/>
                <a:gd name="T12" fmla="*/ 65600 w 877"/>
                <a:gd name="T13" fmla="*/ 143098 h 469"/>
                <a:gd name="T14" fmla="*/ 52567 w 877"/>
                <a:gd name="T15" fmla="*/ 141514 h 469"/>
                <a:gd name="T16" fmla="*/ 34320 w 877"/>
                <a:gd name="T17" fmla="*/ 134650 h 469"/>
                <a:gd name="T18" fmla="*/ 11295 w 877"/>
                <a:gd name="T19" fmla="*/ 130425 h 469"/>
                <a:gd name="T20" fmla="*/ 3475 w 877"/>
                <a:gd name="T21" fmla="*/ 111944 h 469"/>
                <a:gd name="T22" fmla="*/ 5648 w 877"/>
                <a:gd name="T23" fmla="*/ 98743 h 469"/>
                <a:gd name="T24" fmla="*/ 5648 w 877"/>
                <a:gd name="T25" fmla="*/ 95047 h 469"/>
                <a:gd name="T26" fmla="*/ 9992 w 877"/>
                <a:gd name="T27" fmla="*/ 76038 h 469"/>
                <a:gd name="T28" fmla="*/ 19115 w 877"/>
                <a:gd name="T29" fmla="*/ 59140 h 469"/>
                <a:gd name="T30" fmla="*/ 23460 w 877"/>
                <a:gd name="T31" fmla="*/ 48580 h 469"/>
                <a:gd name="T32" fmla="*/ 11295 w 877"/>
                <a:gd name="T33" fmla="*/ 26402 h 469"/>
                <a:gd name="T34" fmla="*/ 75157 w 877"/>
                <a:gd name="T35" fmla="*/ 13729 h 469"/>
                <a:gd name="T36" fmla="*/ 147274 w 877"/>
                <a:gd name="T37" fmla="*/ 26402 h 469"/>
                <a:gd name="T38" fmla="*/ 170299 w 877"/>
                <a:gd name="T39" fmla="*/ 6864 h 469"/>
                <a:gd name="T40" fmla="*/ 210701 w 877"/>
                <a:gd name="T41" fmla="*/ 0 h 469"/>
                <a:gd name="T42" fmla="*/ 251538 w 877"/>
                <a:gd name="T43" fmla="*/ 20065 h 469"/>
                <a:gd name="T44" fmla="*/ 277170 w 877"/>
                <a:gd name="T45" fmla="*/ 58612 h 469"/>
                <a:gd name="T46" fmla="*/ 314966 w 877"/>
                <a:gd name="T47" fmla="*/ 58612 h 469"/>
                <a:gd name="T48" fmla="*/ 364057 w 877"/>
                <a:gd name="T49" fmla="*/ 81846 h 469"/>
                <a:gd name="T50" fmla="*/ 375352 w 877"/>
                <a:gd name="T51" fmla="*/ 124089 h 469"/>
                <a:gd name="T52" fmla="*/ 349286 w 877"/>
                <a:gd name="T53" fmla="*/ 143626 h 469"/>
                <a:gd name="T54" fmla="*/ 327564 w 877"/>
                <a:gd name="T55" fmla="*/ 165276 h 469"/>
                <a:gd name="T56" fmla="*/ 298892 w 877"/>
                <a:gd name="T57" fmla="*/ 174253 h 469"/>
                <a:gd name="T58" fmla="*/ 288031 w 877"/>
                <a:gd name="T59" fmla="*/ 181117 h 469"/>
                <a:gd name="T60" fmla="*/ 281514 w 877"/>
                <a:gd name="T61" fmla="*/ 189038 h 469"/>
                <a:gd name="T62" fmla="*/ 280645 w 877"/>
                <a:gd name="T63" fmla="*/ 198014 h 469"/>
                <a:gd name="T64" fmla="*/ 283686 w 877"/>
                <a:gd name="T65" fmla="*/ 205935 h 469"/>
                <a:gd name="T66" fmla="*/ 289334 w 877"/>
                <a:gd name="T67" fmla="*/ 211743 h 469"/>
                <a:gd name="T68" fmla="*/ 308884 w 877"/>
                <a:gd name="T69" fmla="*/ 209103 h 469"/>
                <a:gd name="T70" fmla="*/ 321917 w 877"/>
                <a:gd name="T71" fmla="*/ 208047 h 469"/>
                <a:gd name="T72" fmla="*/ 318876 w 877"/>
                <a:gd name="T73" fmla="*/ 212799 h 469"/>
                <a:gd name="T74" fmla="*/ 311056 w 877"/>
                <a:gd name="T75" fmla="*/ 222304 h 469"/>
                <a:gd name="T76" fmla="*/ 303236 w 877"/>
                <a:gd name="T77" fmla="*/ 231281 h 469"/>
                <a:gd name="T78" fmla="*/ 299326 w 877"/>
                <a:gd name="T79" fmla="*/ 221248 h 469"/>
                <a:gd name="T80" fmla="*/ 291506 w 877"/>
                <a:gd name="T81" fmla="*/ 215440 h 469"/>
                <a:gd name="T82" fmla="*/ 289334 w 877"/>
                <a:gd name="T83" fmla="*/ 223360 h 469"/>
                <a:gd name="T84" fmla="*/ 279342 w 877"/>
                <a:gd name="T85" fmla="*/ 233393 h 469"/>
                <a:gd name="T86" fmla="*/ 268916 w 877"/>
                <a:gd name="T87" fmla="*/ 242898 h 469"/>
                <a:gd name="T88" fmla="*/ 265440 w 877"/>
                <a:gd name="T89" fmla="*/ 247650 h 469"/>
                <a:gd name="T90" fmla="*/ 258489 w 877"/>
                <a:gd name="T91" fmla="*/ 245010 h 469"/>
                <a:gd name="T92" fmla="*/ 253710 w 877"/>
                <a:gd name="T93" fmla="*/ 240257 h 469"/>
                <a:gd name="T94" fmla="*/ 249800 w 877"/>
                <a:gd name="T95" fmla="*/ 231809 h 469"/>
                <a:gd name="T96" fmla="*/ 248497 w 877"/>
                <a:gd name="T97" fmla="*/ 215440 h 469"/>
                <a:gd name="T98" fmla="*/ 238071 w 877"/>
                <a:gd name="T99" fmla="*/ 213328 h 469"/>
                <a:gd name="T100" fmla="*/ 225038 w 877"/>
                <a:gd name="T101" fmla="*/ 205407 h 469"/>
                <a:gd name="T102" fmla="*/ 242849 w 877"/>
                <a:gd name="T103" fmla="*/ 200127 h 469"/>
                <a:gd name="T104" fmla="*/ 271522 w 877"/>
                <a:gd name="T105" fmla="*/ 195374 h 469"/>
                <a:gd name="T106" fmla="*/ 214177 w 877"/>
                <a:gd name="T107" fmla="*/ 186926 h 469"/>
                <a:gd name="T108" fmla="*/ 193324 w 877"/>
                <a:gd name="T109" fmla="*/ 175837 h 469"/>
                <a:gd name="T110" fmla="*/ 172905 w 877"/>
                <a:gd name="T111" fmla="*/ 194846 h 469"/>
                <a:gd name="T112" fmla="*/ 165086 w 877"/>
                <a:gd name="T113" fmla="*/ 208575 h 469"/>
                <a:gd name="T114" fmla="*/ 153356 w 877"/>
                <a:gd name="T115" fmla="*/ 211215 h 469"/>
                <a:gd name="T116" fmla="*/ 142495 w 877"/>
                <a:gd name="T117" fmla="*/ 206991 h 469"/>
                <a:gd name="T118" fmla="*/ 132937 w 877"/>
                <a:gd name="T119" fmla="*/ 198542 h 46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54" name="Freeform 349">
              <a:extLst>
                <a:ext uri="{FF2B5EF4-FFF2-40B4-BE49-F238E27FC236}">
                  <a16:creationId xmlns:a16="http://schemas.microsoft.com/office/drawing/2014/main" xmlns="" id="{FDD6CDF5-5A6C-384F-19A2-45AA42C2A685}"/>
                </a:ext>
              </a:extLst>
            </p:cNvPr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4903268" y="1550427"/>
              <a:ext cx="41201" cy="46482"/>
            </a:xfrm>
            <a:custGeom>
              <a:avLst/>
              <a:gdLst>
                <a:gd name="T0" fmla="*/ 21364 w 107"/>
                <a:gd name="T1" fmla="*/ 0 h 123"/>
                <a:gd name="T2" fmla="*/ 36053 w 107"/>
                <a:gd name="T3" fmla="*/ 16004 h 123"/>
                <a:gd name="T4" fmla="*/ 41839 w 107"/>
                <a:gd name="T5" fmla="*/ 34589 h 123"/>
                <a:gd name="T6" fmla="*/ 47625 w 107"/>
                <a:gd name="T7" fmla="*/ 44398 h 123"/>
                <a:gd name="T8" fmla="*/ 47625 w 107"/>
                <a:gd name="T9" fmla="*/ 60402 h 123"/>
                <a:gd name="T10" fmla="*/ 47625 w 107"/>
                <a:gd name="T11" fmla="*/ 63500 h 123"/>
                <a:gd name="T12" fmla="*/ 39168 w 107"/>
                <a:gd name="T13" fmla="*/ 58854 h 123"/>
                <a:gd name="T14" fmla="*/ 32492 w 107"/>
                <a:gd name="T15" fmla="*/ 54207 h 123"/>
                <a:gd name="T16" fmla="*/ 27151 w 107"/>
                <a:gd name="T17" fmla="*/ 50593 h 123"/>
                <a:gd name="T18" fmla="*/ 24035 w 107"/>
                <a:gd name="T19" fmla="*/ 47496 h 123"/>
                <a:gd name="T20" fmla="*/ 22700 w 107"/>
                <a:gd name="T21" fmla="*/ 42850 h 123"/>
                <a:gd name="T22" fmla="*/ 21364 w 107"/>
                <a:gd name="T23" fmla="*/ 37687 h 123"/>
                <a:gd name="T24" fmla="*/ 17359 w 107"/>
                <a:gd name="T25" fmla="*/ 38203 h 123"/>
                <a:gd name="T26" fmla="*/ 14243 w 107"/>
                <a:gd name="T27" fmla="*/ 37687 h 123"/>
                <a:gd name="T28" fmla="*/ 11572 w 107"/>
                <a:gd name="T29" fmla="*/ 37171 h 123"/>
                <a:gd name="T30" fmla="*/ 9347 w 107"/>
                <a:gd name="T31" fmla="*/ 36138 h 123"/>
                <a:gd name="T32" fmla="*/ 7567 w 107"/>
                <a:gd name="T33" fmla="*/ 34589 h 123"/>
                <a:gd name="T34" fmla="*/ 6231 w 107"/>
                <a:gd name="T35" fmla="*/ 32524 h 123"/>
                <a:gd name="T36" fmla="*/ 4896 w 107"/>
                <a:gd name="T37" fmla="*/ 30459 h 123"/>
                <a:gd name="T38" fmla="*/ 4006 w 107"/>
                <a:gd name="T39" fmla="*/ 27878 h 123"/>
                <a:gd name="T40" fmla="*/ 1780 w 107"/>
                <a:gd name="T41" fmla="*/ 16004 h 123"/>
                <a:gd name="T42" fmla="*/ 0 w 107"/>
                <a:gd name="T43" fmla="*/ 3098 h 123"/>
                <a:gd name="T44" fmla="*/ 15133 w 107"/>
                <a:gd name="T45" fmla="*/ 0 h 123"/>
                <a:gd name="T46" fmla="*/ 21364 w 107"/>
                <a:gd name="T47" fmla="*/ 0 h 1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55" name="Freeform 350">
              <a:extLst>
                <a:ext uri="{FF2B5EF4-FFF2-40B4-BE49-F238E27FC236}">
                  <a16:creationId xmlns:a16="http://schemas.microsoft.com/office/drawing/2014/main" xmlns="" id="{CA4B9B3F-B2BD-8FBD-BBDE-D014775E1C34}"/>
                </a:ext>
              </a:extLst>
            </p:cNvPr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5372961" y="1560884"/>
              <a:ext cx="179912" cy="89479"/>
            </a:xfrm>
            <a:custGeom>
              <a:avLst/>
              <a:gdLst>
                <a:gd name="T0" fmla="*/ 46802 w 471"/>
                <a:gd name="T1" fmla="*/ 35000 h 234"/>
                <a:gd name="T2" fmla="*/ 73294 w 471"/>
                <a:gd name="T3" fmla="*/ 44925 h 234"/>
                <a:gd name="T4" fmla="*/ 120097 w 471"/>
                <a:gd name="T5" fmla="*/ 54850 h 234"/>
                <a:gd name="T6" fmla="*/ 164250 w 471"/>
                <a:gd name="T7" fmla="*/ 44925 h 234"/>
                <a:gd name="T8" fmla="*/ 169107 w 471"/>
                <a:gd name="T9" fmla="*/ 49627 h 234"/>
                <a:gd name="T10" fmla="*/ 172639 w 471"/>
                <a:gd name="T11" fmla="*/ 59552 h 234"/>
                <a:gd name="T12" fmla="*/ 179262 w 471"/>
                <a:gd name="T13" fmla="*/ 64776 h 234"/>
                <a:gd name="T14" fmla="*/ 187210 w 471"/>
                <a:gd name="T15" fmla="*/ 67388 h 234"/>
                <a:gd name="T16" fmla="*/ 191184 w 471"/>
                <a:gd name="T17" fmla="*/ 70000 h 234"/>
                <a:gd name="T18" fmla="*/ 194716 w 471"/>
                <a:gd name="T19" fmla="*/ 73656 h 234"/>
                <a:gd name="T20" fmla="*/ 197807 w 471"/>
                <a:gd name="T21" fmla="*/ 78880 h 234"/>
                <a:gd name="T22" fmla="*/ 200897 w 471"/>
                <a:gd name="T23" fmla="*/ 88805 h 234"/>
                <a:gd name="T24" fmla="*/ 207962 w 471"/>
                <a:gd name="T25" fmla="*/ 99253 h 234"/>
                <a:gd name="T26" fmla="*/ 154537 w 471"/>
                <a:gd name="T27" fmla="*/ 105522 h 234"/>
                <a:gd name="T28" fmla="*/ 145706 w 471"/>
                <a:gd name="T29" fmla="*/ 117014 h 234"/>
                <a:gd name="T30" fmla="*/ 139966 w 471"/>
                <a:gd name="T31" fmla="*/ 121716 h 234"/>
                <a:gd name="T32" fmla="*/ 135109 w 471"/>
                <a:gd name="T33" fmla="*/ 121716 h 234"/>
                <a:gd name="T34" fmla="*/ 131577 w 471"/>
                <a:gd name="T35" fmla="*/ 120148 h 234"/>
                <a:gd name="T36" fmla="*/ 128928 w 471"/>
                <a:gd name="T37" fmla="*/ 117014 h 234"/>
                <a:gd name="T38" fmla="*/ 127603 w 471"/>
                <a:gd name="T39" fmla="*/ 112835 h 234"/>
                <a:gd name="T40" fmla="*/ 125395 w 471"/>
                <a:gd name="T41" fmla="*/ 103955 h 234"/>
                <a:gd name="T42" fmla="*/ 122746 w 471"/>
                <a:gd name="T43" fmla="*/ 90895 h 234"/>
                <a:gd name="T44" fmla="*/ 118772 w 471"/>
                <a:gd name="T45" fmla="*/ 80970 h 234"/>
                <a:gd name="T46" fmla="*/ 113915 w 471"/>
                <a:gd name="T47" fmla="*/ 77313 h 234"/>
                <a:gd name="T48" fmla="*/ 108617 w 471"/>
                <a:gd name="T49" fmla="*/ 73656 h 234"/>
                <a:gd name="T50" fmla="*/ 104202 w 471"/>
                <a:gd name="T51" fmla="*/ 69477 h 234"/>
                <a:gd name="T52" fmla="*/ 98903 w 471"/>
                <a:gd name="T53" fmla="*/ 73134 h 234"/>
                <a:gd name="T54" fmla="*/ 91397 w 471"/>
                <a:gd name="T55" fmla="*/ 84626 h 234"/>
                <a:gd name="T56" fmla="*/ 88307 w 471"/>
                <a:gd name="T57" fmla="*/ 92462 h 234"/>
                <a:gd name="T58" fmla="*/ 83008 w 471"/>
                <a:gd name="T59" fmla="*/ 99253 h 234"/>
                <a:gd name="T60" fmla="*/ 73736 w 471"/>
                <a:gd name="T61" fmla="*/ 104999 h 234"/>
                <a:gd name="T62" fmla="*/ 64905 w 471"/>
                <a:gd name="T63" fmla="*/ 111268 h 234"/>
                <a:gd name="T64" fmla="*/ 57399 w 471"/>
                <a:gd name="T65" fmla="*/ 114402 h 234"/>
                <a:gd name="T66" fmla="*/ 50335 w 471"/>
                <a:gd name="T67" fmla="*/ 115969 h 234"/>
                <a:gd name="T68" fmla="*/ 42829 w 471"/>
                <a:gd name="T69" fmla="*/ 115447 h 234"/>
                <a:gd name="T70" fmla="*/ 36206 w 471"/>
                <a:gd name="T71" fmla="*/ 113357 h 234"/>
                <a:gd name="T72" fmla="*/ 27817 w 471"/>
                <a:gd name="T73" fmla="*/ 107089 h 234"/>
                <a:gd name="T74" fmla="*/ 26050 w 471"/>
                <a:gd name="T75" fmla="*/ 102910 h 234"/>
                <a:gd name="T76" fmla="*/ 26050 w 471"/>
                <a:gd name="T77" fmla="*/ 70522 h 234"/>
                <a:gd name="T78" fmla="*/ 0 w 471"/>
                <a:gd name="T79" fmla="*/ 51194 h 234"/>
                <a:gd name="T80" fmla="*/ 23401 w 471"/>
                <a:gd name="T81" fmla="*/ 41791 h 234"/>
                <a:gd name="T82" fmla="*/ 37972 w 471"/>
                <a:gd name="T83" fmla="*/ 15672 h 234"/>
                <a:gd name="T84" fmla="*/ 58724 w 471"/>
                <a:gd name="T85" fmla="*/ 0 h 234"/>
                <a:gd name="T86" fmla="*/ 73294 w 471"/>
                <a:gd name="T87" fmla="*/ 21940 h 2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56" name="Freeform 351">
              <a:extLst>
                <a:ext uri="{FF2B5EF4-FFF2-40B4-BE49-F238E27FC236}">
                  <a16:creationId xmlns:a16="http://schemas.microsoft.com/office/drawing/2014/main" xmlns="" id="{7FCE1FC7-22E3-1FB1-7BE8-79ABB32563AB}"/>
                </a:ext>
              </a:extLst>
            </p:cNvPr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5415536" y="1508592"/>
              <a:ext cx="195019" cy="91802"/>
            </a:xfrm>
            <a:custGeom>
              <a:avLst/>
              <a:gdLst>
                <a:gd name="T0" fmla="*/ 45514 w 525"/>
                <a:gd name="T1" fmla="*/ 96271 h 241"/>
                <a:gd name="T2" fmla="*/ 74283 w 525"/>
                <a:gd name="T3" fmla="*/ 77016 h 241"/>
                <a:gd name="T4" fmla="*/ 39932 w 525"/>
                <a:gd name="T5" fmla="*/ 54640 h 241"/>
                <a:gd name="T6" fmla="*/ 20181 w 525"/>
                <a:gd name="T7" fmla="*/ 60885 h 241"/>
                <a:gd name="T8" fmla="*/ 28339 w 525"/>
                <a:gd name="T9" fmla="*/ 31743 h 241"/>
                <a:gd name="T10" fmla="*/ 17175 w 525"/>
                <a:gd name="T11" fmla="*/ 22376 h 241"/>
                <a:gd name="T12" fmla="*/ 48091 w 525"/>
                <a:gd name="T13" fmla="*/ 13010 h 241"/>
                <a:gd name="T14" fmla="*/ 79865 w 525"/>
                <a:gd name="T15" fmla="*/ 0 h 241"/>
                <a:gd name="T16" fmla="*/ 133967 w 525"/>
                <a:gd name="T17" fmla="*/ 9887 h 241"/>
                <a:gd name="T18" fmla="*/ 188498 w 525"/>
                <a:gd name="T19" fmla="*/ 13010 h 241"/>
                <a:gd name="T20" fmla="*/ 225425 w 525"/>
                <a:gd name="T21" fmla="*/ 28621 h 241"/>
                <a:gd name="T22" fmla="*/ 222849 w 525"/>
                <a:gd name="T23" fmla="*/ 35906 h 241"/>
                <a:gd name="T24" fmla="*/ 218984 w 525"/>
                <a:gd name="T25" fmla="*/ 42671 h 241"/>
                <a:gd name="T26" fmla="*/ 214261 w 525"/>
                <a:gd name="T27" fmla="*/ 47875 h 241"/>
                <a:gd name="T28" fmla="*/ 208250 w 525"/>
                <a:gd name="T29" fmla="*/ 51518 h 241"/>
                <a:gd name="T30" fmla="*/ 189786 w 525"/>
                <a:gd name="T31" fmla="*/ 53599 h 241"/>
                <a:gd name="T32" fmla="*/ 179481 w 525"/>
                <a:gd name="T33" fmla="*/ 55681 h 241"/>
                <a:gd name="T34" fmla="*/ 174758 w 525"/>
                <a:gd name="T35" fmla="*/ 57762 h 241"/>
                <a:gd name="T36" fmla="*/ 171323 w 525"/>
                <a:gd name="T37" fmla="*/ 60885 h 241"/>
                <a:gd name="T38" fmla="*/ 166170 w 525"/>
                <a:gd name="T39" fmla="*/ 70772 h 241"/>
                <a:gd name="T40" fmla="*/ 162306 w 525"/>
                <a:gd name="T41" fmla="*/ 76496 h 241"/>
                <a:gd name="T42" fmla="*/ 156724 w 525"/>
                <a:gd name="T43" fmla="*/ 80139 h 241"/>
                <a:gd name="T44" fmla="*/ 130961 w 525"/>
                <a:gd name="T45" fmla="*/ 86383 h 241"/>
                <a:gd name="T46" fmla="*/ 117221 w 525"/>
                <a:gd name="T47" fmla="*/ 90026 h 241"/>
                <a:gd name="T48" fmla="*/ 111639 w 525"/>
                <a:gd name="T49" fmla="*/ 92628 h 241"/>
                <a:gd name="T50" fmla="*/ 112068 w 525"/>
                <a:gd name="T51" fmla="*/ 99913 h 241"/>
                <a:gd name="T52" fmla="*/ 112927 w 525"/>
                <a:gd name="T53" fmla="*/ 105637 h 241"/>
                <a:gd name="T54" fmla="*/ 117221 w 525"/>
                <a:gd name="T55" fmla="*/ 115525 h 241"/>
                <a:gd name="T56" fmla="*/ 94034 w 525"/>
                <a:gd name="T57" fmla="*/ 118647 h 241"/>
                <a:gd name="T58" fmla="*/ 48091 w 525"/>
                <a:gd name="T59" fmla="*/ 121769 h 241"/>
                <a:gd name="T60" fmla="*/ 8588 w 525"/>
                <a:gd name="T61" fmla="*/ 115525 h 241"/>
                <a:gd name="T62" fmla="*/ 22757 w 525"/>
                <a:gd name="T63" fmla="*/ 86383 h 24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57" name="Freeform 352">
              <a:extLst>
                <a:ext uri="{FF2B5EF4-FFF2-40B4-BE49-F238E27FC236}">
                  <a16:creationId xmlns:a16="http://schemas.microsoft.com/office/drawing/2014/main" xmlns="" id="{5D0072F5-1F30-34D1-0701-45988E0ED36E}"/>
                </a:ext>
              </a:extLst>
            </p:cNvPr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5074939" y="1520212"/>
              <a:ext cx="296649" cy="166174"/>
            </a:xfrm>
            <a:custGeom>
              <a:avLst/>
              <a:gdLst>
                <a:gd name="T0" fmla="*/ 335902 w 784"/>
                <a:gd name="T1" fmla="*/ 154157 h 430"/>
                <a:gd name="T2" fmla="*/ 328467 w 784"/>
                <a:gd name="T3" fmla="*/ 154685 h 430"/>
                <a:gd name="T4" fmla="*/ 319719 w 784"/>
                <a:gd name="T5" fmla="*/ 159436 h 430"/>
                <a:gd name="T6" fmla="*/ 316220 w 784"/>
                <a:gd name="T7" fmla="*/ 162604 h 430"/>
                <a:gd name="T8" fmla="*/ 313596 w 784"/>
                <a:gd name="T9" fmla="*/ 175274 h 430"/>
                <a:gd name="T10" fmla="*/ 311847 w 784"/>
                <a:gd name="T11" fmla="*/ 190057 h 430"/>
                <a:gd name="T12" fmla="*/ 307910 w 784"/>
                <a:gd name="T13" fmla="*/ 198504 h 430"/>
                <a:gd name="T14" fmla="*/ 293477 w 784"/>
                <a:gd name="T15" fmla="*/ 212230 h 430"/>
                <a:gd name="T16" fmla="*/ 276857 w 784"/>
                <a:gd name="T17" fmla="*/ 221733 h 430"/>
                <a:gd name="T18" fmla="*/ 267672 w 784"/>
                <a:gd name="T19" fmla="*/ 223844 h 430"/>
                <a:gd name="T20" fmla="*/ 256738 w 784"/>
                <a:gd name="T21" fmla="*/ 226484 h 430"/>
                <a:gd name="T22" fmla="*/ 247990 w 784"/>
                <a:gd name="T23" fmla="*/ 225956 h 430"/>
                <a:gd name="T24" fmla="*/ 238368 w 784"/>
                <a:gd name="T25" fmla="*/ 204839 h 430"/>
                <a:gd name="T26" fmla="*/ 225247 w 784"/>
                <a:gd name="T27" fmla="*/ 181610 h 430"/>
                <a:gd name="T28" fmla="*/ 209064 w 784"/>
                <a:gd name="T29" fmla="*/ 176330 h 430"/>
                <a:gd name="T30" fmla="*/ 195943 w 784"/>
                <a:gd name="T31" fmla="*/ 166299 h 430"/>
                <a:gd name="T32" fmla="*/ 182384 w 784"/>
                <a:gd name="T33" fmla="*/ 155213 h 430"/>
                <a:gd name="T34" fmla="*/ 163140 w 784"/>
                <a:gd name="T35" fmla="*/ 144654 h 430"/>
                <a:gd name="T36" fmla="*/ 133836 w 784"/>
                <a:gd name="T37" fmla="*/ 136207 h 430"/>
                <a:gd name="T38" fmla="*/ 79602 w 784"/>
                <a:gd name="T39" fmla="*/ 149406 h 430"/>
                <a:gd name="T40" fmla="*/ 66043 w 784"/>
                <a:gd name="T41" fmla="*/ 161548 h 430"/>
                <a:gd name="T42" fmla="*/ 55546 w 784"/>
                <a:gd name="T43" fmla="*/ 162604 h 430"/>
                <a:gd name="T44" fmla="*/ 28867 w 784"/>
                <a:gd name="T45" fmla="*/ 133040 h 430"/>
                <a:gd name="T46" fmla="*/ 28867 w 784"/>
                <a:gd name="T47" fmla="*/ 107699 h 430"/>
                <a:gd name="T48" fmla="*/ 17495 w 784"/>
                <a:gd name="T49" fmla="*/ 94500 h 430"/>
                <a:gd name="T50" fmla="*/ 18370 w 784"/>
                <a:gd name="T51" fmla="*/ 105059 h 430"/>
                <a:gd name="T52" fmla="*/ 15745 w 784"/>
                <a:gd name="T53" fmla="*/ 115090 h 430"/>
                <a:gd name="T54" fmla="*/ 13121 w 784"/>
                <a:gd name="T55" fmla="*/ 116674 h 430"/>
                <a:gd name="T56" fmla="*/ 13559 w 784"/>
                <a:gd name="T57" fmla="*/ 107171 h 430"/>
                <a:gd name="T58" fmla="*/ 11809 w 784"/>
                <a:gd name="T59" fmla="*/ 91861 h 430"/>
                <a:gd name="T60" fmla="*/ 14433 w 784"/>
                <a:gd name="T61" fmla="*/ 86053 h 430"/>
                <a:gd name="T62" fmla="*/ 17495 w 784"/>
                <a:gd name="T63" fmla="*/ 80246 h 430"/>
                <a:gd name="T64" fmla="*/ 11809 w 784"/>
                <a:gd name="T65" fmla="*/ 68104 h 430"/>
                <a:gd name="T66" fmla="*/ 3062 w 784"/>
                <a:gd name="T67" fmla="*/ 66520 h 430"/>
                <a:gd name="T68" fmla="*/ 0 w 784"/>
                <a:gd name="T69" fmla="*/ 61768 h 430"/>
                <a:gd name="T70" fmla="*/ 1312 w 784"/>
                <a:gd name="T71" fmla="*/ 54905 h 430"/>
                <a:gd name="T72" fmla="*/ 4811 w 784"/>
                <a:gd name="T73" fmla="*/ 49626 h 430"/>
                <a:gd name="T74" fmla="*/ 11809 w 784"/>
                <a:gd name="T75" fmla="*/ 48570 h 430"/>
                <a:gd name="T76" fmla="*/ 17932 w 784"/>
                <a:gd name="T77" fmla="*/ 52266 h 430"/>
                <a:gd name="T78" fmla="*/ 24930 w 784"/>
                <a:gd name="T79" fmla="*/ 54905 h 430"/>
                <a:gd name="T80" fmla="*/ 31053 w 784"/>
                <a:gd name="T81" fmla="*/ 48570 h 430"/>
                <a:gd name="T82" fmla="*/ 36302 w 784"/>
                <a:gd name="T83" fmla="*/ 40651 h 430"/>
                <a:gd name="T84" fmla="*/ 38051 w 784"/>
                <a:gd name="T85" fmla="*/ 33788 h 430"/>
                <a:gd name="T86" fmla="*/ 34115 w 784"/>
                <a:gd name="T87" fmla="*/ 29036 h 430"/>
                <a:gd name="T88" fmla="*/ 24055 w 784"/>
                <a:gd name="T89" fmla="*/ 25869 h 430"/>
                <a:gd name="T90" fmla="*/ 20557 w 784"/>
                <a:gd name="T91" fmla="*/ 21117 h 430"/>
                <a:gd name="T92" fmla="*/ 17932 w 784"/>
                <a:gd name="T93" fmla="*/ 14782 h 430"/>
                <a:gd name="T94" fmla="*/ 46799 w 784"/>
                <a:gd name="T95" fmla="*/ 22701 h 430"/>
                <a:gd name="T96" fmla="*/ 95785 w 784"/>
                <a:gd name="T97" fmla="*/ 39067 h 430"/>
                <a:gd name="T98" fmla="*/ 119403 w 784"/>
                <a:gd name="T99" fmla="*/ 0 h 430"/>
                <a:gd name="T100" fmla="*/ 163140 w 784"/>
                <a:gd name="T101" fmla="*/ 22701 h 430"/>
                <a:gd name="T102" fmla="*/ 203378 w 784"/>
                <a:gd name="T103" fmla="*/ 48570 h 430"/>
                <a:gd name="T104" fmla="*/ 258487 w 784"/>
                <a:gd name="T105" fmla="*/ 110866 h 430"/>
                <a:gd name="T106" fmla="*/ 316658 w 784"/>
                <a:gd name="T107" fmla="*/ 139903 h 430"/>
                <a:gd name="T108" fmla="*/ 340276 w 784"/>
                <a:gd name="T109" fmla="*/ 155741 h 4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58" name="Freeform 353">
              <a:extLst>
                <a:ext uri="{FF2B5EF4-FFF2-40B4-BE49-F238E27FC236}">
                  <a16:creationId xmlns:a16="http://schemas.microsoft.com/office/drawing/2014/main" xmlns="" id="{E82903E4-1C19-1602-D289-B01DDA6214D3}"/>
                </a:ext>
              </a:extLst>
            </p:cNvPr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4390998" y="1437707"/>
              <a:ext cx="93389" cy="109234"/>
            </a:xfrm>
            <a:custGeom>
              <a:avLst/>
              <a:gdLst>
                <a:gd name="T0" fmla="*/ 13165 w 246"/>
                <a:gd name="T1" fmla="*/ 14187 h 284"/>
                <a:gd name="T2" fmla="*/ 12287 w 246"/>
                <a:gd name="T3" fmla="*/ 12611 h 284"/>
                <a:gd name="T4" fmla="*/ 10532 w 246"/>
                <a:gd name="T5" fmla="*/ 8932 h 284"/>
                <a:gd name="T6" fmla="*/ 15359 w 246"/>
                <a:gd name="T7" fmla="*/ 2627 h 284"/>
                <a:gd name="T8" fmla="*/ 29401 w 246"/>
                <a:gd name="T9" fmla="*/ 525 h 284"/>
                <a:gd name="T10" fmla="*/ 55291 w 246"/>
                <a:gd name="T11" fmla="*/ 6305 h 284"/>
                <a:gd name="T12" fmla="*/ 57486 w 246"/>
                <a:gd name="T13" fmla="*/ 15763 h 284"/>
                <a:gd name="T14" fmla="*/ 60996 w 246"/>
                <a:gd name="T15" fmla="*/ 24170 h 284"/>
                <a:gd name="T16" fmla="*/ 66262 w 246"/>
                <a:gd name="T17" fmla="*/ 29950 h 284"/>
                <a:gd name="T18" fmla="*/ 72405 w 246"/>
                <a:gd name="T19" fmla="*/ 35204 h 284"/>
                <a:gd name="T20" fmla="*/ 83815 w 246"/>
                <a:gd name="T21" fmla="*/ 45713 h 284"/>
                <a:gd name="T22" fmla="*/ 89081 w 246"/>
                <a:gd name="T23" fmla="*/ 53069 h 284"/>
                <a:gd name="T24" fmla="*/ 93030 w 246"/>
                <a:gd name="T25" fmla="*/ 61476 h 284"/>
                <a:gd name="T26" fmla="*/ 99174 w 246"/>
                <a:gd name="T27" fmla="*/ 61476 h 284"/>
                <a:gd name="T28" fmla="*/ 96979 w 246"/>
                <a:gd name="T29" fmla="*/ 65155 h 284"/>
                <a:gd name="T30" fmla="*/ 96979 w 246"/>
                <a:gd name="T31" fmla="*/ 67782 h 284"/>
                <a:gd name="T32" fmla="*/ 100051 w 246"/>
                <a:gd name="T33" fmla="*/ 73562 h 284"/>
                <a:gd name="T34" fmla="*/ 104878 w 246"/>
                <a:gd name="T35" fmla="*/ 80918 h 284"/>
                <a:gd name="T36" fmla="*/ 107072 w 246"/>
                <a:gd name="T37" fmla="*/ 85121 h 284"/>
                <a:gd name="T38" fmla="*/ 107950 w 246"/>
                <a:gd name="T39" fmla="*/ 90901 h 284"/>
                <a:gd name="T40" fmla="*/ 105756 w 246"/>
                <a:gd name="T41" fmla="*/ 96681 h 284"/>
                <a:gd name="T42" fmla="*/ 102245 w 246"/>
                <a:gd name="T43" fmla="*/ 100885 h 284"/>
                <a:gd name="T44" fmla="*/ 97857 w 246"/>
                <a:gd name="T45" fmla="*/ 104037 h 284"/>
                <a:gd name="T46" fmla="*/ 96541 w 246"/>
                <a:gd name="T47" fmla="*/ 107190 h 284"/>
                <a:gd name="T48" fmla="*/ 82937 w 246"/>
                <a:gd name="T49" fmla="*/ 112970 h 284"/>
                <a:gd name="T50" fmla="*/ 71967 w 246"/>
                <a:gd name="T51" fmla="*/ 120851 h 284"/>
                <a:gd name="T52" fmla="*/ 49587 w 246"/>
                <a:gd name="T53" fmla="*/ 139242 h 284"/>
                <a:gd name="T54" fmla="*/ 38616 w 246"/>
                <a:gd name="T55" fmla="*/ 121377 h 284"/>
                <a:gd name="T56" fmla="*/ 34667 w 246"/>
                <a:gd name="T57" fmla="*/ 115597 h 284"/>
                <a:gd name="T58" fmla="*/ 31595 w 246"/>
                <a:gd name="T59" fmla="*/ 113495 h 284"/>
                <a:gd name="T60" fmla="*/ 26329 w 246"/>
                <a:gd name="T61" fmla="*/ 114021 h 284"/>
                <a:gd name="T62" fmla="*/ 23696 w 246"/>
                <a:gd name="T63" fmla="*/ 116122 h 284"/>
                <a:gd name="T64" fmla="*/ 21502 w 246"/>
                <a:gd name="T65" fmla="*/ 119800 h 284"/>
                <a:gd name="T66" fmla="*/ 21063 w 246"/>
                <a:gd name="T67" fmla="*/ 124004 h 284"/>
                <a:gd name="T68" fmla="*/ 19747 w 246"/>
                <a:gd name="T69" fmla="*/ 135038 h 284"/>
                <a:gd name="T70" fmla="*/ 17992 w 246"/>
                <a:gd name="T71" fmla="*/ 141869 h 284"/>
                <a:gd name="T72" fmla="*/ 14481 w 246"/>
                <a:gd name="T73" fmla="*/ 149225 h 284"/>
                <a:gd name="T74" fmla="*/ 11409 w 246"/>
                <a:gd name="T75" fmla="*/ 127682 h 284"/>
                <a:gd name="T76" fmla="*/ 7460 w 246"/>
                <a:gd name="T77" fmla="*/ 119275 h 284"/>
                <a:gd name="T78" fmla="*/ 4827 w 246"/>
                <a:gd name="T79" fmla="*/ 116122 h 284"/>
                <a:gd name="T80" fmla="*/ 0 w 246"/>
                <a:gd name="T81" fmla="*/ 113495 h 284"/>
                <a:gd name="T82" fmla="*/ 439 w 246"/>
                <a:gd name="T83" fmla="*/ 107190 h 284"/>
                <a:gd name="T84" fmla="*/ 1755 w 246"/>
                <a:gd name="T85" fmla="*/ 101410 h 284"/>
                <a:gd name="T86" fmla="*/ 6582 w 246"/>
                <a:gd name="T87" fmla="*/ 92477 h 284"/>
                <a:gd name="T88" fmla="*/ 13603 w 246"/>
                <a:gd name="T89" fmla="*/ 84596 h 284"/>
                <a:gd name="T90" fmla="*/ 20186 w 246"/>
                <a:gd name="T91" fmla="*/ 74087 h 284"/>
                <a:gd name="T92" fmla="*/ 14481 w 246"/>
                <a:gd name="T93" fmla="*/ 23119 h 28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59" name="Freeform 354">
              <a:extLst>
                <a:ext uri="{FF2B5EF4-FFF2-40B4-BE49-F238E27FC236}">
                  <a16:creationId xmlns:a16="http://schemas.microsoft.com/office/drawing/2014/main" xmlns="" id="{0001149D-399D-2B7B-01A1-F720B88E9647}"/>
                </a:ext>
              </a:extLst>
            </p:cNvPr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4432200" y="1516726"/>
              <a:ext cx="59056" cy="44158"/>
            </a:xfrm>
            <a:custGeom>
              <a:avLst/>
              <a:gdLst>
                <a:gd name="T0" fmla="*/ 48637 w 160"/>
                <a:gd name="T1" fmla="*/ 0 h 117"/>
                <a:gd name="T2" fmla="*/ 48637 w 160"/>
                <a:gd name="T3" fmla="*/ 4640 h 117"/>
                <a:gd name="T4" fmla="*/ 48637 w 160"/>
                <a:gd name="T5" fmla="*/ 9281 h 117"/>
                <a:gd name="T6" fmla="*/ 49064 w 160"/>
                <a:gd name="T7" fmla="*/ 12890 h 117"/>
                <a:gd name="T8" fmla="*/ 49917 w 160"/>
                <a:gd name="T9" fmla="*/ 16499 h 117"/>
                <a:gd name="T10" fmla="*/ 50771 w 160"/>
                <a:gd name="T11" fmla="*/ 17530 h 117"/>
                <a:gd name="T12" fmla="*/ 51624 w 160"/>
                <a:gd name="T13" fmla="*/ 19077 h 117"/>
                <a:gd name="T14" fmla="*/ 52477 w 160"/>
                <a:gd name="T15" fmla="*/ 19593 h 117"/>
                <a:gd name="T16" fmla="*/ 54184 w 160"/>
                <a:gd name="T17" fmla="*/ 20108 h 117"/>
                <a:gd name="T18" fmla="*/ 55890 w 160"/>
                <a:gd name="T19" fmla="*/ 20624 h 117"/>
                <a:gd name="T20" fmla="*/ 57597 w 160"/>
                <a:gd name="T21" fmla="*/ 20108 h 117"/>
                <a:gd name="T22" fmla="*/ 59730 w 160"/>
                <a:gd name="T23" fmla="*/ 19593 h 117"/>
                <a:gd name="T24" fmla="*/ 62290 w 160"/>
                <a:gd name="T25" fmla="*/ 18562 h 117"/>
                <a:gd name="T26" fmla="*/ 63570 w 160"/>
                <a:gd name="T27" fmla="*/ 22171 h 117"/>
                <a:gd name="T28" fmla="*/ 65276 w 160"/>
                <a:gd name="T29" fmla="*/ 26811 h 117"/>
                <a:gd name="T30" fmla="*/ 66983 w 160"/>
                <a:gd name="T31" fmla="*/ 32998 h 117"/>
                <a:gd name="T32" fmla="*/ 68263 w 160"/>
                <a:gd name="T33" fmla="*/ 38154 h 117"/>
                <a:gd name="T34" fmla="*/ 56744 w 160"/>
                <a:gd name="T35" fmla="*/ 45373 h 117"/>
                <a:gd name="T36" fmla="*/ 45224 w 160"/>
                <a:gd name="T37" fmla="*/ 52591 h 117"/>
                <a:gd name="T38" fmla="*/ 39251 w 160"/>
                <a:gd name="T39" fmla="*/ 55169 h 117"/>
                <a:gd name="T40" fmla="*/ 32425 w 160"/>
                <a:gd name="T41" fmla="*/ 58263 h 117"/>
                <a:gd name="T42" fmla="*/ 26452 w 160"/>
                <a:gd name="T43" fmla="*/ 59809 h 117"/>
                <a:gd name="T44" fmla="*/ 20052 w 160"/>
                <a:gd name="T45" fmla="*/ 60325 h 117"/>
                <a:gd name="T46" fmla="*/ 13653 w 160"/>
                <a:gd name="T47" fmla="*/ 51044 h 117"/>
                <a:gd name="T48" fmla="*/ 8960 w 160"/>
                <a:gd name="T49" fmla="*/ 42795 h 117"/>
                <a:gd name="T50" fmla="*/ 4266 w 160"/>
                <a:gd name="T51" fmla="*/ 35576 h 117"/>
                <a:gd name="T52" fmla="*/ 0 w 160"/>
                <a:gd name="T53" fmla="*/ 28358 h 117"/>
                <a:gd name="T54" fmla="*/ 5546 w 160"/>
                <a:gd name="T55" fmla="*/ 24749 h 117"/>
                <a:gd name="T56" fmla="*/ 17492 w 160"/>
                <a:gd name="T57" fmla="*/ 16499 h 117"/>
                <a:gd name="T58" fmla="*/ 25599 w 160"/>
                <a:gd name="T59" fmla="*/ 11859 h 117"/>
                <a:gd name="T60" fmla="*/ 33278 w 160"/>
                <a:gd name="T61" fmla="*/ 7218 h 117"/>
                <a:gd name="T62" fmla="*/ 41384 w 160"/>
                <a:gd name="T63" fmla="*/ 3094 h 117"/>
                <a:gd name="T64" fmla="*/ 48637 w 160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60" name="Freeform 355">
              <a:extLst>
                <a:ext uri="{FF2B5EF4-FFF2-40B4-BE49-F238E27FC236}">
                  <a16:creationId xmlns:a16="http://schemas.microsoft.com/office/drawing/2014/main" xmlns="" id="{8E4D8F4F-5014-00F3-D61B-A61BAA8BB639}"/>
                </a:ext>
              </a:extLst>
            </p:cNvPr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4504988" y="1973416"/>
              <a:ext cx="355704" cy="447391"/>
            </a:xfrm>
            <a:custGeom>
              <a:avLst/>
              <a:gdLst>
                <a:gd name="T0" fmla="*/ 323523 w 943"/>
                <a:gd name="T1" fmla="*/ 2607 h 1172"/>
                <a:gd name="T2" fmla="*/ 333551 w 943"/>
                <a:gd name="T3" fmla="*/ 11994 h 1172"/>
                <a:gd name="T4" fmla="*/ 350120 w 943"/>
                <a:gd name="T5" fmla="*/ 15645 h 1172"/>
                <a:gd name="T6" fmla="*/ 354916 w 943"/>
                <a:gd name="T7" fmla="*/ 28682 h 1172"/>
                <a:gd name="T8" fmla="*/ 364072 w 943"/>
                <a:gd name="T9" fmla="*/ 56842 h 1172"/>
                <a:gd name="T10" fmla="*/ 364944 w 943"/>
                <a:gd name="T11" fmla="*/ 97519 h 1172"/>
                <a:gd name="T12" fmla="*/ 373665 w 943"/>
                <a:gd name="T13" fmla="*/ 126722 h 1172"/>
                <a:gd name="T14" fmla="*/ 402006 w 943"/>
                <a:gd name="T15" fmla="*/ 152275 h 1172"/>
                <a:gd name="T16" fmla="*/ 383257 w 943"/>
                <a:gd name="T17" fmla="*/ 188258 h 1172"/>
                <a:gd name="T18" fmla="*/ 371049 w 943"/>
                <a:gd name="T19" fmla="*/ 213811 h 1172"/>
                <a:gd name="T20" fmla="*/ 352736 w 943"/>
                <a:gd name="T21" fmla="*/ 331147 h 1172"/>
                <a:gd name="T22" fmla="*/ 335731 w 943"/>
                <a:gd name="T23" fmla="*/ 353049 h 1172"/>
                <a:gd name="T24" fmla="*/ 332679 w 943"/>
                <a:gd name="T25" fmla="*/ 375995 h 1172"/>
                <a:gd name="T26" fmla="*/ 324831 w 943"/>
                <a:gd name="T27" fmla="*/ 383296 h 1172"/>
                <a:gd name="T28" fmla="*/ 315239 w 943"/>
                <a:gd name="T29" fmla="*/ 416150 h 1172"/>
                <a:gd name="T30" fmla="*/ 301722 w 943"/>
                <a:gd name="T31" fmla="*/ 457347 h 1172"/>
                <a:gd name="T32" fmla="*/ 288642 w 943"/>
                <a:gd name="T33" fmla="*/ 470906 h 1172"/>
                <a:gd name="T34" fmla="*/ 289514 w 943"/>
                <a:gd name="T35" fmla="*/ 487072 h 1172"/>
                <a:gd name="T36" fmla="*/ 299106 w 943"/>
                <a:gd name="T37" fmla="*/ 489680 h 1172"/>
                <a:gd name="T38" fmla="*/ 309135 w 943"/>
                <a:gd name="T39" fmla="*/ 495416 h 1172"/>
                <a:gd name="T40" fmla="*/ 323523 w 943"/>
                <a:gd name="T41" fmla="*/ 506367 h 1172"/>
                <a:gd name="T42" fmla="*/ 329627 w 943"/>
                <a:gd name="T43" fmla="*/ 525141 h 1172"/>
                <a:gd name="T44" fmla="*/ 337912 w 943"/>
                <a:gd name="T45" fmla="*/ 543915 h 1172"/>
                <a:gd name="T46" fmla="*/ 350120 w 943"/>
                <a:gd name="T47" fmla="*/ 549130 h 1172"/>
                <a:gd name="T48" fmla="*/ 352736 w 943"/>
                <a:gd name="T49" fmla="*/ 570511 h 1172"/>
                <a:gd name="T50" fmla="*/ 313059 w 943"/>
                <a:gd name="T51" fmla="*/ 581462 h 1172"/>
                <a:gd name="T52" fmla="*/ 299542 w 943"/>
                <a:gd name="T53" fmla="*/ 603365 h 1172"/>
                <a:gd name="T54" fmla="*/ 260737 w 943"/>
                <a:gd name="T55" fmla="*/ 610144 h 1172"/>
                <a:gd name="T56" fmla="*/ 224548 w 943"/>
                <a:gd name="T57" fmla="*/ 603886 h 1172"/>
                <a:gd name="T58" fmla="*/ 202311 w 943"/>
                <a:gd name="T59" fmla="*/ 585634 h 1172"/>
                <a:gd name="T60" fmla="*/ 170046 w 943"/>
                <a:gd name="T61" fmla="*/ 586677 h 1172"/>
                <a:gd name="T62" fmla="*/ 139089 w 943"/>
                <a:gd name="T63" fmla="*/ 584069 h 1172"/>
                <a:gd name="T64" fmla="*/ 129496 w 943"/>
                <a:gd name="T65" fmla="*/ 575726 h 1172"/>
                <a:gd name="T66" fmla="*/ 128188 w 943"/>
                <a:gd name="T67" fmla="*/ 560602 h 1172"/>
                <a:gd name="T68" fmla="*/ 119468 w 943"/>
                <a:gd name="T69" fmla="*/ 536614 h 1172"/>
                <a:gd name="T70" fmla="*/ 94179 w 943"/>
                <a:gd name="T71" fmla="*/ 507932 h 1172"/>
                <a:gd name="T72" fmla="*/ 84151 w 943"/>
                <a:gd name="T73" fmla="*/ 482379 h 1172"/>
                <a:gd name="T74" fmla="*/ 66274 w 943"/>
                <a:gd name="T75" fmla="*/ 470906 h 1172"/>
                <a:gd name="T76" fmla="*/ 52322 w 943"/>
                <a:gd name="T77" fmla="*/ 441181 h 1172"/>
                <a:gd name="T78" fmla="*/ 42293 w 943"/>
                <a:gd name="T79" fmla="*/ 410935 h 1172"/>
                <a:gd name="T80" fmla="*/ 28341 w 943"/>
                <a:gd name="T81" fmla="*/ 395290 h 1172"/>
                <a:gd name="T82" fmla="*/ 14388 w 943"/>
                <a:gd name="T83" fmla="*/ 352528 h 1172"/>
                <a:gd name="T84" fmla="*/ 1744 w 943"/>
                <a:gd name="T85" fmla="*/ 318631 h 1172"/>
                <a:gd name="T86" fmla="*/ 7848 w 943"/>
                <a:gd name="T87" fmla="*/ 300900 h 1172"/>
                <a:gd name="T88" fmla="*/ 12644 w 943"/>
                <a:gd name="T89" fmla="*/ 271697 h 1172"/>
                <a:gd name="T90" fmla="*/ 27905 w 943"/>
                <a:gd name="T91" fmla="*/ 247187 h 1172"/>
                <a:gd name="T92" fmla="*/ 49270 w 943"/>
                <a:gd name="T93" fmla="*/ 115771 h 1172"/>
                <a:gd name="T94" fmla="*/ 53630 w 943"/>
                <a:gd name="T95" fmla="*/ 93347 h 1172"/>
                <a:gd name="T96" fmla="*/ 66710 w 943"/>
                <a:gd name="T97" fmla="*/ 89175 h 1172"/>
                <a:gd name="T98" fmla="*/ 69762 w 943"/>
                <a:gd name="T99" fmla="*/ 63622 h 1172"/>
                <a:gd name="T100" fmla="*/ 69326 w 943"/>
                <a:gd name="T101" fmla="*/ 34940 h 1172"/>
                <a:gd name="T102" fmla="*/ 296054 w 943"/>
                <a:gd name="T103" fmla="*/ 35983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61" name="Freeform 356">
              <a:extLst>
                <a:ext uri="{FF2B5EF4-FFF2-40B4-BE49-F238E27FC236}">
                  <a16:creationId xmlns:a16="http://schemas.microsoft.com/office/drawing/2014/main" xmlns="" id="{5F0E4715-B69D-93F9-143E-A0A5CDB372F0}"/>
                </a:ext>
              </a:extLst>
            </p:cNvPr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4923868" y="2222095"/>
              <a:ext cx="211500" cy="316079"/>
            </a:xfrm>
            <a:custGeom>
              <a:avLst/>
              <a:gdLst>
                <a:gd name="T0" fmla="*/ 43091 w 556"/>
                <a:gd name="T1" fmla="*/ 32688 h 819"/>
                <a:gd name="T2" fmla="*/ 49247 w 556"/>
                <a:gd name="T3" fmla="*/ 29525 h 819"/>
                <a:gd name="T4" fmla="*/ 56722 w 556"/>
                <a:gd name="T5" fmla="*/ 36379 h 819"/>
                <a:gd name="T6" fmla="*/ 65516 w 556"/>
                <a:gd name="T7" fmla="*/ 44814 h 819"/>
                <a:gd name="T8" fmla="*/ 75189 w 556"/>
                <a:gd name="T9" fmla="*/ 48505 h 819"/>
                <a:gd name="T10" fmla="*/ 94536 w 556"/>
                <a:gd name="T11" fmla="*/ 46396 h 819"/>
                <a:gd name="T12" fmla="*/ 113004 w 556"/>
                <a:gd name="T13" fmla="*/ 43233 h 819"/>
                <a:gd name="T14" fmla="*/ 127954 w 556"/>
                <a:gd name="T15" fmla="*/ 41651 h 819"/>
                <a:gd name="T16" fmla="*/ 132351 w 556"/>
                <a:gd name="T17" fmla="*/ 39015 h 819"/>
                <a:gd name="T18" fmla="*/ 132351 w 556"/>
                <a:gd name="T19" fmla="*/ 35852 h 819"/>
                <a:gd name="T20" fmla="*/ 156095 w 556"/>
                <a:gd name="T21" fmla="*/ 33215 h 819"/>
                <a:gd name="T22" fmla="*/ 190831 w 556"/>
                <a:gd name="T23" fmla="*/ 23725 h 819"/>
                <a:gd name="T24" fmla="*/ 210618 w 556"/>
                <a:gd name="T25" fmla="*/ 14762 h 819"/>
                <a:gd name="T26" fmla="*/ 226007 w 556"/>
                <a:gd name="T27" fmla="*/ 4218 h 819"/>
                <a:gd name="T28" fmla="*/ 240518 w 556"/>
                <a:gd name="T29" fmla="*/ 16344 h 819"/>
                <a:gd name="T30" fmla="*/ 244035 w 556"/>
                <a:gd name="T31" fmla="*/ 30052 h 819"/>
                <a:gd name="T32" fmla="*/ 242716 w 556"/>
                <a:gd name="T33" fmla="*/ 59577 h 819"/>
                <a:gd name="T34" fmla="*/ 233922 w 556"/>
                <a:gd name="T35" fmla="*/ 91738 h 819"/>
                <a:gd name="T36" fmla="*/ 220731 w 556"/>
                <a:gd name="T37" fmla="*/ 121790 h 819"/>
                <a:gd name="T38" fmla="*/ 196547 w 556"/>
                <a:gd name="T39" fmla="*/ 169240 h 819"/>
                <a:gd name="T40" fmla="*/ 185994 w 556"/>
                <a:gd name="T41" fmla="*/ 197711 h 819"/>
                <a:gd name="T42" fmla="*/ 180278 w 556"/>
                <a:gd name="T43" fmla="*/ 218800 h 819"/>
                <a:gd name="T44" fmla="*/ 166648 w 556"/>
                <a:gd name="T45" fmla="*/ 249379 h 819"/>
                <a:gd name="T46" fmla="*/ 145102 w 556"/>
                <a:gd name="T47" fmla="*/ 279958 h 819"/>
                <a:gd name="T48" fmla="*/ 126635 w 556"/>
                <a:gd name="T49" fmla="*/ 298411 h 819"/>
                <a:gd name="T50" fmla="*/ 105089 w 556"/>
                <a:gd name="T51" fmla="*/ 316337 h 819"/>
                <a:gd name="T52" fmla="*/ 73870 w 556"/>
                <a:gd name="T53" fmla="*/ 343226 h 819"/>
                <a:gd name="T54" fmla="*/ 62878 w 556"/>
                <a:gd name="T55" fmla="*/ 358515 h 819"/>
                <a:gd name="T56" fmla="*/ 57601 w 556"/>
                <a:gd name="T57" fmla="*/ 369060 h 819"/>
                <a:gd name="T58" fmla="*/ 51006 w 556"/>
                <a:gd name="T59" fmla="*/ 378023 h 819"/>
                <a:gd name="T60" fmla="*/ 31219 w 556"/>
                <a:gd name="T61" fmla="*/ 392785 h 819"/>
                <a:gd name="T62" fmla="*/ 8354 w 556"/>
                <a:gd name="T63" fmla="*/ 422310 h 819"/>
                <a:gd name="T64" fmla="*/ 879 w 556"/>
                <a:gd name="T65" fmla="*/ 297357 h 819"/>
                <a:gd name="T66" fmla="*/ 1319 w 556"/>
                <a:gd name="T67" fmla="*/ 292084 h 819"/>
                <a:gd name="T68" fmla="*/ 11872 w 556"/>
                <a:gd name="T69" fmla="*/ 281013 h 819"/>
                <a:gd name="T70" fmla="*/ 18468 w 556"/>
                <a:gd name="T71" fmla="*/ 272050 h 819"/>
                <a:gd name="T72" fmla="*/ 26382 w 556"/>
                <a:gd name="T73" fmla="*/ 262032 h 819"/>
                <a:gd name="T74" fmla="*/ 48807 w 556"/>
                <a:gd name="T75" fmla="*/ 253070 h 819"/>
                <a:gd name="T76" fmla="*/ 52325 w 556"/>
                <a:gd name="T77" fmla="*/ 247797 h 819"/>
                <a:gd name="T78" fmla="*/ 56722 w 556"/>
                <a:gd name="T79" fmla="*/ 238307 h 819"/>
                <a:gd name="T80" fmla="*/ 66835 w 556"/>
                <a:gd name="T81" fmla="*/ 231980 h 819"/>
                <a:gd name="T82" fmla="*/ 76508 w 556"/>
                <a:gd name="T83" fmla="*/ 231453 h 819"/>
                <a:gd name="T84" fmla="*/ 86182 w 556"/>
                <a:gd name="T85" fmla="*/ 231453 h 819"/>
                <a:gd name="T86" fmla="*/ 100252 w 556"/>
                <a:gd name="T87" fmla="*/ 226181 h 819"/>
                <a:gd name="T88" fmla="*/ 110366 w 556"/>
                <a:gd name="T89" fmla="*/ 213527 h 819"/>
                <a:gd name="T90" fmla="*/ 116521 w 556"/>
                <a:gd name="T91" fmla="*/ 199820 h 819"/>
                <a:gd name="T92" fmla="*/ 130152 w 556"/>
                <a:gd name="T93" fmla="*/ 182948 h 819"/>
                <a:gd name="T94" fmla="*/ 155655 w 556"/>
                <a:gd name="T95" fmla="*/ 154478 h 819"/>
                <a:gd name="T96" fmla="*/ 165768 w 556"/>
                <a:gd name="T97" fmla="*/ 140243 h 819"/>
                <a:gd name="T98" fmla="*/ 142464 w 556"/>
                <a:gd name="T99" fmla="*/ 129698 h 819"/>
                <a:gd name="T100" fmla="*/ 113004 w 556"/>
                <a:gd name="T101" fmla="*/ 120208 h 819"/>
                <a:gd name="T102" fmla="*/ 80905 w 556"/>
                <a:gd name="T103" fmla="*/ 110191 h 819"/>
                <a:gd name="T104" fmla="*/ 65516 w 556"/>
                <a:gd name="T105" fmla="*/ 98592 h 819"/>
                <a:gd name="T106" fmla="*/ 49247 w 556"/>
                <a:gd name="T107" fmla="*/ 81193 h 819"/>
                <a:gd name="T108" fmla="*/ 39134 w 556"/>
                <a:gd name="T109" fmla="*/ 63795 h 819"/>
                <a:gd name="T110" fmla="*/ 33857 w 556"/>
                <a:gd name="T111" fmla="*/ 42178 h 819"/>
                <a:gd name="T112" fmla="*/ 28581 w 556"/>
                <a:gd name="T113" fmla="*/ 45869 h 819"/>
                <a:gd name="T114" fmla="*/ 36935 w 556"/>
                <a:gd name="T115" fmla="*/ 35852 h 81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62" name="Freeform 357">
              <a:extLst>
                <a:ext uri="{FF2B5EF4-FFF2-40B4-BE49-F238E27FC236}">
                  <a16:creationId xmlns:a16="http://schemas.microsoft.com/office/drawing/2014/main" xmlns="" id="{62670897-066D-C7DD-55EC-DDFB4EFC2E9D}"/>
                </a:ext>
              </a:extLst>
            </p:cNvPr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4930735" y="2212799"/>
              <a:ext cx="32961" cy="42996"/>
            </a:xfrm>
            <a:custGeom>
              <a:avLst/>
              <a:gdLst>
                <a:gd name="T0" fmla="*/ 26138 w 86"/>
                <a:gd name="T1" fmla="*/ 0 h 97"/>
                <a:gd name="T2" fmla="*/ 24809 w 86"/>
                <a:gd name="T3" fmla="*/ 1211 h 97"/>
                <a:gd name="T4" fmla="*/ 23037 w 86"/>
                <a:gd name="T5" fmla="*/ 1817 h 97"/>
                <a:gd name="T6" fmla="*/ 20379 w 86"/>
                <a:gd name="T7" fmla="*/ 1817 h 97"/>
                <a:gd name="T8" fmla="*/ 17721 w 86"/>
                <a:gd name="T9" fmla="*/ 1817 h 97"/>
                <a:gd name="T10" fmla="*/ 14620 w 86"/>
                <a:gd name="T11" fmla="*/ 1817 h 97"/>
                <a:gd name="T12" fmla="*/ 11962 w 86"/>
                <a:gd name="T13" fmla="*/ 1817 h 97"/>
                <a:gd name="T14" fmla="*/ 10190 w 86"/>
                <a:gd name="T15" fmla="*/ 2422 h 97"/>
                <a:gd name="T16" fmla="*/ 8860 w 86"/>
                <a:gd name="T17" fmla="*/ 3633 h 97"/>
                <a:gd name="T18" fmla="*/ 7088 w 86"/>
                <a:gd name="T19" fmla="*/ 5450 h 97"/>
                <a:gd name="T20" fmla="*/ 5759 w 86"/>
                <a:gd name="T21" fmla="*/ 7266 h 97"/>
                <a:gd name="T22" fmla="*/ 4873 w 86"/>
                <a:gd name="T23" fmla="*/ 9083 h 97"/>
                <a:gd name="T24" fmla="*/ 3544 w 86"/>
                <a:gd name="T25" fmla="*/ 12111 h 97"/>
                <a:gd name="T26" fmla="*/ 1772 w 86"/>
                <a:gd name="T27" fmla="*/ 17561 h 97"/>
                <a:gd name="T28" fmla="*/ 886 w 86"/>
                <a:gd name="T29" fmla="*/ 23010 h 97"/>
                <a:gd name="T30" fmla="*/ 0 w 86"/>
                <a:gd name="T31" fmla="*/ 34516 h 97"/>
                <a:gd name="T32" fmla="*/ 0 w 86"/>
                <a:gd name="T33" fmla="*/ 45415 h 97"/>
                <a:gd name="T34" fmla="*/ 0 w 86"/>
                <a:gd name="T35" fmla="*/ 49048 h 97"/>
                <a:gd name="T36" fmla="*/ 443 w 86"/>
                <a:gd name="T37" fmla="*/ 52076 h 97"/>
                <a:gd name="T38" fmla="*/ 1329 w 86"/>
                <a:gd name="T39" fmla="*/ 54498 h 97"/>
                <a:gd name="T40" fmla="*/ 3101 w 86"/>
                <a:gd name="T41" fmla="*/ 56315 h 97"/>
                <a:gd name="T42" fmla="*/ 4430 w 86"/>
                <a:gd name="T43" fmla="*/ 57526 h 97"/>
                <a:gd name="T44" fmla="*/ 5759 w 86"/>
                <a:gd name="T45" fmla="*/ 58131 h 97"/>
                <a:gd name="T46" fmla="*/ 7974 w 86"/>
                <a:gd name="T47" fmla="*/ 58737 h 97"/>
                <a:gd name="T48" fmla="*/ 9303 w 86"/>
                <a:gd name="T49" fmla="*/ 58737 h 97"/>
                <a:gd name="T50" fmla="*/ 17721 w 86"/>
                <a:gd name="T51" fmla="*/ 57526 h 97"/>
                <a:gd name="T52" fmla="*/ 23480 w 86"/>
                <a:gd name="T53" fmla="*/ 56315 h 97"/>
                <a:gd name="T54" fmla="*/ 38100 w 86"/>
                <a:gd name="T55" fmla="*/ 41176 h 97"/>
                <a:gd name="T56" fmla="*/ 26138 w 86"/>
                <a:gd name="T57" fmla="*/ 0 h 9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63" name="Freeform 358">
              <a:extLst>
                <a:ext uri="{FF2B5EF4-FFF2-40B4-BE49-F238E27FC236}">
                  <a16:creationId xmlns:a16="http://schemas.microsoft.com/office/drawing/2014/main" xmlns="" id="{89F892BD-603A-E46E-DB1B-7C98CB2A3282}"/>
                </a:ext>
              </a:extLst>
            </p:cNvPr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4756316" y="2147724"/>
              <a:ext cx="314503" cy="275407"/>
            </a:xfrm>
            <a:custGeom>
              <a:avLst/>
              <a:gdLst>
                <a:gd name="T0" fmla="*/ 78300 w 845"/>
                <a:gd name="T1" fmla="*/ 18812 h 720"/>
                <a:gd name="T2" fmla="*/ 88196 w 845"/>
                <a:gd name="T3" fmla="*/ 14631 h 720"/>
                <a:gd name="T4" fmla="*/ 106265 w 845"/>
                <a:gd name="T5" fmla="*/ 0 h 720"/>
                <a:gd name="T6" fmla="*/ 117451 w 845"/>
                <a:gd name="T7" fmla="*/ 6271 h 720"/>
                <a:gd name="T8" fmla="*/ 140683 w 845"/>
                <a:gd name="T9" fmla="*/ 19334 h 720"/>
                <a:gd name="T10" fmla="*/ 163485 w 845"/>
                <a:gd name="T11" fmla="*/ 35011 h 720"/>
                <a:gd name="T12" fmla="*/ 183275 w 845"/>
                <a:gd name="T13" fmla="*/ 51210 h 720"/>
                <a:gd name="T14" fmla="*/ 190158 w 845"/>
                <a:gd name="T15" fmla="*/ 65319 h 720"/>
                <a:gd name="T16" fmla="*/ 190589 w 845"/>
                <a:gd name="T17" fmla="*/ 73157 h 720"/>
                <a:gd name="T18" fmla="*/ 197042 w 845"/>
                <a:gd name="T19" fmla="*/ 76815 h 720"/>
                <a:gd name="T20" fmla="*/ 214681 w 845"/>
                <a:gd name="T21" fmla="*/ 93014 h 720"/>
                <a:gd name="T22" fmla="*/ 217693 w 845"/>
                <a:gd name="T23" fmla="*/ 89879 h 720"/>
                <a:gd name="T24" fmla="*/ 209949 w 845"/>
                <a:gd name="T25" fmla="*/ 96149 h 720"/>
                <a:gd name="T26" fmla="*/ 206937 w 845"/>
                <a:gd name="T27" fmla="*/ 105555 h 720"/>
                <a:gd name="T28" fmla="*/ 206937 w 845"/>
                <a:gd name="T29" fmla="*/ 131683 h 720"/>
                <a:gd name="T30" fmla="*/ 212100 w 845"/>
                <a:gd name="T31" fmla="*/ 137954 h 720"/>
                <a:gd name="T32" fmla="*/ 226297 w 845"/>
                <a:gd name="T33" fmla="*/ 138476 h 720"/>
                <a:gd name="T34" fmla="*/ 234471 w 845"/>
                <a:gd name="T35" fmla="*/ 166694 h 720"/>
                <a:gd name="T36" fmla="*/ 250820 w 845"/>
                <a:gd name="T37" fmla="*/ 188641 h 720"/>
                <a:gd name="T38" fmla="*/ 277494 w 845"/>
                <a:gd name="T39" fmla="*/ 209021 h 720"/>
                <a:gd name="T40" fmla="*/ 317504 w 845"/>
                <a:gd name="T41" fmla="*/ 224697 h 720"/>
                <a:gd name="T42" fmla="*/ 363538 w 845"/>
                <a:gd name="T43" fmla="*/ 234626 h 720"/>
                <a:gd name="T44" fmla="*/ 348910 w 845"/>
                <a:gd name="T45" fmla="*/ 251870 h 720"/>
                <a:gd name="T46" fmla="*/ 314493 w 845"/>
                <a:gd name="T47" fmla="*/ 285836 h 720"/>
                <a:gd name="T48" fmla="*/ 306318 w 845"/>
                <a:gd name="T49" fmla="*/ 302557 h 720"/>
                <a:gd name="T50" fmla="*/ 299865 w 845"/>
                <a:gd name="T51" fmla="*/ 322414 h 720"/>
                <a:gd name="T52" fmla="*/ 289970 w 845"/>
                <a:gd name="T53" fmla="*/ 328685 h 720"/>
                <a:gd name="T54" fmla="*/ 249529 w 845"/>
                <a:gd name="T55" fmla="*/ 342271 h 720"/>
                <a:gd name="T56" fmla="*/ 240494 w 845"/>
                <a:gd name="T57" fmla="*/ 350632 h 720"/>
                <a:gd name="T58" fmla="*/ 225867 w 845"/>
                <a:gd name="T59" fmla="*/ 355857 h 720"/>
                <a:gd name="T60" fmla="*/ 207367 w 845"/>
                <a:gd name="T61" fmla="*/ 362128 h 720"/>
                <a:gd name="T62" fmla="*/ 198333 w 845"/>
                <a:gd name="T63" fmla="*/ 355335 h 720"/>
                <a:gd name="T64" fmla="*/ 183705 w 845"/>
                <a:gd name="T65" fmla="*/ 354812 h 720"/>
                <a:gd name="T66" fmla="*/ 174240 w 845"/>
                <a:gd name="T67" fmla="*/ 365263 h 720"/>
                <a:gd name="T68" fmla="*/ 167787 w 845"/>
                <a:gd name="T69" fmla="*/ 373102 h 720"/>
                <a:gd name="T70" fmla="*/ 154880 w 845"/>
                <a:gd name="T71" fmla="*/ 376237 h 720"/>
                <a:gd name="T72" fmla="*/ 136811 w 845"/>
                <a:gd name="T73" fmla="*/ 373102 h 720"/>
                <a:gd name="T74" fmla="*/ 124334 w 845"/>
                <a:gd name="T75" fmla="*/ 364741 h 720"/>
                <a:gd name="T76" fmla="*/ 105835 w 845"/>
                <a:gd name="T77" fmla="*/ 350632 h 720"/>
                <a:gd name="T78" fmla="*/ 77870 w 845"/>
                <a:gd name="T79" fmla="*/ 345406 h 720"/>
                <a:gd name="T80" fmla="*/ 60231 w 845"/>
                <a:gd name="T81" fmla="*/ 341226 h 720"/>
                <a:gd name="T82" fmla="*/ 64964 w 845"/>
                <a:gd name="T83" fmla="*/ 320847 h 720"/>
                <a:gd name="T84" fmla="*/ 54638 w 845"/>
                <a:gd name="T85" fmla="*/ 311441 h 720"/>
                <a:gd name="T86" fmla="*/ 46464 w 845"/>
                <a:gd name="T87" fmla="*/ 304647 h 720"/>
                <a:gd name="T88" fmla="*/ 40011 w 845"/>
                <a:gd name="T89" fmla="*/ 287926 h 720"/>
                <a:gd name="T90" fmla="*/ 33127 w 845"/>
                <a:gd name="T91" fmla="*/ 267024 h 720"/>
                <a:gd name="T92" fmla="*/ 21081 w 845"/>
                <a:gd name="T93" fmla="*/ 255528 h 720"/>
                <a:gd name="T94" fmla="*/ 6884 w 845"/>
                <a:gd name="T95" fmla="*/ 249257 h 720"/>
                <a:gd name="T96" fmla="*/ 2151 w 845"/>
                <a:gd name="T97" fmla="*/ 246644 h 720"/>
                <a:gd name="T98" fmla="*/ 860 w 845"/>
                <a:gd name="T99" fmla="*/ 234103 h 720"/>
                <a:gd name="T100" fmla="*/ 9035 w 845"/>
                <a:gd name="T101" fmla="*/ 220517 h 720"/>
                <a:gd name="T102" fmla="*/ 23662 w 845"/>
                <a:gd name="T103" fmla="*/ 215814 h 720"/>
                <a:gd name="T104" fmla="*/ 28825 w 845"/>
                <a:gd name="T105" fmla="*/ 167739 h 720"/>
                <a:gd name="T106" fmla="*/ 35278 w 845"/>
                <a:gd name="T107" fmla="*/ 143702 h 720"/>
                <a:gd name="T108" fmla="*/ 40871 w 845"/>
                <a:gd name="T109" fmla="*/ 135863 h 720"/>
                <a:gd name="T110" fmla="*/ 44313 w 845"/>
                <a:gd name="T111" fmla="*/ 123322 h 720"/>
                <a:gd name="T112" fmla="*/ 49906 w 845"/>
                <a:gd name="T113" fmla="*/ 107646 h 720"/>
                <a:gd name="T114" fmla="*/ 63673 w 845"/>
                <a:gd name="T115" fmla="*/ 93014 h 720"/>
                <a:gd name="T116" fmla="*/ 71847 w 845"/>
                <a:gd name="T117" fmla="*/ 83608 h 72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64" name="Line 359">
              <a:extLst>
                <a:ext uri="{FF2B5EF4-FFF2-40B4-BE49-F238E27FC236}">
                  <a16:creationId xmlns:a16="http://schemas.microsoft.com/office/drawing/2014/main" xmlns="" id="{54B9D1D7-E241-C0FA-8CA7-9D92E5197D5D}"/>
                </a:ext>
              </a:extLst>
            </p:cNvPr>
            <p:cNvSpPr>
              <a:spLocks noChangeShapeType="1"/>
            </p:cNvSpPr>
            <p:nvPr>
              <p:custDataLst>
                <p:tags r:id="rId260"/>
              </p:custDataLst>
            </p:nvPr>
          </p:nvSpPr>
          <p:spPr bwMode="auto">
            <a:xfrm flipH="1">
              <a:off x="2039781" y="2527716"/>
              <a:ext cx="4121" cy="581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65" name="Freeform 360">
              <a:extLst>
                <a:ext uri="{FF2B5EF4-FFF2-40B4-BE49-F238E27FC236}">
                  <a16:creationId xmlns:a16="http://schemas.microsoft.com/office/drawing/2014/main" xmlns="" id="{D711BE7C-8F60-3B17-93EF-7D1D75A6FF31}"/>
                </a:ext>
              </a:extLst>
            </p:cNvPr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2039780" y="2533527"/>
              <a:ext cx="10987" cy="42996"/>
            </a:xfrm>
            <a:custGeom>
              <a:avLst/>
              <a:gdLst>
                <a:gd name="T0" fmla="*/ 0 w 33"/>
                <a:gd name="T1" fmla="*/ 0 h 6"/>
                <a:gd name="T2" fmla="*/ 2694 w 33"/>
                <a:gd name="T3" fmla="*/ 9790 h 6"/>
                <a:gd name="T4" fmla="*/ 5773 w 33"/>
                <a:gd name="T5" fmla="*/ 29369 h 6"/>
                <a:gd name="T6" fmla="*/ 8852 w 33"/>
                <a:gd name="T7" fmla="*/ 48948 h 6"/>
                <a:gd name="T8" fmla="*/ 12700 w 33"/>
                <a:gd name="T9" fmla="*/ 5873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66" name="Freeform 361">
              <a:extLst>
                <a:ext uri="{FF2B5EF4-FFF2-40B4-BE49-F238E27FC236}">
                  <a16:creationId xmlns:a16="http://schemas.microsoft.com/office/drawing/2014/main" xmlns="" id="{20B0139F-F2DF-FD5E-59D6-B36D3C1FBA83}"/>
                </a:ext>
              </a:extLst>
            </p:cNvPr>
            <p:cNvSpPr>
              <a:spLocks/>
            </p:cNvSpPr>
            <p:nvPr>
              <p:custDataLst>
                <p:tags r:id="rId262"/>
              </p:custDataLst>
            </p:nvPr>
          </p:nvSpPr>
          <p:spPr bwMode="auto">
            <a:xfrm>
              <a:off x="2046647" y="2524230"/>
              <a:ext cx="4120" cy="41835"/>
            </a:xfrm>
            <a:custGeom>
              <a:avLst/>
              <a:gdLst>
                <a:gd name="T0" fmla="*/ 4762 w 13"/>
                <a:gd name="T1" fmla="*/ 57150 h 30"/>
                <a:gd name="T2" fmla="*/ 4762 w 13"/>
                <a:gd name="T3" fmla="*/ 0 h 30"/>
                <a:gd name="T4" fmla="*/ 0 w 13"/>
                <a:gd name="T5" fmla="*/ 0 h 3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grpSp>
          <p:nvGrpSpPr>
            <p:cNvPr id="267" name="Group 362">
              <a:extLst>
                <a:ext uri="{FF2B5EF4-FFF2-40B4-BE49-F238E27FC236}">
                  <a16:creationId xmlns:a16="http://schemas.microsoft.com/office/drawing/2014/main" xmlns="" id="{F9C19048-5F1C-614E-83B0-311FE4BF84AE}"/>
                </a:ext>
              </a:extLst>
            </p:cNvPr>
            <p:cNvGrpSpPr>
              <a:grpSpLocks/>
            </p:cNvGrpSpPr>
            <p:nvPr>
              <p:custDataLst>
                <p:tags r:id="rId263"/>
              </p:custDataLst>
            </p:nvPr>
          </p:nvGrpSpPr>
          <p:grpSpPr bwMode="auto">
            <a:xfrm>
              <a:off x="2039781" y="2476586"/>
              <a:ext cx="361198" cy="147582"/>
              <a:chOff x="912" y="2626"/>
              <a:chExt cx="311" cy="127"/>
            </a:xfrm>
            <a:solidFill>
              <a:schemeClr val="accent2"/>
            </a:solidFill>
          </p:grpSpPr>
          <p:sp>
            <p:nvSpPr>
              <p:cNvPr id="452" name="Freeform 363">
                <a:extLst>
                  <a:ext uri="{FF2B5EF4-FFF2-40B4-BE49-F238E27FC236}">
                    <a16:creationId xmlns:a16="http://schemas.microsoft.com/office/drawing/2014/main" xmlns="" id="{9A216439-DE68-55EB-39FF-3F019F8AA3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100 w 352"/>
                  <a:gd name="T1" fmla="*/ 26 h 387"/>
                  <a:gd name="T2" fmla="*/ 92 w 352"/>
                  <a:gd name="T3" fmla="*/ 26 h 387"/>
                  <a:gd name="T4" fmla="*/ 85 w 352"/>
                  <a:gd name="T5" fmla="*/ 26 h 387"/>
                  <a:gd name="T6" fmla="*/ 80 w 352"/>
                  <a:gd name="T7" fmla="*/ 24 h 387"/>
                  <a:gd name="T8" fmla="*/ 71 w 352"/>
                  <a:gd name="T9" fmla="*/ 19 h 387"/>
                  <a:gd name="T10" fmla="*/ 54 w 352"/>
                  <a:gd name="T11" fmla="*/ 7 h 387"/>
                  <a:gd name="T12" fmla="*/ 44 w 352"/>
                  <a:gd name="T13" fmla="*/ 2 h 387"/>
                  <a:gd name="T14" fmla="*/ 41 w 352"/>
                  <a:gd name="T15" fmla="*/ 6 h 387"/>
                  <a:gd name="T16" fmla="*/ 38 w 352"/>
                  <a:gd name="T17" fmla="*/ 10 h 387"/>
                  <a:gd name="T18" fmla="*/ 34 w 352"/>
                  <a:gd name="T19" fmla="*/ 11 h 387"/>
                  <a:gd name="T20" fmla="*/ 28 w 352"/>
                  <a:gd name="T21" fmla="*/ 18 h 387"/>
                  <a:gd name="T22" fmla="*/ 17 w 352"/>
                  <a:gd name="T23" fmla="*/ 32 h 387"/>
                  <a:gd name="T24" fmla="*/ 10 w 352"/>
                  <a:gd name="T25" fmla="*/ 43 h 387"/>
                  <a:gd name="T26" fmla="*/ 5 w 352"/>
                  <a:gd name="T27" fmla="*/ 51 h 387"/>
                  <a:gd name="T28" fmla="*/ 2 w 352"/>
                  <a:gd name="T29" fmla="*/ 58 h 387"/>
                  <a:gd name="T30" fmla="*/ 0 w 352"/>
                  <a:gd name="T31" fmla="*/ 65 h 387"/>
                  <a:gd name="T32" fmla="*/ 0 w 352"/>
                  <a:gd name="T33" fmla="*/ 70 h 387"/>
                  <a:gd name="T34" fmla="*/ 1 w 352"/>
                  <a:gd name="T35" fmla="*/ 73 h 387"/>
                  <a:gd name="T36" fmla="*/ 3 w 352"/>
                  <a:gd name="T37" fmla="*/ 76 h 387"/>
                  <a:gd name="T38" fmla="*/ 8 w 352"/>
                  <a:gd name="T39" fmla="*/ 79 h 387"/>
                  <a:gd name="T40" fmla="*/ 13 w 352"/>
                  <a:gd name="T41" fmla="*/ 80 h 387"/>
                  <a:gd name="T42" fmla="*/ 17 w 352"/>
                  <a:gd name="T43" fmla="*/ 80 h 387"/>
                  <a:gd name="T44" fmla="*/ 20 w 352"/>
                  <a:gd name="T45" fmla="*/ 79 h 387"/>
                  <a:gd name="T46" fmla="*/ 23 w 352"/>
                  <a:gd name="T47" fmla="*/ 77 h 387"/>
                  <a:gd name="T48" fmla="*/ 25 w 352"/>
                  <a:gd name="T49" fmla="*/ 77 h 387"/>
                  <a:gd name="T50" fmla="*/ 26 w 352"/>
                  <a:gd name="T51" fmla="*/ 78 h 387"/>
                  <a:gd name="T52" fmla="*/ 26 w 352"/>
                  <a:gd name="T53" fmla="*/ 84 h 387"/>
                  <a:gd name="T54" fmla="*/ 24 w 352"/>
                  <a:gd name="T55" fmla="*/ 92 h 387"/>
                  <a:gd name="T56" fmla="*/ 23 w 352"/>
                  <a:gd name="T57" fmla="*/ 95 h 387"/>
                  <a:gd name="T58" fmla="*/ 23 w 352"/>
                  <a:gd name="T59" fmla="*/ 101 h 387"/>
                  <a:gd name="T60" fmla="*/ 26 w 352"/>
                  <a:gd name="T61" fmla="*/ 109 h 387"/>
                  <a:gd name="T62" fmla="*/ 29 w 352"/>
                  <a:gd name="T63" fmla="*/ 115 h 387"/>
                  <a:gd name="T64" fmla="*/ 39 w 352"/>
                  <a:gd name="T65" fmla="*/ 122 h 387"/>
                  <a:gd name="T66" fmla="*/ 46 w 352"/>
                  <a:gd name="T67" fmla="*/ 126 h 387"/>
                  <a:gd name="T68" fmla="*/ 49 w 352"/>
                  <a:gd name="T69" fmla="*/ 127 h 387"/>
                  <a:gd name="T70" fmla="*/ 52 w 352"/>
                  <a:gd name="T71" fmla="*/ 124 h 387"/>
                  <a:gd name="T72" fmla="*/ 56 w 352"/>
                  <a:gd name="T73" fmla="*/ 119 h 387"/>
                  <a:gd name="T74" fmla="*/ 57 w 352"/>
                  <a:gd name="T75" fmla="*/ 115 h 387"/>
                  <a:gd name="T76" fmla="*/ 58 w 352"/>
                  <a:gd name="T77" fmla="*/ 111 h 387"/>
                  <a:gd name="T78" fmla="*/ 59 w 352"/>
                  <a:gd name="T79" fmla="*/ 106 h 387"/>
                  <a:gd name="T80" fmla="*/ 63 w 352"/>
                  <a:gd name="T81" fmla="*/ 100 h 387"/>
                  <a:gd name="T82" fmla="*/ 69 w 352"/>
                  <a:gd name="T83" fmla="*/ 92 h 387"/>
                  <a:gd name="T84" fmla="*/ 76 w 352"/>
                  <a:gd name="T85" fmla="*/ 86 h 387"/>
                  <a:gd name="T86" fmla="*/ 85 w 352"/>
                  <a:gd name="T87" fmla="*/ 82 h 387"/>
                  <a:gd name="T88" fmla="*/ 96 w 352"/>
                  <a:gd name="T89" fmla="*/ 75 h 387"/>
                  <a:gd name="T90" fmla="*/ 104 w 352"/>
                  <a:gd name="T91" fmla="*/ 70 h 387"/>
                  <a:gd name="T92" fmla="*/ 109 w 352"/>
                  <a:gd name="T93" fmla="*/ 65 h 387"/>
                  <a:gd name="T94" fmla="*/ 111 w 352"/>
                  <a:gd name="T95" fmla="*/ 61 h 387"/>
                  <a:gd name="T96" fmla="*/ 113 w 352"/>
                  <a:gd name="T97" fmla="*/ 55 h 387"/>
                  <a:gd name="T98" fmla="*/ 113 w 352"/>
                  <a:gd name="T99" fmla="*/ 49 h 387"/>
                  <a:gd name="T100" fmla="*/ 110 w 352"/>
                  <a:gd name="T101" fmla="*/ 41 h 387"/>
                  <a:gd name="T102" fmla="*/ 106 w 352"/>
                  <a:gd name="T103" fmla="*/ 30 h 38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53" name="Freeform 364">
                <a:extLst>
                  <a:ext uri="{FF2B5EF4-FFF2-40B4-BE49-F238E27FC236}">
                    <a16:creationId xmlns:a16="http://schemas.microsoft.com/office/drawing/2014/main" xmlns="" id="{BE44B9AC-41C2-1986-FBFC-6427F8F533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5 w 52"/>
                  <a:gd name="T1" fmla="*/ 0 h 78"/>
                  <a:gd name="T2" fmla="*/ 7 w 52"/>
                  <a:gd name="T3" fmla="*/ 0 h 78"/>
                  <a:gd name="T4" fmla="*/ 8 w 52"/>
                  <a:gd name="T5" fmla="*/ 1 h 78"/>
                  <a:gd name="T6" fmla="*/ 10 w 52"/>
                  <a:gd name="T7" fmla="*/ 2 h 78"/>
                  <a:gd name="T8" fmla="*/ 12 w 52"/>
                  <a:gd name="T9" fmla="*/ 3 h 78"/>
                  <a:gd name="T10" fmla="*/ 13 w 52"/>
                  <a:gd name="T11" fmla="*/ 4 h 78"/>
                  <a:gd name="T12" fmla="*/ 15 w 52"/>
                  <a:gd name="T13" fmla="*/ 6 h 78"/>
                  <a:gd name="T14" fmla="*/ 15 w 52"/>
                  <a:gd name="T15" fmla="*/ 7 h 78"/>
                  <a:gd name="T16" fmla="*/ 16 w 52"/>
                  <a:gd name="T17" fmla="*/ 8 h 78"/>
                  <a:gd name="T18" fmla="*/ 17 w 52"/>
                  <a:gd name="T19" fmla="*/ 11 h 78"/>
                  <a:gd name="T20" fmla="*/ 17 w 52"/>
                  <a:gd name="T21" fmla="*/ 14 h 78"/>
                  <a:gd name="T22" fmla="*/ 17 w 52"/>
                  <a:gd name="T23" fmla="*/ 15 h 78"/>
                  <a:gd name="T24" fmla="*/ 16 w 52"/>
                  <a:gd name="T25" fmla="*/ 17 h 78"/>
                  <a:gd name="T26" fmla="*/ 15 w 52"/>
                  <a:gd name="T27" fmla="*/ 18 h 78"/>
                  <a:gd name="T28" fmla="*/ 14 w 52"/>
                  <a:gd name="T29" fmla="*/ 20 h 78"/>
                  <a:gd name="T30" fmla="*/ 13 w 52"/>
                  <a:gd name="T31" fmla="*/ 22 h 78"/>
                  <a:gd name="T32" fmla="*/ 13 w 52"/>
                  <a:gd name="T33" fmla="*/ 24 h 78"/>
                  <a:gd name="T34" fmla="*/ 9 w 52"/>
                  <a:gd name="T35" fmla="*/ 25 h 78"/>
                  <a:gd name="T36" fmla="*/ 5 w 52"/>
                  <a:gd name="T37" fmla="*/ 26 h 78"/>
                  <a:gd name="T38" fmla="*/ 4 w 52"/>
                  <a:gd name="T39" fmla="*/ 26 h 78"/>
                  <a:gd name="T40" fmla="*/ 2 w 52"/>
                  <a:gd name="T41" fmla="*/ 26 h 78"/>
                  <a:gd name="T42" fmla="*/ 1 w 52"/>
                  <a:gd name="T43" fmla="*/ 26 h 78"/>
                  <a:gd name="T44" fmla="*/ 1 w 52"/>
                  <a:gd name="T45" fmla="*/ 26 h 78"/>
                  <a:gd name="T46" fmla="*/ 1 w 52"/>
                  <a:gd name="T47" fmla="*/ 25 h 78"/>
                  <a:gd name="T48" fmla="*/ 0 w 52"/>
                  <a:gd name="T49" fmla="*/ 24 h 78"/>
                  <a:gd name="T50" fmla="*/ 0 w 52"/>
                  <a:gd name="T51" fmla="*/ 23 h 78"/>
                  <a:gd name="T52" fmla="*/ 0 w 52"/>
                  <a:gd name="T53" fmla="*/ 21 h 78"/>
                  <a:gd name="T54" fmla="*/ 1 w 52"/>
                  <a:gd name="T55" fmla="*/ 20 h 78"/>
                  <a:gd name="T56" fmla="*/ 2 w 52"/>
                  <a:gd name="T57" fmla="*/ 19 h 78"/>
                  <a:gd name="T58" fmla="*/ 6 w 52"/>
                  <a:gd name="T59" fmla="*/ 16 h 78"/>
                  <a:gd name="T60" fmla="*/ 9 w 52"/>
                  <a:gd name="T61" fmla="*/ 14 h 78"/>
                  <a:gd name="T62" fmla="*/ 8 w 52"/>
                  <a:gd name="T63" fmla="*/ 11 h 78"/>
                  <a:gd name="T64" fmla="*/ 7 w 52"/>
                  <a:gd name="T65" fmla="*/ 7 h 78"/>
                  <a:gd name="T66" fmla="*/ 6 w 52"/>
                  <a:gd name="T67" fmla="*/ 3 h 78"/>
                  <a:gd name="T68" fmla="*/ 5 w 52"/>
                  <a:gd name="T69" fmla="*/ 0 h 7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54" name="Freeform 365">
                <a:extLst>
                  <a:ext uri="{FF2B5EF4-FFF2-40B4-BE49-F238E27FC236}">
                    <a16:creationId xmlns:a16="http://schemas.microsoft.com/office/drawing/2014/main" xmlns="" id="{3DC7635D-FA43-81DD-4E8A-C68A629C3D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4 w 33"/>
                  <a:gd name="T1" fmla="*/ 2 h 30"/>
                  <a:gd name="T2" fmla="*/ 0 w 33"/>
                  <a:gd name="T3" fmla="*/ 8 h 30"/>
                  <a:gd name="T4" fmla="*/ 2 w 33"/>
                  <a:gd name="T5" fmla="*/ 8 h 30"/>
                  <a:gd name="T6" fmla="*/ 4 w 33"/>
                  <a:gd name="T7" fmla="*/ 9 h 30"/>
                  <a:gd name="T8" fmla="*/ 6 w 33"/>
                  <a:gd name="T9" fmla="*/ 10 h 30"/>
                  <a:gd name="T10" fmla="*/ 9 w 33"/>
                  <a:gd name="T11" fmla="*/ 10 h 30"/>
                  <a:gd name="T12" fmla="*/ 9 w 33"/>
                  <a:gd name="T13" fmla="*/ 0 h 30"/>
                  <a:gd name="T14" fmla="*/ 5 w 33"/>
                  <a:gd name="T15" fmla="*/ 0 h 30"/>
                  <a:gd name="T16" fmla="*/ 4 w 33"/>
                  <a:gd name="T17" fmla="*/ 2 h 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</p:grpSp>
        <p:sp>
          <p:nvSpPr>
            <p:cNvPr id="268" name="Freeform 366">
              <a:extLst>
                <a:ext uri="{FF2B5EF4-FFF2-40B4-BE49-F238E27FC236}">
                  <a16:creationId xmlns:a16="http://schemas.microsoft.com/office/drawing/2014/main" xmlns="" id="{86F73702-5BA1-2F97-88C7-60BC853EB53A}"/>
                </a:ext>
              </a:extLst>
            </p:cNvPr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5195796" y="3001834"/>
              <a:ext cx="16480" cy="42997"/>
            </a:xfrm>
            <a:custGeom>
              <a:avLst/>
              <a:gdLst>
                <a:gd name="T0" fmla="*/ 5269 w 47"/>
                <a:gd name="T1" fmla="*/ 0 h 28"/>
                <a:gd name="T2" fmla="*/ 10133 w 47"/>
                <a:gd name="T3" fmla="*/ 0 h 28"/>
                <a:gd name="T4" fmla="*/ 12565 w 47"/>
                <a:gd name="T5" fmla="*/ 4196 h 28"/>
                <a:gd name="T6" fmla="*/ 13376 w 47"/>
                <a:gd name="T7" fmla="*/ 8391 h 28"/>
                <a:gd name="T8" fmla="*/ 13376 w 47"/>
                <a:gd name="T9" fmla="*/ 12587 h 28"/>
                <a:gd name="T10" fmla="*/ 12970 w 47"/>
                <a:gd name="T11" fmla="*/ 16782 h 28"/>
                <a:gd name="T12" fmla="*/ 13376 w 47"/>
                <a:gd name="T13" fmla="*/ 20978 h 28"/>
                <a:gd name="T14" fmla="*/ 14997 w 47"/>
                <a:gd name="T15" fmla="*/ 25173 h 28"/>
                <a:gd name="T16" fmla="*/ 19050 w 47"/>
                <a:gd name="T17" fmla="*/ 25173 h 28"/>
                <a:gd name="T18" fmla="*/ 17023 w 47"/>
                <a:gd name="T19" fmla="*/ 39858 h 28"/>
                <a:gd name="T20" fmla="*/ 14997 w 47"/>
                <a:gd name="T21" fmla="*/ 52445 h 28"/>
                <a:gd name="T22" fmla="*/ 13376 w 47"/>
                <a:gd name="T23" fmla="*/ 56640 h 28"/>
                <a:gd name="T24" fmla="*/ 11349 w 47"/>
                <a:gd name="T25" fmla="*/ 58738 h 28"/>
                <a:gd name="T26" fmla="*/ 6485 w 47"/>
                <a:gd name="T27" fmla="*/ 56640 h 28"/>
                <a:gd name="T28" fmla="*/ 0 w 47"/>
                <a:gd name="T29" fmla="*/ 52445 h 28"/>
                <a:gd name="T30" fmla="*/ 405 w 47"/>
                <a:gd name="T31" fmla="*/ 39858 h 28"/>
                <a:gd name="T32" fmla="*/ 811 w 47"/>
                <a:gd name="T33" fmla="*/ 31467 h 28"/>
                <a:gd name="T34" fmla="*/ 1621 w 47"/>
                <a:gd name="T35" fmla="*/ 27271 h 28"/>
                <a:gd name="T36" fmla="*/ 2432 w 47"/>
                <a:gd name="T37" fmla="*/ 25173 h 28"/>
                <a:gd name="T38" fmla="*/ 3648 w 47"/>
                <a:gd name="T39" fmla="*/ 23076 h 28"/>
                <a:gd name="T40" fmla="*/ 4459 w 47"/>
                <a:gd name="T41" fmla="*/ 18880 h 28"/>
                <a:gd name="T42" fmla="*/ 5269 w 47"/>
                <a:gd name="T43" fmla="*/ 10489 h 28"/>
                <a:gd name="T44" fmla="*/ 5269 w 47"/>
                <a:gd name="T45" fmla="*/ 0 h 2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69" name="Freeform 367">
              <a:extLst>
                <a:ext uri="{FF2B5EF4-FFF2-40B4-BE49-F238E27FC236}">
                  <a16:creationId xmlns:a16="http://schemas.microsoft.com/office/drawing/2014/main" xmlns="" id="{AA17319D-346E-3F63-99B5-B47BAA0CF3A0}"/>
                </a:ext>
              </a:extLst>
            </p:cNvPr>
            <p:cNvSpPr>
              <a:spLocks/>
            </p:cNvSpPr>
            <p:nvPr>
              <p:custDataLst>
                <p:tags r:id="rId265"/>
              </p:custDataLst>
            </p:nvPr>
          </p:nvSpPr>
          <p:spPr bwMode="auto">
            <a:xfrm>
              <a:off x="5171076" y="3021590"/>
              <a:ext cx="20601" cy="41835"/>
            </a:xfrm>
            <a:custGeom>
              <a:avLst/>
              <a:gdLst>
                <a:gd name="T0" fmla="*/ 5841 w 53"/>
                <a:gd name="T1" fmla="*/ 0 h 33"/>
                <a:gd name="T2" fmla="*/ 11682 w 53"/>
                <a:gd name="T3" fmla="*/ 1732 h 33"/>
                <a:gd name="T4" fmla="*/ 15276 w 53"/>
                <a:gd name="T5" fmla="*/ 1732 h 33"/>
                <a:gd name="T6" fmla="*/ 16624 w 53"/>
                <a:gd name="T7" fmla="*/ 5195 h 33"/>
                <a:gd name="T8" fmla="*/ 16624 w 53"/>
                <a:gd name="T9" fmla="*/ 6927 h 33"/>
                <a:gd name="T10" fmla="*/ 16624 w 53"/>
                <a:gd name="T11" fmla="*/ 10391 h 33"/>
                <a:gd name="T12" fmla="*/ 17523 w 53"/>
                <a:gd name="T13" fmla="*/ 13855 h 33"/>
                <a:gd name="T14" fmla="*/ 19769 w 53"/>
                <a:gd name="T15" fmla="*/ 17318 h 33"/>
                <a:gd name="T16" fmla="*/ 23813 w 53"/>
                <a:gd name="T17" fmla="*/ 20782 h 33"/>
                <a:gd name="T18" fmla="*/ 21566 w 53"/>
                <a:gd name="T19" fmla="*/ 38100 h 33"/>
                <a:gd name="T20" fmla="*/ 19769 w 53"/>
                <a:gd name="T21" fmla="*/ 48491 h 33"/>
                <a:gd name="T22" fmla="*/ 18871 w 53"/>
                <a:gd name="T23" fmla="*/ 53686 h 33"/>
                <a:gd name="T24" fmla="*/ 17073 w 53"/>
                <a:gd name="T25" fmla="*/ 55418 h 33"/>
                <a:gd name="T26" fmla="*/ 16175 w 53"/>
                <a:gd name="T27" fmla="*/ 57150 h 33"/>
                <a:gd name="T28" fmla="*/ 15276 w 53"/>
                <a:gd name="T29" fmla="*/ 57150 h 33"/>
                <a:gd name="T30" fmla="*/ 8986 w 53"/>
                <a:gd name="T31" fmla="*/ 51955 h 33"/>
                <a:gd name="T32" fmla="*/ 0 w 53"/>
                <a:gd name="T33" fmla="*/ 41564 h 33"/>
                <a:gd name="T34" fmla="*/ 0 w 53"/>
                <a:gd name="T35" fmla="*/ 32905 h 33"/>
                <a:gd name="T36" fmla="*/ 899 w 53"/>
                <a:gd name="T37" fmla="*/ 27709 h 33"/>
                <a:gd name="T38" fmla="*/ 1797 w 53"/>
                <a:gd name="T39" fmla="*/ 24245 h 33"/>
                <a:gd name="T40" fmla="*/ 3145 w 53"/>
                <a:gd name="T41" fmla="*/ 20782 h 33"/>
                <a:gd name="T42" fmla="*/ 4044 w 53"/>
                <a:gd name="T43" fmla="*/ 19050 h 33"/>
                <a:gd name="T44" fmla="*/ 4942 w 53"/>
                <a:gd name="T45" fmla="*/ 15586 h 33"/>
                <a:gd name="T46" fmla="*/ 5392 w 53"/>
                <a:gd name="T47" fmla="*/ 10391 h 33"/>
                <a:gd name="T48" fmla="*/ 5841 w 53"/>
                <a:gd name="T49" fmla="*/ 0 h 3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grpSp>
          <p:nvGrpSpPr>
            <p:cNvPr id="270" name="Group 368">
              <a:extLst>
                <a:ext uri="{FF2B5EF4-FFF2-40B4-BE49-F238E27FC236}">
                  <a16:creationId xmlns:a16="http://schemas.microsoft.com/office/drawing/2014/main" xmlns="" id="{53C938AF-2572-B07F-FAB0-637833DAC387}"/>
                </a:ext>
              </a:extLst>
            </p:cNvPr>
            <p:cNvGrpSpPr>
              <a:grpSpLocks/>
            </p:cNvGrpSpPr>
            <p:nvPr>
              <p:custDataLst>
                <p:tags r:id="rId266"/>
              </p:custDataLst>
            </p:nvPr>
          </p:nvGrpSpPr>
          <p:grpSpPr bwMode="auto">
            <a:xfrm>
              <a:off x="5033738" y="2649732"/>
              <a:ext cx="145578" cy="75533"/>
              <a:chOff x="3481" y="2773"/>
              <a:chExt cx="125" cy="65"/>
            </a:xfrm>
          </p:grpSpPr>
          <p:sp>
            <p:nvSpPr>
              <p:cNvPr id="441" name="Freeform 369">
                <a:extLst>
                  <a:ext uri="{FF2B5EF4-FFF2-40B4-BE49-F238E27FC236}">
                    <a16:creationId xmlns:a16="http://schemas.microsoft.com/office/drawing/2014/main" xmlns="" id="{30992093-FDFA-FF94-3FB7-8E564B870B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5 w 13"/>
                  <a:gd name="T1" fmla="*/ 0 h 18"/>
                  <a:gd name="T2" fmla="*/ 4 w 13"/>
                  <a:gd name="T3" fmla="*/ 3 h 18"/>
                  <a:gd name="T4" fmla="*/ 2 w 13"/>
                  <a:gd name="T5" fmla="*/ 6 h 18"/>
                  <a:gd name="T6" fmla="*/ 2 w 13"/>
                  <a:gd name="T7" fmla="*/ 6 h 18"/>
                  <a:gd name="T8" fmla="*/ 1 w 13"/>
                  <a:gd name="T9" fmla="*/ 5 h 18"/>
                  <a:gd name="T10" fmla="*/ 0 w 13"/>
                  <a:gd name="T11" fmla="*/ 3 h 18"/>
                  <a:gd name="T12" fmla="*/ 0 w 13"/>
                  <a:gd name="T13" fmla="*/ 2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42" name="Line 370">
                <a:extLst>
                  <a:ext uri="{FF2B5EF4-FFF2-40B4-BE49-F238E27FC236}">
                    <a16:creationId xmlns:a16="http://schemas.microsoft.com/office/drawing/2014/main" xmlns="" id="{80F4F8B6-7A14-FFA5-34FC-C3BC280B66D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43" name="Freeform 371">
                <a:extLst>
                  <a:ext uri="{FF2B5EF4-FFF2-40B4-BE49-F238E27FC236}">
                    <a16:creationId xmlns:a16="http://schemas.microsoft.com/office/drawing/2014/main" xmlns="" id="{C75FAEB5-2CC6-4D8C-4A82-977F399C17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5 w 14"/>
                  <a:gd name="T1" fmla="*/ 6 h 19"/>
                  <a:gd name="T2" fmla="*/ 0 w 14"/>
                  <a:gd name="T3" fmla="*/ 0 h 19"/>
                  <a:gd name="T4" fmla="*/ 5 w 14"/>
                  <a:gd name="T5" fmla="*/ 6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44" name="Freeform 372">
                <a:extLst>
                  <a:ext uri="{FF2B5EF4-FFF2-40B4-BE49-F238E27FC236}">
                    <a16:creationId xmlns:a16="http://schemas.microsoft.com/office/drawing/2014/main" xmlns="" id="{CBA347FC-31CF-7037-B2B9-0B109F3100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2 h 18"/>
                  <a:gd name="T2" fmla="*/ 2 w 7"/>
                  <a:gd name="T3" fmla="*/ 6 h 18"/>
                  <a:gd name="T4" fmla="*/ 0 w 7"/>
                  <a:gd name="T5" fmla="*/ 6 h 18"/>
                  <a:gd name="T6" fmla="*/ 0 w 7"/>
                  <a:gd name="T7" fmla="*/ 0 h 18"/>
                  <a:gd name="T8" fmla="*/ 2 w 7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45" name="Freeform 373">
                <a:extLst>
                  <a:ext uri="{FF2B5EF4-FFF2-40B4-BE49-F238E27FC236}">
                    <a16:creationId xmlns:a16="http://schemas.microsoft.com/office/drawing/2014/main" xmlns="" id="{C7B0A2C7-54F1-A6CA-C65B-0A5C2778B4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7 w 20"/>
                  <a:gd name="T1" fmla="*/ 4 h 12"/>
                  <a:gd name="T2" fmla="*/ 4 w 20"/>
                  <a:gd name="T3" fmla="*/ 3 h 12"/>
                  <a:gd name="T4" fmla="*/ 0 w 20"/>
                  <a:gd name="T5" fmla="*/ 2 h 12"/>
                  <a:gd name="T6" fmla="*/ 0 w 20"/>
                  <a:gd name="T7" fmla="*/ 2 h 12"/>
                  <a:gd name="T8" fmla="*/ 1 w 20"/>
                  <a:gd name="T9" fmla="*/ 1 h 12"/>
                  <a:gd name="T10" fmla="*/ 3 w 20"/>
                  <a:gd name="T11" fmla="*/ 0 h 12"/>
                  <a:gd name="T12" fmla="*/ 5 w 20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46" name="Line 374">
                <a:extLst>
                  <a:ext uri="{FF2B5EF4-FFF2-40B4-BE49-F238E27FC236}">
                    <a16:creationId xmlns:a16="http://schemas.microsoft.com/office/drawing/2014/main" xmlns="" id="{0C0ABCE7-E3E7-6C95-2DBE-C657D040C2C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47" name="Freeform 375">
                <a:extLst>
                  <a:ext uri="{FF2B5EF4-FFF2-40B4-BE49-F238E27FC236}">
                    <a16:creationId xmlns:a16="http://schemas.microsoft.com/office/drawing/2014/main" xmlns="" id="{A5336BA4-ECDC-ECCB-9A6B-A8581C05FE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6 h 18"/>
                  <a:gd name="T4" fmla="*/ 7 w 20"/>
                  <a:gd name="T5" fmla="*/ 6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48" name="Freeform 376">
                <a:extLst>
                  <a:ext uri="{FF2B5EF4-FFF2-40B4-BE49-F238E27FC236}">
                    <a16:creationId xmlns:a16="http://schemas.microsoft.com/office/drawing/2014/main" xmlns="" id="{9DECB4F5-9DCD-CCEB-4B7E-9729D3EB90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3 w 7"/>
                  <a:gd name="T1" fmla="*/ 4 h 12"/>
                  <a:gd name="T2" fmla="*/ 2 w 7"/>
                  <a:gd name="T3" fmla="*/ 2 h 12"/>
                  <a:gd name="T4" fmla="*/ 0 w 7"/>
                  <a:gd name="T5" fmla="*/ 0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49" name="Freeform 377">
                <a:extLst>
                  <a:ext uri="{FF2B5EF4-FFF2-40B4-BE49-F238E27FC236}">
                    <a16:creationId xmlns:a16="http://schemas.microsoft.com/office/drawing/2014/main" xmlns="" id="{1FCB4740-129C-5B6C-C93B-B5E271FA0A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6 h 18"/>
                  <a:gd name="T4" fmla="*/ 7 w 20"/>
                  <a:gd name="T5" fmla="*/ 6 h 18"/>
                  <a:gd name="T6" fmla="*/ 6 w 20"/>
                  <a:gd name="T7" fmla="*/ 4 h 18"/>
                  <a:gd name="T8" fmla="*/ 5 w 20"/>
                  <a:gd name="T9" fmla="*/ 2 h 18"/>
                  <a:gd name="T10" fmla="*/ 0 w 20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50" name="Freeform 378">
                <a:extLst>
                  <a:ext uri="{FF2B5EF4-FFF2-40B4-BE49-F238E27FC236}">
                    <a16:creationId xmlns:a16="http://schemas.microsoft.com/office/drawing/2014/main" xmlns="" id="{66415F26-2122-EF72-0CD6-E5D7FD2FAF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2 h 18"/>
                  <a:gd name="T2" fmla="*/ 2 w 7"/>
                  <a:gd name="T3" fmla="*/ 6 h 18"/>
                  <a:gd name="T4" fmla="*/ 0 w 7"/>
                  <a:gd name="T5" fmla="*/ 6 h 18"/>
                  <a:gd name="T6" fmla="*/ 0 w 7"/>
                  <a:gd name="T7" fmla="*/ 0 h 18"/>
                  <a:gd name="T8" fmla="*/ 2 w 7"/>
                  <a:gd name="T9" fmla="*/ 0 h 18"/>
                  <a:gd name="T10" fmla="*/ 0 w 7"/>
                  <a:gd name="T11" fmla="*/ 2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51" name="Freeform 379">
                <a:extLst>
                  <a:ext uri="{FF2B5EF4-FFF2-40B4-BE49-F238E27FC236}">
                    <a16:creationId xmlns:a16="http://schemas.microsoft.com/office/drawing/2014/main" xmlns="" id="{B3059DD4-E964-FC6C-8410-32A807AB0B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5 w 13"/>
                  <a:gd name="T1" fmla="*/ 0 h 18"/>
                  <a:gd name="T2" fmla="*/ 4 w 13"/>
                  <a:gd name="T3" fmla="*/ 3 h 18"/>
                  <a:gd name="T4" fmla="*/ 2 w 13"/>
                  <a:gd name="T5" fmla="*/ 6 h 18"/>
                  <a:gd name="T6" fmla="*/ 2 w 13"/>
                  <a:gd name="T7" fmla="*/ 6 h 18"/>
                  <a:gd name="T8" fmla="*/ 1 w 13"/>
                  <a:gd name="T9" fmla="*/ 5 h 18"/>
                  <a:gd name="T10" fmla="*/ 0 w 13"/>
                  <a:gd name="T11" fmla="*/ 3 h 18"/>
                  <a:gd name="T12" fmla="*/ 0 w 13"/>
                  <a:gd name="T13" fmla="*/ 2 h 18"/>
                  <a:gd name="T14" fmla="*/ 2 w 13"/>
                  <a:gd name="T15" fmla="*/ 2 h 18"/>
                  <a:gd name="T16" fmla="*/ 5 w 13"/>
                  <a:gd name="T17" fmla="*/ 0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</p:grpSp>
        <p:sp>
          <p:nvSpPr>
            <p:cNvPr id="271" name="Freeform 380">
              <a:extLst>
                <a:ext uri="{FF2B5EF4-FFF2-40B4-BE49-F238E27FC236}">
                  <a16:creationId xmlns:a16="http://schemas.microsoft.com/office/drawing/2014/main" xmlns="" id="{D611215E-441D-16CE-4C04-BFBECF926B9A}"/>
                </a:ext>
              </a:extLst>
            </p:cNvPr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4279756" y="2643922"/>
              <a:ext cx="276048" cy="277732"/>
            </a:xfrm>
            <a:custGeom>
              <a:avLst/>
              <a:gdLst>
                <a:gd name="T0" fmla="*/ 26013 w 736"/>
                <a:gd name="T1" fmla="*/ 360469 h 721"/>
                <a:gd name="T2" fmla="*/ 39452 w 736"/>
                <a:gd name="T3" fmla="*/ 351523 h 721"/>
                <a:gd name="T4" fmla="*/ 54626 w 736"/>
                <a:gd name="T5" fmla="*/ 351523 h 721"/>
                <a:gd name="T6" fmla="*/ 84974 w 736"/>
                <a:gd name="T7" fmla="*/ 364152 h 721"/>
                <a:gd name="T8" fmla="*/ 106218 w 736"/>
                <a:gd name="T9" fmla="*/ 370993 h 721"/>
                <a:gd name="T10" fmla="*/ 126594 w 736"/>
                <a:gd name="T11" fmla="*/ 369941 h 721"/>
                <a:gd name="T12" fmla="*/ 264894 w 736"/>
                <a:gd name="T13" fmla="*/ 377308 h 721"/>
                <a:gd name="T14" fmla="*/ 282236 w 736"/>
                <a:gd name="T15" fmla="*/ 372046 h 721"/>
                <a:gd name="T16" fmla="*/ 271831 w 736"/>
                <a:gd name="T17" fmla="*/ 345734 h 721"/>
                <a:gd name="T18" fmla="*/ 287872 w 736"/>
                <a:gd name="T19" fmla="*/ 227858 h 721"/>
                <a:gd name="T20" fmla="*/ 307381 w 736"/>
                <a:gd name="T21" fmla="*/ 225753 h 721"/>
                <a:gd name="T22" fmla="*/ 313451 w 736"/>
                <a:gd name="T23" fmla="*/ 218912 h 721"/>
                <a:gd name="T24" fmla="*/ 318220 w 736"/>
                <a:gd name="T25" fmla="*/ 189443 h 721"/>
                <a:gd name="T26" fmla="*/ 313017 w 736"/>
                <a:gd name="T27" fmla="*/ 158922 h 721"/>
                <a:gd name="T28" fmla="*/ 306948 w 736"/>
                <a:gd name="T29" fmla="*/ 159974 h 721"/>
                <a:gd name="T30" fmla="*/ 293074 w 736"/>
                <a:gd name="T31" fmla="*/ 157869 h 721"/>
                <a:gd name="T32" fmla="*/ 274866 w 736"/>
                <a:gd name="T33" fmla="*/ 157343 h 721"/>
                <a:gd name="T34" fmla="*/ 270097 w 736"/>
                <a:gd name="T35" fmla="*/ 152607 h 721"/>
                <a:gd name="T36" fmla="*/ 267495 w 736"/>
                <a:gd name="T37" fmla="*/ 133137 h 721"/>
                <a:gd name="T38" fmla="*/ 263160 w 736"/>
                <a:gd name="T39" fmla="*/ 115245 h 721"/>
                <a:gd name="T40" fmla="*/ 258825 w 736"/>
                <a:gd name="T41" fmla="*/ 97879 h 721"/>
                <a:gd name="T42" fmla="*/ 263160 w 736"/>
                <a:gd name="T43" fmla="*/ 87881 h 721"/>
                <a:gd name="T44" fmla="*/ 267495 w 736"/>
                <a:gd name="T45" fmla="*/ 77882 h 721"/>
                <a:gd name="T46" fmla="*/ 264894 w 736"/>
                <a:gd name="T47" fmla="*/ 52623 h 721"/>
                <a:gd name="T48" fmla="*/ 235847 w 736"/>
                <a:gd name="T49" fmla="*/ 36836 h 721"/>
                <a:gd name="T50" fmla="*/ 206800 w 736"/>
                <a:gd name="T51" fmla="*/ 34731 h 721"/>
                <a:gd name="T52" fmla="*/ 204198 w 736"/>
                <a:gd name="T53" fmla="*/ 42625 h 721"/>
                <a:gd name="T54" fmla="*/ 200730 w 736"/>
                <a:gd name="T55" fmla="*/ 53149 h 721"/>
                <a:gd name="T56" fmla="*/ 190759 w 736"/>
                <a:gd name="T57" fmla="*/ 64200 h 721"/>
                <a:gd name="T58" fmla="*/ 169949 w 736"/>
                <a:gd name="T59" fmla="*/ 68410 h 721"/>
                <a:gd name="T60" fmla="*/ 157809 w 736"/>
                <a:gd name="T61" fmla="*/ 60517 h 721"/>
                <a:gd name="T62" fmla="*/ 146971 w 736"/>
                <a:gd name="T63" fmla="*/ 43151 h 721"/>
                <a:gd name="T64" fmla="*/ 138300 w 736"/>
                <a:gd name="T65" fmla="*/ 20523 h 721"/>
                <a:gd name="T66" fmla="*/ 135265 w 736"/>
                <a:gd name="T67" fmla="*/ 0 h 721"/>
                <a:gd name="T68" fmla="*/ 13006 w 736"/>
                <a:gd name="T69" fmla="*/ 7893 h 721"/>
                <a:gd name="T70" fmla="*/ 20376 w 736"/>
                <a:gd name="T71" fmla="*/ 15261 h 721"/>
                <a:gd name="T72" fmla="*/ 32516 w 736"/>
                <a:gd name="T73" fmla="*/ 39467 h 721"/>
                <a:gd name="T74" fmla="*/ 44221 w 736"/>
                <a:gd name="T75" fmla="*/ 68410 h 721"/>
                <a:gd name="T76" fmla="*/ 44655 w 736"/>
                <a:gd name="T77" fmla="*/ 89986 h 721"/>
                <a:gd name="T78" fmla="*/ 40319 w 736"/>
                <a:gd name="T79" fmla="*/ 106825 h 721"/>
                <a:gd name="T80" fmla="*/ 41620 w 736"/>
                <a:gd name="T81" fmla="*/ 120507 h 721"/>
                <a:gd name="T82" fmla="*/ 51592 w 736"/>
                <a:gd name="T83" fmla="*/ 143135 h 721"/>
                <a:gd name="T84" fmla="*/ 56794 w 736"/>
                <a:gd name="T85" fmla="*/ 161553 h 721"/>
                <a:gd name="T86" fmla="*/ 55060 w 736"/>
                <a:gd name="T87" fmla="*/ 185234 h 721"/>
                <a:gd name="T88" fmla="*/ 45955 w 736"/>
                <a:gd name="T89" fmla="*/ 212071 h 721"/>
                <a:gd name="T90" fmla="*/ 33383 w 736"/>
                <a:gd name="T91" fmla="*/ 234699 h 721"/>
                <a:gd name="T92" fmla="*/ 17775 w 736"/>
                <a:gd name="T93" fmla="*/ 251012 h 721"/>
                <a:gd name="T94" fmla="*/ 10839 w 736"/>
                <a:gd name="T95" fmla="*/ 311003 h 721"/>
                <a:gd name="T96" fmla="*/ 4769 w 736"/>
                <a:gd name="T97" fmla="*/ 329947 h 72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72" name="Freeform 381">
              <a:extLst>
                <a:ext uri="{FF2B5EF4-FFF2-40B4-BE49-F238E27FC236}">
                  <a16:creationId xmlns:a16="http://schemas.microsoft.com/office/drawing/2014/main" xmlns="" id="{CC5DB596-1EC2-8B9D-9E88-E8CEDA2A112D}"/>
                </a:ext>
              </a:extLst>
            </p:cNvPr>
            <p:cNvSpPr>
              <a:spLocks/>
            </p:cNvSpPr>
            <p:nvPr>
              <p:custDataLst>
                <p:tags r:id="rId268"/>
              </p:custDataLst>
            </p:nvPr>
          </p:nvSpPr>
          <p:spPr bwMode="auto">
            <a:xfrm>
              <a:off x="4289369" y="2624167"/>
              <a:ext cx="13734" cy="44158"/>
            </a:xfrm>
            <a:custGeom>
              <a:avLst/>
              <a:gdLst>
                <a:gd name="T0" fmla="*/ 0 w 39"/>
                <a:gd name="T1" fmla="*/ 60325 h 31"/>
                <a:gd name="T2" fmla="*/ 4885 w 39"/>
                <a:gd name="T3" fmla="*/ 54487 h 31"/>
                <a:gd name="T4" fmla="*/ 8955 w 39"/>
                <a:gd name="T5" fmla="*/ 54487 h 31"/>
                <a:gd name="T6" fmla="*/ 10583 w 39"/>
                <a:gd name="T7" fmla="*/ 54487 h 31"/>
                <a:gd name="T8" fmla="*/ 12212 w 39"/>
                <a:gd name="T9" fmla="*/ 54487 h 31"/>
                <a:gd name="T10" fmla="*/ 14247 w 39"/>
                <a:gd name="T11" fmla="*/ 52541 h 31"/>
                <a:gd name="T12" fmla="*/ 15875 w 39"/>
                <a:gd name="T13" fmla="*/ 48649 h 31"/>
                <a:gd name="T14" fmla="*/ 15875 w 39"/>
                <a:gd name="T15" fmla="*/ 0 h 31"/>
                <a:gd name="T16" fmla="*/ 10583 w 39"/>
                <a:gd name="T17" fmla="*/ 0 h 31"/>
                <a:gd name="T18" fmla="*/ 6920 w 39"/>
                <a:gd name="T19" fmla="*/ 0 h 31"/>
                <a:gd name="T20" fmla="*/ 3256 w 39"/>
                <a:gd name="T21" fmla="*/ 0 h 31"/>
                <a:gd name="T22" fmla="*/ 0 w 39"/>
                <a:gd name="T23" fmla="*/ 0 h 31"/>
                <a:gd name="T24" fmla="*/ 0 w 39"/>
                <a:gd name="T25" fmla="*/ 60325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73" name="Freeform 382">
              <a:extLst>
                <a:ext uri="{FF2B5EF4-FFF2-40B4-BE49-F238E27FC236}">
                  <a16:creationId xmlns:a16="http://schemas.microsoft.com/office/drawing/2014/main" xmlns="" id="{8B4A17EC-DF8E-D193-7A2B-7C00FC9E6F30}"/>
                </a:ext>
              </a:extLst>
            </p:cNvPr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4377265" y="3021590"/>
              <a:ext cx="343344" cy="291676"/>
            </a:xfrm>
            <a:custGeom>
              <a:avLst/>
              <a:gdLst>
                <a:gd name="T0" fmla="*/ 395117 w 903"/>
                <a:gd name="T1" fmla="*/ 152770 h 759"/>
                <a:gd name="T2" fmla="*/ 379295 w 903"/>
                <a:gd name="T3" fmla="*/ 203693 h 759"/>
                <a:gd name="T4" fmla="*/ 365670 w 903"/>
                <a:gd name="T5" fmla="*/ 217343 h 759"/>
                <a:gd name="T6" fmla="*/ 334465 w 903"/>
                <a:gd name="T7" fmla="*/ 266166 h 759"/>
                <a:gd name="T8" fmla="*/ 316445 w 903"/>
                <a:gd name="T9" fmla="*/ 294515 h 759"/>
                <a:gd name="T10" fmla="*/ 284361 w 903"/>
                <a:gd name="T11" fmla="*/ 321815 h 759"/>
                <a:gd name="T12" fmla="*/ 256233 w 903"/>
                <a:gd name="T13" fmla="*/ 349639 h 759"/>
                <a:gd name="T14" fmla="*/ 244806 w 903"/>
                <a:gd name="T15" fmla="*/ 366438 h 759"/>
                <a:gd name="T16" fmla="*/ 228544 w 903"/>
                <a:gd name="T17" fmla="*/ 370113 h 759"/>
                <a:gd name="T18" fmla="*/ 217996 w 903"/>
                <a:gd name="T19" fmla="*/ 372738 h 759"/>
                <a:gd name="T20" fmla="*/ 213161 w 903"/>
                <a:gd name="T21" fmla="*/ 381663 h 759"/>
                <a:gd name="T22" fmla="*/ 163497 w 903"/>
                <a:gd name="T23" fmla="*/ 381663 h 759"/>
                <a:gd name="T24" fmla="*/ 148993 w 903"/>
                <a:gd name="T25" fmla="*/ 384287 h 759"/>
                <a:gd name="T26" fmla="*/ 138884 w 903"/>
                <a:gd name="T27" fmla="*/ 384287 h 759"/>
                <a:gd name="T28" fmla="*/ 125699 w 903"/>
                <a:gd name="T29" fmla="*/ 381663 h 759"/>
                <a:gd name="T30" fmla="*/ 115590 w 903"/>
                <a:gd name="T31" fmla="*/ 386912 h 759"/>
                <a:gd name="T32" fmla="*/ 64168 w 903"/>
                <a:gd name="T33" fmla="*/ 398462 h 759"/>
                <a:gd name="T34" fmla="*/ 50983 w 903"/>
                <a:gd name="T35" fmla="*/ 395312 h 759"/>
                <a:gd name="T36" fmla="*/ 39556 w 903"/>
                <a:gd name="T37" fmla="*/ 387962 h 759"/>
                <a:gd name="T38" fmla="*/ 33403 w 903"/>
                <a:gd name="T39" fmla="*/ 377463 h 759"/>
                <a:gd name="T40" fmla="*/ 34721 w 903"/>
                <a:gd name="T41" fmla="*/ 365913 h 759"/>
                <a:gd name="T42" fmla="*/ 32963 w 903"/>
                <a:gd name="T43" fmla="*/ 329689 h 759"/>
                <a:gd name="T44" fmla="*/ 34721 w 903"/>
                <a:gd name="T45" fmla="*/ 319190 h 759"/>
                <a:gd name="T46" fmla="*/ 29886 w 903"/>
                <a:gd name="T47" fmla="*/ 300290 h 759"/>
                <a:gd name="T48" fmla="*/ 9669 w 903"/>
                <a:gd name="T49" fmla="*/ 270891 h 759"/>
                <a:gd name="T50" fmla="*/ 5274 w 903"/>
                <a:gd name="T51" fmla="*/ 254092 h 759"/>
                <a:gd name="T52" fmla="*/ 4395 w 903"/>
                <a:gd name="T53" fmla="*/ 230467 h 759"/>
                <a:gd name="T54" fmla="*/ 0 w 903"/>
                <a:gd name="T55" fmla="*/ 197919 h 759"/>
                <a:gd name="T56" fmla="*/ 17141 w 903"/>
                <a:gd name="T57" fmla="*/ 197919 h 759"/>
                <a:gd name="T58" fmla="*/ 25052 w 903"/>
                <a:gd name="T59" fmla="*/ 207893 h 759"/>
                <a:gd name="T60" fmla="*/ 41314 w 903"/>
                <a:gd name="T61" fmla="*/ 215243 h 759"/>
                <a:gd name="T62" fmla="*/ 59333 w 903"/>
                <a:gd name="T63" fmla="*/ 215768 h 759"/>
                <a:gd name="T64" fmla="*/ 70321 w 903"/>
                <a:gd name="T65" fmla="*/ 209993 h 759"/>
                <a:gd name="T66" fmla="*/ 79990 w 903"/>
                <a:gd name="T67" fmla="*/ 195294 h 759"/>
                <a:gd name="T68" fmla="*/ 86583 w 903"/>
                <a:gd name="T69" fmla="*/ 120221 h 759"/>
                <a:gd name="T70" fmla="*/ 89659 w 903"/>
                <a:gd name="T71" fmla="*/ 96597 h 759"/>
                <a:gd name="T72" fmla="*/ 92297 w 903"/>
                <a:gd name="T73" fmla="*/ 88197 h 759"/>
                <a:gd name="T74" fmla="*/ 105042 w 903"/>
                <a:gd name="T75" fmla="*/ 93447 h 759"/>
                <a:gd name="T76" fmla="*/ 107679 w 903"/>
                <a:gd name="T77" fmla="*/ 124946 h 759"/>
                <a:gd name="T78" fmla="*/ 108558 w 903"/>
                <a:gd name="T79" fmla="*/ 143845 h 759"/>
                <a:gd name="T80" fmla="*/ 112514 w 903"/>
                <a:gd name="T81" fmla="*/ 150670 h 759"/>
                <a:gd name="T82" fmla="*/ 126139 w 903"/>
                <a:gd name="T83" fmla="*/ 154870 h 759"/>
                <a:gd name="T84" fmla="*/ 137126 w 903"/>
                <a:gd name="T85" fmla="*/ 153820 h 759"/>
                <a:gd name="T86" fmla="*/ 146356 w 903"/>
                <a:gd name="T87" fmla="*/ 142795 h 759"/>
                <a:gd name="T88" fmla="*/ 153828 w 903"/>
                <a:gd name="T89" fmla="*/ 122846 h 759"/>
                <a:gd name="T90" fmla="*/ 161739 w 903"/>
                <a:gd name="T91" fmla="*/ 105522 h 759"/>
                <a:gd name="T92" fmla="*/ 170089 w 903"/>
                <a:gd name="T93" fmla="*/ 100272 h 759"/>
                <a:gd name="T94" fmla="*/ 181956 w 903"/>
                <a:gd name="T95" fmla="*/ 101322 h 759"/>
                <a:gd name="T96" fmla="*/ 198218 w 903"/>
                <a:gd name="T97" fmla="*/ 109196 h 759"/>
                <a:gd name="T98" fmla="*/ 210084 w 903"/>
                <a:gd name="T99" fmla="*/ 113396 h 759"/>
                <a:gd name="T100" fmla="*/ 225028 w 903"/>
                <a:gd name="T101" fmla="*/ 111821 h 759"/>
                <a:gd name="T102" fmla="*/ 233378 w 903"/>
                <a:gd name="T103" fmla="*/ 104997 h 759"/>
                <a:gd name="T104" fmla="*/ 247882 w 903"/>
                <a:gd name="T105" fmla="*/ 66673 h 759"/>
                <a:gd name="T106" fmla="*/ 272494 w 903"/>
                <a:gd name="T107" fmla="*/ 41999 h 759"/>
                <a:gd name="T108" fmla="*/ 321719 w 903"/>
                <a:gd name="T109" fmla="*/ 5775 h 759"/>
                <a:gd name="T110" fmla="*/ 354243 w 903"/>
                <a:gd name="T111" fmla="*/ 1575 h 759"/>
                <a:gd name="T112" fmla="*/ 364791 w 903"/>
                <a:gd name="T113" fmla="*/ 3150 h 759"/>
                <a:gd name="T114" fmla="*/ 375339 w 903"/>
                <a:gd name="T115" fmla="*/ 18374 h 759"/>
                <a:gd name="T116" fmla="*/ 383690 w 903"/>
                <a:gd name="T117" fmla="*/ 37274 h 759"/>
                <a:gd name="T118" fmla="*/ 388085 w 903"/>
                <a:gd name="T119" fmla="*/ 56173 h 759"/>
                <a:gd name="T120" fmla="*/ 381492 w 903"/>
                <a:gd name="T121" fmla="*/ 108671 h 759"/>
                <a:gd name="T122" fmla="*/ 364791 w 903"/>
                <a:gd name="T123" fmla="*/ 107097 h 759"/>
                <a:gd name="T124" fmla="*/ 363033 w 903"/>
                <a:gd name="T125" fmla="*/ 147520 h 75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74" name="Freeform 383">
              <a:extLst>
                <a:ext uri="{FF2B5EF4-FFF2-40B4-BE49-F238E27FC236}">
                  <a16:creationId xmlns:a16="http://schemas.microsoft.com/office/drawing/2014/main" xmlns="" id="{C8426149-5C88-77D4-AA25-34AD34C39CCE}"/>
                </a:ext>
              </a:extLst>
            </p:cNvPr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4504988" y="1973416"/>
              <a:ext cx="355704" cy="447391"/>
            </a:xfrm>
            <a:custGeom>
              <a:avLst/>
              <a:gdLst>
                <a:gd name="T0" fmla="*/ 323523 w 943"/>
                <a:gd name="T1" fmla="*/ 2607 h 1172"/>
                <a:gd name="T2" fmla="*/ 333551 w 943"/>
                <a:gd name="T3" fmla="*/ 11994 h 1172"/>
                <a:gd name="T4" fmla="*/ 350120 w 943"/>
                <a:gd name="T5" fmla="*/ 15645 h 1172"/>
                <a:gd name="T6" fmla="*/ 354916 w 943"/>
                <a:gd name="T7" fmla="*/ 28682 h 1172"/>
                <a:gd name="T8" fmla="*/ 364072 w 943"/>
                <a:gd name="T9" fmla="*/ 56842 h 1172"/>
                <a:gd name="T10" fmla="*/ 364944 w 943"/>
                <a:gd name="T11" fmla="*/ 97519 h 1172"/>
                <a:gd name="T12" fmla="*/ 373665 w 943"/>
                <a:gd name="T13" fmla="*/ 126722 h 1172"/>
                <a:gd name="T14" fmla="*/ 402006 w 943"/>
                <a:gd name="T15" fmla="*/ 152275 h 1172"/>
                <a:gd name="T16" fmla="*/ 383257 w 943"/>
                <a:gd name="T17" fmla="*/ 188258 h 1172"/>
                <a:gd name="T18" fmla="*/ 371049 w 943"/>
                <a:gd name="T19" fmla="*/ 213811 h 1172"/>
                <a:gd name="T20" fmla="*/ 352736 w 943"/>
                <a:gd name="T21" fmla="*/ 331147 h 1172"/>
                <a:gd name="T22" fmla="*/ 335731 w 943"/>
                <a:gd name="T23" fmla="*/ 353049 h 1172"/>
                <a:gd name="T24" fmla="*/ 332679 w 943"/>
                <a:gd name="T25" fmla="*/ 375995 h 1172"/>
                <a:gd name="T26" fmla="*/ 324831 w 943"/>
                <a:gd name="T27" fmla="*/ 383296 h 1172"/>
                <a:gd name="T28" fmla="*/ 315239 w 943"/>
                <a:gd name="T29" fmla="*/ 416150 h 1172"/>
                <a:gd name="T30" fmla="*/ 301722 w 943"/>
                <a:gd name="T31" fmla="*/ 457347 h 1172"/>
                <a:gd name="T32" fmla="*/ 288642 w 943"/>
                <a:gd name="T33" fmla="*/ 470906 h 1172"/>
                <a:gd name="T34" fmla="*/ 289514 w 943"/>
                <a:gd name="T35" fmla="*/ 487072 h 1172"/>
                <a:gd name="T36" fmla="*/ 299106 w 943"/>
                <a:gd name="T37" fmla="*/ 489680 h 1172"/>
                <a:gd name="T38" fmla="*/ 309135 w 943"/>
                <a:gd name="T39" fmla="*/ 495416 h 1172"/>
                <a:gd name="T40" fmla="*/ 323523 w 943"/>
                <a:gd name="T41" fmla="*/ 506367 h 1172"/>
                <a:gd name="T42" fmla="*/ 329627 w 943"/>
                <a:gd name="T43" fmla="*/ 525141 h 1172"/>
                <a:gd name="T44" fmla="*/ 337912 w 943"/>
                <a:gd name="T45" fmla="*/ 543915 h 1172"/>
                <a:gd name="T46" fmla="*/ 350120 w 943"/>
                <a:gd name="T47" fmla="*/ 549130 h 1172"/>
                <a:gd name="T48" fmla="*/ 352736 w 943"/>
                <a:gd name="T49" fmla="*/ 570511 h 1172"/>
                <a:gd name="T50" fmla="*/ 313059 w 943"/>
                <a:gd name="T51" fmla="*/ 581462 h 1172"/>
                <a:gd name="T52" fmla="*/ 299542 w 943"/>
                <a:gd name="T53" fmla="*/ 603365 h 1172"/>
                <a:gd name="T54" fmla="*/ 260737 w 943"/>
                <a:gd name="T55" fmla="*/ 610144 h 1172"/>
                <a:gd name="T56" fmla="*/ 224548 w 943"/>
                <a:gd name="T57" fmla="*/ 603886 h 1172"/>
                <a:gd name="T58" fmla="*/ 202311 w 943"/>
                <a:gd name="T59" fmla="*/ 585634 h 1172"/>
                <a:gd name="T60" fmla="*/ 170046 w 943"/>
                <a:gd name="T61" fmla="*/ 586677 h 1172"/>
                <a:gd name="T62" fmla="*/ 139089 w 943"/>
                <a:gd name="T63" fmla="*/ 584069 h 1172"/>
                <a:gd name="T64" fmla="*/ 129496 w 943"/>
                <a:gd name="T65" fmla="*/ 575726 h 1172"/>
                <a:gd name="T66" fmla="*/ 128188 w 943"/>
                <a:gd name="T67" fmla="*/ 560602 h 1172"/>
                <a:gd name="T68" fmla="*/ 119468 w 943"/>
                <a:gd name="T69" fmla="*/ 536614 h 1172"/>
                <a:gd name="T70" fmla="*/ 94179 w 943"/>
                <a:gd name="T71" fmla="*/ 507932 h 1172"/>
                <a:gd name="T72" fmla="*/ 84151 w 943"/>
                <a:gd name="T73" fmla="*/ 482379 h 1172"/>
                <a:gd name="T74" fmla="*/ 66274 w 943"/>
                <a:gd name="T75" fmla="*/ 470906 h 1172"/>
                <a:gd name="T76" fmla="*/ 52322 w 943"/>
                <a:gd name="T77" fmla="*/ 441181 h 1172"/>
                <a:gd name="T78" fmla="*/ 42293 w 943"/>
                <a:gd name="T79" fmla="*/ 410935 h 1172"/>
                <a:gd name="T80" fmla="*/ 28341 w 943"/>
                <a:gd name="T81" fmla="*/ 395290 h 1172"/>
                <a:gd name="T82" fmla="*/ 14388 w 943"/>
                <a:gd name="T83" fmla="*/ 352528 h 1172"/>
                <a:gd name="T84" fmla="*/ 1744 w 943"/>
                <a:gd name="T85" fmla="*/ 318631 h 1172"/>
                <a:gd name="T86" fmla="*/ 7848 w 943"/>
                <a:gd name="T87" fmla="*/ 300900 h 1172"/>
                <a:gd name="T88" fmla="*/ 12644 w 943"/>
                <a:gd name="T89" fmla="*/ 271697 h 1172"/>
                <a:gd name="T90" fmla="*/ 27905 w 943"/>
                <a:gd name="T91" fmla="*/ 247187 h 1172"/>
                <a:gd name="T92" fmla="*/ 49270 w 943"/>
                <a:gd name="T93" fmla="*/ 115771 h 1172"/>
                <a:gd name="T94" fmla="*/ 53630 w 943"/>
                <a:gd name="T95" fmla="*/ 93347 h 1172"/>
                <a:gd name="T96" fmla="*/ 66710 w 943"/>
                <a:gd name="T97" fmla="*/ 89175 h 1172"/>
                <a:gd name="T98" fmla="*/ 69762 w 943"/>
                <a:gd name="T99" fmla="*/ 63622 h 1172"/>
                <a:gd name="T100" fmla="*/ 69326 w 943"/>
                <a:gd name="T101" fmla="*/ 34940 h 1172"/>
                <a:gd name="T102" fmla="*/ 296054 w 943"/>
                <a:gd name="T103" fmla="*/ 35983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noFill/>
            <a:ln w="9525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grpSp>
          <p:nvGrpSpPr>
            <p:cNvPr id="275" name="Group 384">
              <a:extLst>
                <a:ext uri="{FF2B5EF4-FFF2-40B4-BE49-F238E27FC236}">
                  <a16:creationId xmlns:a16="http://schemas.microsoft.com/office/drawing/2014/main" xmlns="" id="{EB199C51-BC1B-5187-783E-0BBEBE56016F}"/>
                </a:ext>
              </a:extLst>
            </p:cNvPr>
            <p:cNvGrpSpPr>
              <a:grpSpLocks/>
            </p:cNvGrpSpPr>
            <p:nvPr>
              <p:custDataLst>
                <p:tags r:id="rId271"/>
              </p:custDataLst>
            </p:nvPr>
          </p:nvGrpSpPr>
          <p:grpSpPr bwMode="auto">
            <a:xfrm>
              <a:off x="3452983" y="2120996"/>
              <a:ext cx="70042" cy="60427"/>
              <a:chOff x="2352" y="2343"/>
              <a:chExt cx="65" cy="53"/>
            </a:xfrm>
            <a:solidFill>
              <a:schemeClr val="accent2"/>
            </a:solidFill>
          </p:grpSpPr>
          <p:sp>
            <p:nvSpPr>
              <p:cNvPr id="435" name="Freeform 385">
                <a:extLst>
                  <a:ext uri="{FF2B5EF4-FFF2-40B4-BE49-F238E27FC236}">
                    <a16:creationId xmlns:a16="http://schemas.microsoft.com/office/drawing/2014/main" xmlns="" id="{C7170443-CA86-F922-2CCB-0AAA7B2B51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14 w 51"/>
                  <a:gd name="T1" fmla="*/ 0 h 33"/>
                  <a:gd name="T2" fmla="*/ 0 w 51"/>
                  <a:gd name="T3" fmla="*/ 2 h 33"/>
                  <a:gd name="T4" fmla="*/ 1 w 51"/>
                  <a:gd name="T5" fmla="*/ 9 h 33"/>
                  <a:gd name="T6" fmla="*/ 3 w 51"/>
                  <a:gd name="T7" fmla="*/ 11 h 33"/>
                  <a:gd name="T8" fmla="*/ 11 w 51"/>
                  <a:gd name="T9" fmla="*/ 8 h 33"/>
                  <a:gd name="T10" fmla="*/ 15 w 51"/>
                  <a:gd name="T11" fmla="*/ 5 h 33"/>
                  <a:gd name="T12" fmla="*/ 16 w 51"/>
                  <a:gd name="T13" fmla="*/ 3 h 33"/>
                  <a:gd name="T14" fmla="*/ 14 w 51"/>
                  <a:gd name="T15" fmla="*/ 0 h 3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36" name="Freeform 386">
                <a:extLst>
                  <a:ext uri="{FF2B5EF4-FFF2-40B4-BE49-F238E27FC236}">
                    <a16:creationId xmlns:a16="http://schemas.microsoft.com/office/drawing/2014/main" xmlns="" id="{BEB53000-71EE-4903-AAEC-7C200A6304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20 w 61"/>
                  <a:gd name="T1" fmla="*/ 2 h 20"/>
                  <a:gd name="T2" fmla="*/ 17 w 61"/>
                  <a:gd name="T3" fmla="*/ 1 h 20"/>
                  <a:gd name="T4" fmla="*/ 0 w 61"/>
                  <a:gd name="T5" fmla="*/ 0 h 20"/>
                  <a:gd name="T6" fmla="*/ 1 w 61"/>
                  <a:gd name="T7" fmla="*/ 5 h 20"/>
                  <a:gd name="T8" fmla="*/ 2 w 61"/>
                  <a:gd name="T9" fmla="*/ 7 h 20"/>
                  <a:gd name="T10" fmla="*/ 6 w 61"/>
                  <a:gd name="T11" fmla="*/ 5 h 20"/>
                  <a:gd name="T12" fmla="*/ 20 w 61"/>
                  <a:gd name="T13" fmla="*/ 2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37" name="Freeform 387">
                <a:extLst>
                  <a:ext uri="{FF2B5EF4-FFF2-40B4-BE49-F238E27FC236}">
                    <a16:creationId xmlns:a16="http://schemas.microsoft.com/office/drawing/2014/main" xmlns="" id="{588C1B67-DF71-C23A-AAC4-3AFB615DD5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1 w 15"/>
                  <a:gd name="T1" fmla="*/ 0 h 36"/>
                  <a:gd name="T2" fmla="*/ 0 w 15"/>
                  <a:gd name="T3" fmla="*/ 7 h 36"/>
                  <a:gd name="T4" fmla="*/ 0 w 15"/>
                  <a:gd name="T5" fmla="*/ 12 h 36"/>
                  <a:gd name="T6" fmla="*/ 4 w 15"/>
                  <a:gd name="T7" fmla="*/ 12 h 36"/>
                  <a:gd name="T8" fmla="*/ 5 w 15"/>
                  <a:gd name="T9" fmla="*/ 5 h 36"/>
                  <a:gd name="T10" fmla="*/ 1 w 15"/>
                  <a:gd name="T11" fmla="*/ 0 h 3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38" name="Freeform 388">
                <a:extLst>
                  <a:ext uri="{FF2B5EF4-FFF2-40B4-BE49-F238E27FC236}">
                    <a16:creationId xmlns:a16="http://schemas.microsoft.com/office/drawing/2014/main" xmlns="" id="{2A28A646-9306-BAC4-C82F-DF15A7B98B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1 w 37"/>
                  <a:gd name="T1" fmla="*/ 1 h 33"/>
                  <a:gd name="T2" fmla="*/ 7 w 37"/>
                  <a:gd name="T3" fmla="*/ 0 h 33"/>
                  <a:gd name="T4" fmla="*/ 10 w 37"/>
                  <a:gd name="T5" fmla="*/ 2 h 33"/>
                  <a:gd name="T6" fmla="*/ 11 w 37"/>
                  <a:gd name="T7" fmla="*/ 7 h 33"/>
                  <a:gd name="T8" fmla="*/ 7 w 37"/>
                  <a:gd name="T9" fmla="*/ 11 h 33"/>
                  <a:gd name="T10" fmla="*/ 3 w 37"/>
                  <a:gd name="T11" fmla="*/ 11 h 33"/>
                  <a:gd name="T12" fmla="*/ 1 w 37"/>
                  <a:gd name="T13" fmla="*/ 8 h 33"/>
                  <a:gd name="T14" fmla="*/ 0 w 37"/>
                  <a:gd name="T15" fmla="*/ 5 h 33"/>
                  <a:gd name="T16" fmla="*/ 1 w 37"/>
                  <a:gd name="T17" fmla="*/ 1 h 3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39" name="Freeform 389">
                <a:extLst>
                  <a:ext uri="{FF2B5EF4-FFF2-40B4-BE49-F238E27FC236}">
                    <a16:creationId xmlns:a16="http://schemas.microsoft.com/office/drawing/2014/main" xmlns="" id="{FDB586E9-B673-BEB5-EFC4-60D713CE06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1 w 49"/>
                  <a:gd name="T1" fmla="*/ 0 h 54"/>
                  <a:gd name="T2" fmla="*/ 0 w 49"/>
                  <a:gd name="T3" fmla="*/ 0 h 54"/>
                  <a:gd name="T4" fmla="*/ 1 w 49"/>
                  <a:gd name="T5" fmla="*/ 17 h 54"/>
                  <a:gd name="T6" fmla="*/ 6 w 49"/>
                  <a:gd name="T7" fmla="*/ 18 h 54"/>
                  <a:gd name="T8" fmla="*/ 14 w 49"/>
                  <a:gd name="T9" fmla="*/ 15 h 54"/>
                  <a:gd name="T10" fmla="*/ 16 w 49"/>
                  <a:gd name="T11" fmla="*/ 10 h 54"/>
                  <a:gd name="T12" fmla="*/ 13 w 49"/>
                  <a:gd name="T13" fmla="*/ 7 h 54"/>
                  <a:gd name="T14" fmla="*/ 6 w 49"/>
                  <a:gd name="T15" fmla="*/ 3 h 54"/>
                  <a:gd name="T16" fmla="*/ 1 w 49"/>
                  <a:gd name="T17" fmla="*/ 0 h 5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40" name="Freeform 390">
                <a:extLst>
                  <a:ext uri="{FF2B5EF4-FFF2-40B4-BE49-F238E27FC236}">
                    <a16:creationId xmlns:a16="http://schemas.microsoft.com/office/drawing/2014/main" xmlns="" id="{D0E10D49-D055-FF41-0786-16D33DC124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6 w 26"/>
                  <a:gd name="T1" fmla="*/ 0 h 22"/>
                  <a:gd name="T2" fmla="*/ 1 w 26"/>
                  <a:gd name="T3" fmla="*/ 1 h 22"/>
                  <a:gd name="T4" fmla="*/ 0 w 26"/>
                  <a:gd name="T5" fmla="*/ 5 h 22"/>
                  <a:gd name="T6" fmla="*/ 2 w 26"/>
                  <a:gd name="T7" fmla="*/ 7 h 22"/>
                  <a:gd name="T8" fmla="*/ 7 w 26"/>
                  <a:gd name="T9" fmla="*/ 7 h 22"/>
                  <a:gd name="T10" fmla="*/ 9 w 26"/>
                  <a:gd name="T11" fmla="*/ 4 h 22"/>
                  <a:gd name="T12" fmla="*/ 6 w 26"/>
                  <a:gd name="T13" fmla="*/ 0 h 2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</p:grpSp>
        <p:grpSp>
          <p:nvGrpSpPr>
            <p:cNvPr id="276" name="Group 391">
              <a:extLst>
                <a:ext uri="{FF2B5EF4-FFF2-40B4-BE49-F238E27FC236}">
                  <a16:creationId xmlns:a16="http://schemas.microsoft.com/office/drawing/2014/main" xmlns="" id="{98CF8522-E256-6098-655A-8E0D9D26CD17}"/>
                </a:ext>
              </a:extLst>
            </p:cNvPr>
            <p:cNvGrpSpPr>
              <a:grpSpLocks/>
            </p:cNvGrpSpPr>
            <p:nvPr>
              <p:custDataLst>
                <p:tags r:id="rId272"/>
              </p:custDataLst>
            </p:nvPr>
          </p:nvGrpSpPr>
          <p:grpSpPr bwMode="auto">
            <a:xfrm>
              <a:off x="1589314" y="700963"/>
              <a:ext cx="1641183" cy="829708"/>
              <a:chOff x="527" y="1110"/>
              <a:chExt cx="1410" cy="709"/>
            </a:xfrm>
            <a:solidFill>
              <a:schemeClr val="accent2"/>
            </a:solidFill>
          </p:grpSpPr>
          <p:sp>
            <p:nvSpPr>
              <p:cNvPr id="393" name="Freeform 392">
                <a:extLst>
                  <a:ext uri="{FF2B5EF4-FFF2-40B4-BE49-F238E27FC236}">
                    <a16:creationId xmlns:a16="http://schemas.microsoft.com/office/drawing/2014/main" xmlns="" id="{A93581A7-79DF-F03F-58E8-D06536CB77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13 h 54"/>
                  <a:gd name="T2" fmla="*/ 2 w 98"/>
                  <a:gd name="T3" fmla="*/ 14 h 54"/>
                  <a:gd name="T4" fmla="*/ 4 w 98"/>
                  <a:gd name="T5" fmla="*/ 16 h 54"/>
                  <a:gd name="T6" fmla="*/ 7 w 98"/>
                  <a:gd name="T7" fmla="*/ 17 h 54"/>
                  <a:gd name="T8" fmla="*/ 10 w 98"/>
                  <a:gd name="T9" fmla="*/ 17 h 54"/>
                  <a:gd name="T10" fmla="*/ 12 w 98"/>
                  <a:gd name="T11" fmla="*/ 17 h 54"/>
                  <a:gd name="T12" fmla="*/ 14 w 98"/>
                  <a:gd name="T13" fmla="*/ 17 h 54"/>
                  <a:gd name="T14" fmla="*/ 16 w 98"/>
                  <a:gd name="T15" fmla="*/ 16 h 54"/>
                  <a:gd name="T16" fmla="*/ 18 w 98"/>
                  <a:gd name="T17" fmla="*/ 15 h 54"/>
                  <a:gd name="T18" fmla="*/ 21 w 98"/>
                  <a:gd name="T19" fmla="*/ 13 h 54"/>
                  <a:gd name="T20" fmla="*/ 24 w 98"/>
                  <a:gd name="T21" fmla="*/ 11 h 54"/>
                  <a:gd name="T22" fmla="*/ 27 w 98"/>
                  <a:gd name="T23" fmla="*/ 9 h 54"/>
                  <a:gd name="T24" fmla="*/ 29 w 98"/>
                  <a:gd name="T25" fmla="*/ 6 h 54"/>
                  <a:gd name="T26" fmla="*/ 30 w 98"/>
                  <a:gd name="T27" fmla="*/ 4 h 54"/>
                  <a:gd name="T28" fmla="*/ 31 w 98"/>
                  <a:gd name="T29" fmla="*/ 1 h 54"/>
                  <a:gd name="T30" fmla="*/ 29 w 98"/>
                  <a:gd name="T31" fmla="*/ 1 h 54"/>
                  <a:gd name="T32" fmla="*/ 26 w 98"/>
                  <a:gd name="T33" fmla="*/ 0 h 54"/>
                  <a:gd name="T34" fmla="*/ 24 w 98"/>
                  <a:gd name="T35" fmla="*/ 0 h 54"/>
                  <a:gd name="T36" fmla="*/ 22 w 98"/>
                  <a:gd name="T37" fmla="*/ 0 h 54"/>
                  <a:gd name="T38" fmla="*/ 19 w 98"/>
                  <a:gd name="T39" fmla="*/ 0 h 54"/>
                  <a:gd name="T40" fmla="*/ 16 w 98"/>
                  <a:gd name="T41" fmla="*/ 1 h 54"/>
                  <a:gd name="T42" fmla="*/ 14 w 98"/>
                  <a:gd name="T43" fmla="*/ 2 h 54"/>
                  <a:gd name="T44" fmla="*/ 12 w 98"/>
                  <a:gd name="T45" fmla="*/ 3 h 54"/>
                  <a:gd name="T46" fmla="*/ 7 w 98"/>
                  <a:gd name="T47" fmla="*/ 5 h 54"/>
                  <a:gd name="T48" fmla="*/ 4 w 98"/>
                  <a:gd name="T49" fmla="*/ 8 h 54"/>
                  <a:gd name="T50" fmla="*/ 2 w 98"/>
                  <a:gd name="T51" fmla="*/ 9 h 54"/>
                  <a:gd name="T52" fmla="*/ 1 w 98"/>
                  <a:gd name="T53" fmla="*/ 10 h 54"/>
                  <a:gd name="T54" fmla="*/ 0 w 98"/>
                  <a:gd name="T55" fmla="*/ 12 h 54"/>
                  <a:gd name="T56" fmla="*/ 0 w 98"/>
                  <a:gd name="T57" fmla="*/ 13 h 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394" name="Freeform 393">
                <a:extLst>
                  <a:ext uri="{FF2B5EF4-FFF2-40B4-BE49-F238E27FC236}">
                    <a16:creationId xmlns:a16="http://schemas.microsoft.com/office/drawing/2014/main" xmlns="" id="{A932D8CF-D453-35EE-D909-34932277FE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8 h 28"/>
                  <a:gd name="T2" fmla="*/ 3 w 67"/>
                  <a:gd name="T3" fmla="*/ 8 h 28"/>
                  <a:gd name="T4" fmla="*/ 7 w 67"/>
                  <a:gd name="T5" fmla="*/ 8 h 28"/>
                  <a:gd name="T6" fmla="*/ 10 w 67"/>
                  <a:gd name="T7" fmla="*/ 7 h 28"/>
                  <a:gd name="T8" fmla="*/ 13 w 67"/>
                  <a:gd name="T9" fmla="*/ 6 h 28"/>
                  <a:gd name="T10" fmla="*/ 15 w 67"/>
                  <a:gd name="T11" fmla="*/ 5 h 28"/>
                  <a:gd name="T12" fmla="*/ 18 w 67"/>
                  <a:gd name="T13" fmla="*/ 3 h 28"/>
                  <a:gd name="T14" fmla="*/ 20 w 67"/>
                  <a:gd name="T15" fmla="*/ 2 h 28"/>
                  <a:gd name="T16" fmla="*/ 21 w 67"/>
                  <a:gd name="T17" fmla="*/ 1 h 28"/>
                  <a:gd name="T18" fmla="*/ 18 w 67"/>
                  <a:gd name="T19" fmla="*/ 0 h 28"/>
                  <a:gd name="T20" fmla="*/ 14 w 67"/>
                  <a:gd name="T21" fmla="*/ 0 h 28"/>
                  <a:gd name="T22" fmla="*/ 11 w 67"/>
                  <a:gd name="T23" fmla="*/ 0 h 28"/>
                  <a:gd name="T24" fmla="*/ 8 w 67"/>
                  <a:gd name="T25" fmla="*/ 1 h 28"/>
                  <a:gd name="T26" fmla="*/ 5 w 67"/>
                  <a:gd name="T27" fmla="*/ 2 h 28"/>
                  <a:gd name="T28" fmla="*/ 3 w 67"/>
                  <a:gd name="T29" fmla="*/ 3 h 28"/>
                  <a:gd name="T30" fmla="*/ 2 w 67"/>
                  <a:gd name="T31" fmla="*/ 4 h 28"/>
                  <a:gd name="T32" fmla="*/ 1 w 67"/>
                  <a:gd name="T33" fmla="*/ 5 h 28"/>
                  <a:gd name="T34" fmla="*/ 1 w 67"/>
                  <a:gd name="T35" fmla="*/ 6 h 28"/>
                  <a:gd name="T36" fmla="*/ 0 w 67"/>
                  <a:gd name="T37" fmla="*/ 8 h 2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395" name="Freeform 394">
                <a:extLst>
                  <a:ext uri="{FF2B5EF4-FFF2-40B4-BE49-F238E27FC236}">
                    <a16:creationId xmlns:a16="http://schemas.microsoft.com/office/drawing/2014/main" xmlns="" id="{915CF46B-342C-B19A-56D9-F183666423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6 h 36"/>
                  <a:gd name="T2" fmla="*/ 0 w 32"/>
                  <a:gd name="T3" fmla="*/ 7 h 36"/>
                  <a:gd name="T4" fmla="*/ 1 w 32"/>
                  <a:gd name="T5" fmla="*/ 9 h 36"/>
                  <a:gd name="T6" fmla="*/ 2 w 32"/>
                  <a:gd name="T7" fmla="*/ 10 h 36"/>
                  <a:gd name="T8" fmla="*/ 3 w 32"/>
                  <a:gd name="T9" fmla="*/ 10 h 36"/>
                  <a:gd name="T10" fmla="*/ 4 w 32"/>
                  <a:gd name="T11" fmla="*/ 11 h 36"/>
                  <a:gd name="T12" fmla="*/ 4 w 32"/>
                  <a:gd name="T13" fmla="*/ 11 h 36"/>
                  <a:gd name="T14" fmla="*/ 11 w 32"/>
                  <a:gd name="T15" fmla="*/ 11 h 36"/>
                  <a:gd name="T16" fmla="*/ 11 w 32"/>
                  <a:gd name="T17" fmla="*/ 7 h 36"/>
                  <a:gd name="T18" fmla="*/ 11 w 32"/>
                  <a:gd name="T19" fmla="*/ 4 h 36"/>
                  <a:gd name="T20" fmla="*/ 10 w 32"/>
                  <a:gd name="T21" fmla="*/ 2 h 36"/>
                  <a:gd name="T22" fmla="*/ 9 w 32"/>
                  <a:gd name="T23" fmla="*/ 0 h 36"/>
                  <a:gd name="T24" fmla="*/ 7 w 32"/>
                  <a:gd name="T25" fmla="*/ 1 h 36"/>
                  <a:gd name="T26" fmla="*/ 4 w 32"/>
                  <a:gd name="T27" fmla="*/ 2 h 36"/>
                  <a:gd name="T28" fmla="*/ 2 w 32"/>
                  <a:gd name="T29" fmla="*/ 3 h 36"/>
                  <a:gd name="T30" fmla="*/ 1 w 32"/>
                  <a:gd name="T31" fmla="*/ 4 h 36"/>
                  <a:gd name="T32" fmla="*/ 0 w 32"/>
                  <a:gd name="T33" fmla="*/ 5 h 36"/>
                  <a:gd name="T34" fmla="*/ 0 w 32"/>
                  <a:gd name="T35" fmla="*/ 6 h 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396" name="Freeform 395">
                <a:extLst>
                  <a:ext uri="{FF2B5EF4-FFF2-40B4-BE49-F238E27FC236}">
                    <a16:creationId xmlns:a16="http://schemas.microsoft.com/office/drawing/2014/main" xmlns="" id="{B899B54D-9A92-A08E-B508-56B7D3B7F7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14 h 52"/>
                  <a:gd name="T2" fmla="*/ 3 w 146"/>
                  <a:gd name="T3" fmla="*/ 15 h 52"/>
                  <a:gd name="T4" fmla="*/ 7 w 146"/>
                  <a:gd name="T5" fmla="*/ 16 h 52"/>
                  <a:gd name="T6" fmla="*/ 10 w 146"/>
                  <a:gd name="T7" fmla="*/ 17 h 52"/>
                  <a:gd name="T8" fmla="*/ 14 w 146"/>
                  <a:gd name="T9" fmla="*/ 17 h 52"/>
                  <a:gd name="T10" fmla="*/ 20 w 146"/>
                  <a:gd name="T11" fmla="*/ 17 h 52"/>
                  <a:gd name="T12" fmla="*/ 26 w 146"/>
                  <a:gd name="T13" fmla="*/ 17 h 52"/>
                  <a:gd name="T14" fmla="*/ 37 w 146"/>
                  <a:gd name="T15" fmla="*/ 15 h 52"/>
                  <a:gd name="T16" fmla="*/ 46 w 146"/>
                  <a:gd name="T17" fmla="*/ 14 h 52"/>
                  <a:gd name="T18" fmla="*/ 45 w 146"/>
                  <a:gd name="T19" fmla="*/ 12 h 52"/>
                  <a:gd name="T20" fmla="*/ 45 w 146"/>
                  <a:gd name="T21" fmla="*/ 10 h 52"/>
                  <a:gd name="T22" fmla="*/ 44 w 146"/>
                  <a:gd name="T23" fmla="*/ 8 h 52"/>
                  <a:gd name="T24" fmla="*/ 43 w 146"/>
                  <a:gd name="T25" fmla="*/ 6 h 52"/>
                  <a:gd name="T26" fmla="*/ 42 w 146"/>
                  <a:gd name="T27" fmla="*/ 5 h 52"/>
                  <a:gd name="T28" fmla="*/ 41 w 146"/>
                  <a:gd name="T29" fmla="*/ 4 h 52"/>
                  <a:gd name="T30" fmla="*/ 39 w 146"/>
                  <a:gd name="T31" fmla="*/ 3 h 52"/>
                  <a:gd name="T32" fmla="*/ 38 w 146"/>
                  <a:gd name="T33" fmla="*/ 2 h 52"/>
                  <a:gd name="T34" fmla="*/ 35 w 146"/>
                  <a:gd name="T35" fmla="*/ 1 h 52"/>
                  <a:gd name="T36" fmla="*/ 32 w 146"/>
                  <a:gd name="T37" fmla="*/ 0 h 52"/>
                  <a:gd name="T38" fmla="*/ 28 w 146"/>
                  <a:gd name="T39" fmla="*/ 0 h 52"/>
                  <a:gd name="T40" fmla="*/ 25 w 146"/>
                  <a:gd name="T41" fmla="*/ 1 h 52"/>
                  <a:gd name="T42" fmla="*/ 21 w 146"/>
                  <a:gd name="T43" fmla="*/ 2 h 52"/>
                  <a:gd name="T44" fmla="*/ 17 w 146"/>
                  <a:gd name="T45" fmla="*/ 3 h 52"/>
                  <a:gd name="T46" fmla="*/ 14 w 146"/>
                  <a:gd name="T47" fmla="*/ 5 h 52"/>
                  <a:gd name="T48" fmla="*/ 10 w 146"/>
                  <a:gd name="T49" fmla="*/ 6 h 52"/>
                  <a:gd name="T50" fmla="*/ 7 w 146"/>
                  <a:gd name="T51" fmla="*/ 8 h 52"/>
                  <a:gd name="T52" fmla="*/ 4 w 146"/>
                  <a:gd name="T53" fmla="*/ 10 h 52"/>
                  <a:gd name="T54" fmla="*/ 2 w 146"/>
                  <a:gd name="T55" fmla="*/ 12 h 52"/>
                  <a:gd name="T56" fmla="*/ 0 w 146"/>
                  <a:gd name="T57" fmla="*/ 14 h 5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397" name="Freeform 396">
                <a:extLst>
                  <a:ext uri="{FF2B5EF4-FFF2-40B4-BE49-F238E27FC236}">
                    <a16:creationId xmlns:a16="http://schemas.microsoft.com/office/drawing/2014/main" xmlns="" id="{55BE9E3F-4A62-6192-DC0D-D6C24B0B2A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20 w 60"/>
                  <a:gd name="T1" fmla="*/ 0 h 31"/>
                  <a:gd name="T2" fmla="*/ 16 w 60"/>
                  <a:gd name="T3" fmla="*/ 0 h 31"/>
                  <a:gd name="T4" fmla="*/ 13 w 60"/>
                  <a:gd name="T5" fmla="*/ 0 h 31"/>
                  <a:gd name="T6" fmla="*/ 10 w 60"/>
                  <a:gd name="T7" fmla="*/ 0 h 31"/>
                  <a:gd name="T8" fmla="*/ 9 w 60"/>
                  <a:gd name="T9" fmla="*/ 0 h 31"/>
                  <a:gd name="T10" fmla="*/ 6 w 60"/>
                  <a:gd name="T11" fmla="*/ 0 h 31"/>
                  <a:gd name="T12" fmla="*/ 3 w 60"/>
                  <a:gd name="T13" fmla="*/ 1 h 31"/>
                  <a:gd name="T14" fmla="*/ 2 w 60"/>
                  <a:gd name="T15" fmla="*/ 1 h 31"/>
                  <a:gd name="T16" fmla="*/ 1 w 60"/>
                  <a:gd name="T17" fmla="*/ 2 h 31"/>
                  <a:gd name="T18" fmla="*/ 0 w 60"/>
                  <a:gd name="T19" fmla="*/ 3 h 31"/>
                  <a:gd name="T20" fmla="*/ 0 w 60"/>
                  <a:gd name="T21" fmla="*/ 4 h 31"/>
                  <a:gd name="T22" fmla="*/ 0 w 60"/>
                  <a:gd name="T23" fmla="*/ 5 h 31"/>
                  <a:gd name="T24" fmla="*/ 1 w 60"/>
                  <a:gd name="T25" fmla="*/ 6 h 31"/>
                  <a:gd name="T26" fmla="*/ 2 w 60"/>
                  <a:gd name="T27" fmla="*/ 7 h 31"/>
                  <a:gd name="T28" fmla="*/ 3 w 60"/>
                  <a:gd name="T29" fmla="*/ 8 h 31"/>
                  <a:gd name="T30" fmla="*/ 4 w 60"/>
                  <a:gd name="T31" fmla="*/ 9 h 31"/>
                  <a:gd name="T32" fmla="*/ 6 w 60"/>
                  <a:gd name="T33" fmla="*/ 9 h 31"/>
                  <a:gd name="T34" fmla="*/ 7 w 60"/>
                  <a:gd name="T35" fmla="*/ 10 h 31"/>
                  <a:gd name="T36" fmla="*/ 9 w 60"/>
                  <a:gd name="T37" fmla="*/ 10 h 31"/>
                  <a:gd name="T38" fmla="*/ 11 w 60"/>
                  <a:gd name="T39" fmla="*/ 10 h 31"/>
                  <a:gd name="T40" fmla="*/ 12 w 60"/>
                  <a:gd name="T41" fmla="*/ 9 h 31"/>
                  <a:gd name="T42" fmla="*/ 14 w 60"/>
                  <a:gd name="T43" fmla="*/ 8 h 31"/>
                  <a:gd name="T44" fmla="*/ 16 w 60"/>
                  <a:gd name="T45" fmla="*/ 6 h 31"/>
                  <a:gd name="T46" fmla="*/ 19 w 60"/>
                  <a:gd name="T47" fmla="*/ 3 h 31"/>
                  <a:gd name="T48" fmla="*/ 20 w 60"/>
                  <a:gd name="T49" fmla="*/ 2 h 31"/>
                  <a:gd name="T50" fmla="*/ 20 w 60"/>
                  <a:gd name="T51" fmla="*/ 0 h 3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398" name="Freeform 397">
                <a:extLst>
                  <a:ext uri="{FF2B5EF4-FFF2-40B4-BE49-F238E27FC236}">
                    <a16:creationId xmlns:a16="http://schemas.microsoft.com/office/drawing/2014/main" xmlns="" id="{EB3BFA11-3562-39B3-DD8F-394E935935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14 h 62"/>
                  <a:gd name="T2" fmla="*/ 0 w 80"/>
                  <a:gd name="T3" fmla="*/ 15 h 62"/>
                  <a:gd name="T4" fmla="*/ 0 w 80"/>
                  <a:gd name="T5" fmla="*/ 16 h 62"/>
                  <a:gd name="T6" fmla="*/ 1 w 80"/>
                  <a:gd name="T7" fmla="*/ 16 h 62"/>
                  <a:gd name="T8" fmla="*/ 1 w 80"/>
                  <a:gd name="T9" fmla="*/ 17 h 62"/>
                  <a:gd name="T10" fmla="*/ 3 w 80"/>
                  <a:gd name="T11" fmla="*/ 18 h 62"/>
                  <a:gd name="T12" fmla="*/ 5 w 80"/>
                  <a:gd name="T13" fmla="*/ 19 h 62"/>
                  <a:gd name="T14" fmla="*/ 9 w 80"/>
                  <a:gd name="T15" fmla="*/ 20 h 62"/>
                  <a:gd name="T16" fmla="*/ 13 w 80"/>
                  <a:gd name="T17" fmla="*/ 20 h 62"/>
                  <a:gd name="T18" fmla="*/ 15 w 80"/>
                  <a:gd name="T19" fmla="*/ 20 h 62"/>
                  <a:gd name="T20" fmla="*/ 16 w 80"/>
                  <a:gd name="T21" fmla="*/ 19 h 62"/>
                  <a:gd name="T22" fmla="*/ 18 w 80"/>
                  <a:gd name="T23" fmla="*/ 18 h 62"/>
                  <a:gd name="T24" fmla="*/ 19 w 80"/>
                  <a:gd name="T25" fmla="*/ 17 h 62"/>
                  <a:gd name="T26" fmla="*/ 21 w 80"/>
                  <a:gd name="T27" fmla="*/ 15 h 62"/>
                  <a:gd name="T28" fmla="*/ 23 w 80"/>
                  <a:gd name="T29" fmla="*/ 12 h 62"/>
                  <a:gd name="T30" fmla="*/ 24 w 80"/>
                  <a:gd name="T31" fmla="*/ 9 h 62"/>
                  <a:gd name="T32" fmla="*/ 25 w 80"/>
                  <a:gd name="T33" fmla="*/ 6 h 62"/>
                  <a:gd name="T34" fmla="*/ 26 w 80"/>
                  <a:gd name="T35" fmla="*/ 3 h 62"/>
                  <a:gd name="T36" fmla="*/ 26 w 80"/>
                  <a:gd name="T37" fmla="*/ 0 h 62"/>
                  <a:gd name="T38" fmla="*/ 23 w 80"/>
                  <a:gd name="T39" fmla="*/ 0 h 62"/>
                  <a:gd name="T40" fmla="*/ 19 w 80"/>
                  <a:gd name="T41" fmla="*/ 1 h 62"/>
                  <a:gd name="T42" fmla="*/ 15 w 80"/>
                  <a:gd name="T43" fmla="*/ 3 h 62"/>
                  <a:gd name="T44" fmla="*/ 11 w 80"/>
                  <a:gd name="T45" fmla="*/ 4 h 62"/>
                  <a:gd name="T46" fmla="*/ 7 w 80"/>
                  <a:gd name="T47" fmla="*/ 6 h 62"/>
                  <a:gd name="T48" fmla="*/ 3 w 80"/>
                  <a:gd name="T49" fmla="*/ 8 h 62"/>
                  <a:gd name="T50" fmla="*/ 2 w 80"/>
                  <a:gd name="T51" fmla="*/ 10 h 62"/>
                  <a:gd name="T52" fmla="*/ 1 w 80"/>
                  <a:gd name="T53" fmla="*/ 11 h 62"/>
                  <a:gd name="T54" fmla="*/ 0 w 80"/>
                  <a:gd name="T55" fmla="*/ 13 h 62"/>
                  <a:gd name="T56" fmla="*/ 0 w 80"/>
                  <a:gd name="T57" fmla="*/ 14 h 6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399" name="Freeform 398">
                <a:extLst>
                  <a:ext uri="{FF2B5EF4-FFF2-40B4-BE49-F238E27FC236}">
                    <a16:creationId xmlns:a16="http://schemas.microsoft.com/office/drawing/2014/main" xmlns="" id="{E76456CA-24F3-959A-EC22-3613CBF4B4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25 w 106"/>
                  <a:gd name="T1" fmla="*/ 4 h 49"/>
                  <a:gd name="T2" fmla="*/ 22 w 106"/>
                  <a:gd name="T3" fmla="*/ 4 h 49"/>
                  <a:gd name="T4" fmla="*/ 21 w 106"/>
                  <a:gd name="T5" fmla="*/ 4 h 49"/>
                  <a:gd name="T6" fmla="*/ 18 w 106"/>
                  <a:gd name="T7" fmla="*/ 3 h 49"/>
                  <a:gd name="T8" fmla="*/ 17 w 106"/>
                  <a:gd name="T9" fmla="*/ 2 h 49"/>
                  <a:gd name="T10" fmla="*/ 15 w 106"/>
                  <a:gd name="T11" fmla="*/ 1 h 49"/>
                  <a:gd name="T12" fmla="*/ 13 w 106"/>
                  <a:gd name="T13" fmla="*/ 1 h 49"/>
                  <a:gd name="T14" fmla="*/ 11 w 106"/>
                  <a:gd name="T15" fmla="*/ 0 h 49"/>
                  <a:gd name="T16" fmla="*/ 8 w 106"/>
                  <a:gd name="T17" fmla="*/ 0 h 49"/>
                  <a:gd name="T18" fmla="*/ 5 w 106"/>
                  <a:gd name="T19" fmla="*/ 0 h 49"/>
                  <a:gd name="T20" fmla="*/ 0 w 106"/>
                  <a:gd name="T21" fmla="*/ 0 h 49"/>
                  <a:gd name="T22" fmla="*/ 3 w 106"/>
                  <a:gd name="T23" fmla="*/ 4 h 49"/>
                  <a:gd name="T24" fmla="*/ 5 w 106"/>
                  <a:gd name="T25" fmla="*/ 7 h 49"/>
                  <a:gd name="T26" fmla="*/ 8 w 106"/>
                  <a:gd name="T27" fmla="*/ 9 h 49"/>
                  <a:gd name="T28" fmla="*/ 11 w 106"/>
                  <a:gd name="T29" fmla="*/ 12 h 49"/>
                  <a:gd name="T30" fmla="*/ 13 w 106"/>
                  <a:gd name="T31" fmla="*/ 14 h 49"/>
                  <a:gd name="T32" fmla="*/ 16 w 106"/>
                  <a:gd name="T33" fmla="*/ 15 h 49"/>
                  <a:gd name="T34" fmla="*/ 19 w 106"/>
                  <a:gd name="T35" fmla="*/ 16 h 49"/>
                  <a:gd name="T36" fmla="*/ 22 w 106"/>
                  <a:gd name="T37" fmla="*/ 16 h 49"/>
                  <a:gd name="T38" fmla="*/ 25 w 106"/>
                  <a:gd name="T39" fmla="*/ 16 h 49"/>
                  <a:gd name="T40" fmla="*/ 27 w 106"/>
                  <a:gd name="T41" fmla="*/ 15 h 49"/>
                  <a:gd name="T42" fmla="*/ 30 w 106"/>
                  <a:gd name="T43" fmla="*/ 13 h 49"/>
                  <a:gd name="T44" fmla="*/ 33 w 106"/>
                  <a:gd name="T45" fmla="*/ 10 h 49"/>
                  <a:gd name="T46" fmla="*/ 31 w 106"/>
                  <a:gd name="T47" fmla="*/ 10 h 49"/>
                  <a:gd name="T48" fmla="*/ 31 w 106"/>
                  <a:gd name="T49" fmla="*/ 9 h 49"/>
                  <a:gd name="T50" fmla="*/ 29 w 106"/>
                  <a:gd name="T51" fmla="*/ 8 h 49"/>
                  <a:gd name="T52" fmla="*/ 28 w 106"/>
                  <a:gd name="T53" fmla="*/ 7 h 49"/>
                  <a:gd name="T54" fmla="*/ 27 w 106"/>
                  <a:gd name="T55" fmla="*/ 6 h 49"/>
                  <a:gd name="T56" fmla="*/ 26 w 106"/>
                  <a:gd name="T57" fmla="*/ 5 h 49"/>
                  <a:gd name="T58" fmla="*/ 26 w 106"/>
                  <a:gd name="T59" fmla="*/ 5 h 49"/>
                  <a:gd name="T60" fmla="*/ 25 w 106"/>
                  <a:gd name="T61" fmla="*/ 4 h 49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00" name="Freeform 399">
                <a:extLst>
                  <a:ext uri="{FF2B5EF4-FFF2-40B4-BE49-F238E27FC236}">
                    <a16:creationId xmlns:a16="http://schemas.microsoft.com/office/drawing/2014/main" xmlns="" id="{6CC8FF84-D384-3D9F-2BC2-AB4480242A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6 h 22"/>
                  <a:gd name="T2" fmla="*/ 2 w 47"/>
                  <a:gd name="T3" fmla="*/ 7 h 22"/>
                  <a:gd name="T4" fmla="*/ 4 w 47"/>
                  <a:gd name="T5" fmla="*/ 7 h 22"/>
                  <a:gd name="T6" fmla="*/ 6 w 47"/>
                  <a:gd name="T7" fmla="*/ 7 h 22"/>
                  <a:gd name="T8" fmla="*/ 8 w 47"/>
                  <a:gd name="T9" fmla="*/ 7 h 22"/>
                  <a:gd name="T10" fmla="*/ 11 w 47"/>
                  <a:gd name="T11" fmla="*/ 6 h 22"/>
                  <a:gd name="T12" fmla="*/ 12 w 47"/>
                  <a:gd name="T13" fmla="*/ 5 h 22"/>
                  <a:gd name="T14" fmla="*/ 13 w 47"/>
                  <a:gd name="T15" fmla="*/ 4 h 22"/>
                  <a:gd name="T16" fmla="*/ 14 w 47"/>
                  <a:gd name="T17" fmla="*/ 3 h 22"/>
                  <a:gd name="T18" fmla="*/ 14 w 47"/>
                  <a:gd name="T19" fmla="*/ 2 h 22"/>
                  <a:gd name="T20" fmla="*/ 15 w 47"/>
                  <a:gd name="T21" fmla="*/ 0 h 22"/>
                  <a:gd name="T22" fmla="*/ 0 w 47"/>
                  <a:gd name="T23" fmla="*/ 6 h 2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01" name="Freeform 400">
                <a:extLst>
                  <a:ext uri="{FF2B5EF4-FFF2-40B4-BE49-F238E27FC236}">
                    <a16:creationId xmlns:a16="http://schemas.microsoft.com/office/drawing/2014/main" xmlns="" id="{C46E7D1A-2993-EC24-59DD-93A71354C1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17 w 53"/>
                  <a:gd name="T1" fmla="*/ 0 h 32"/>
                  <a:gd name="T2" fmla="*/ 12 w 53"/>
                  <a:gd name="T3" fmla="*/ 3 h 32"/>
                  <a:gd name="T4" fmla="*/ 7 w 53"/>
                  <a:gd name="T5" fmla="*/ 6 h 32"/>
                  <a:gd name="T6" fmla="*/ 4 w 53"/>
                  <a:gd name="T7" fmla="*/ 9 h 32"/>
                  <a:gd name="T8" fmla="*/ 0 w 53"/>
                  <a:gd name="T9" fmla="*/ 11 h 32"/>
                  <a:gd name="T10" fmla="*/ 4 w 53"/>
                  <a:gd name="T11" fmla="*/ 11 h 32"/>
                  <a:gd name="T12" fmla="*/ 8 w 53"/>
                  <a:gd name="T13" fmla="*/ 11 h 32"/>
                  <a:gd name="T14" fmla="*/ 13 w 53"/>
                  <a:gd name="T15" fmla="*/ 11 h 32"/>
                  <a:gd name="T16" fmla="*/ 17 w 53"/>
                  <a:gd name="T17" fmla="*/ 11 h 32"/>
                  <a:gd name="T18" fmla="*/ 17 w 53"/>
                  <a:gd name="T19" fmla="*/ 8 h 32"/>
                  <a:gd name="T20" fmla="*/ 17 w 53"/>
                  <a:gd name="T21" fmla="*/ 6 h 32"/>
                  <a:gd name="T22" fmla="*/ 17 w 53"/>
                  <a:gd name="T23" fmla="*/ 3 h 32"/>
                  <a:gd name="T24" fmla="*/ 17 w 53"/>
                  <a:gd name="T25" fmla="*/ 0 h 3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02" name="Freeform 401">
                <a:extLst>
                  <a:ext uri="{FF2B5EF4-FFF2-40B4-BE49-F238E27FC236}">
                    <a16:creationId xmlns:a16="http://schemas.microsoft.com/office/drawing/2014/main" xmlns="" id="{53EF20CF-B877-19CC-5DA3-D1DC382F19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8 w 46"/>
                  <a:gd name="T1" fmla="*/ 1 h 34"/>
                  <a:gd name="T2" fmla="*/ 0 w 46"/>
                  <a:gd name="T3" fmla="*/ 6 h 34"/>
                  <a:gd name="T4" fmla="*/ 0 w 46"/>
                  <a:gd name="T5" fmla="*/ 12 h 34"/>
                  <a:gd name="T6" fmla="*/ 8 w 46"/>
                  <a:gd name="T7" fmla="*/ 12 h 34"/>
                  <a:gd name="T8" fmla="*/ 9 w 46"/>
                  <a:gd name="T9" fmla="*/ 11 h 34"/>
                  <a:gd name="T10" fmla="*/ 11 w 46"/>
                  <a:gd name="T11" fmla="*/ 10 h 34"/>
                  <a:gd name="T12" fmla="*/ 12 w 46"/>
                  <a:gd name="T13" fmla="*/ 9 h 34"/>
                  <a:gd name="T14" fmla="*/ 13 w 46"/>
                  <a:gd name="T15" fmla="*/ 7 h 34"/>
                  <a:gd name="T16" fmla="*/ 13 w 46"/>
                  <a:gd name="T17" fmla="*/ 6 h 34"/>
                  <a:gd name="T18" fmla="*/ 14 w 46"/>
                  <a:gd name="T19" fmla="*/ 5 h 34"/>
                  <a:gd name="T20" fmla="*/ 14 w 46"/>
                  <a:gd name="T21" fmla="*/ 3 h 34"/>
                  <a:gd name="T22" fmla="*/ 14 w 46"/>
                  <a:gd name="T23" fmla="*/ 1 h 34"/>
                  <a:gd name="T24" fmla="*/ 14 w 46"/>
                  <a:gd name="T25" fmla="*/ 0 h 34"/>
                  <a:gd name="T26" fmla="*/ 13 w 46"/>
                  <a:gd name="T27" fmla="*/ 0 h 34"/>
                  <a:gd name="T28" fmla="*/ 13 w 46"/>
                  <a:gd name="T29" fmla="*/ 0 h 34"/>
                  <a:gd name="T30" fmla="*/ 12 w 46"/>
                  <a:gd name="T31" fmla="*/ 0 h 34"/>
                  <a:gd name="T32" fmla="*/ 10 w 46"/>
                  <a:gd name="T33" fmla="*/ 1 h 34"/>
                  <a:gd name="T34" fmla="*/ 8 w 46"/>
                  <a:gd name="T35" fmla="*/ 1 h 3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03" name="Freeform 402">
                <a:extLst>
                  <a:ext uri="{FF2B5EF4-FFF2-40B4-BE49-F238E27FC236}">
                    <a16:creationId xmlns:a16="http://schemas.microsoft.com/office/drawing/2014/main" xmlns="" id="{82E68E1D-BCE0-53EB-DB22-642D26BD1B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8 h 25"/>
                  <a:gd name="T2" fmla="*/ 5 w 48"/>
                  <a:gd name="T3" fmla="*/ 8 h 25"/>
                  <a:gd name="T4" fmla="*/ 9 w 48"/>
                  <a:gd name="T5" fmla="*/ 8 h 25"/>
                  <a:gd name="T6" fmla="*/ 10 w 48"/>
                  <a:gd name="T7" fmla="*/ 8 h 25"/>
                  <a:gd name="T8" fmla="*/ 11 w 48"/>
                  <a:gd name="T9" fmla="*/ 7 h 25"/>
                  <a:gd name="T10" fmla="*/ 12 w 48"/>
                  <a:gd name="T11" fmla="*/ 6 h 25"/>
                  <a:gd name="T12" fmla="*/ 13 w 48"/>
                  <a:gd name="T13" fmla="*/ 5 h 25"/>
                  <a:gd name="T14" fmla="*/ 15 w 48"/>
                  <a:gd name="T15" fmla="*/ 2 h 25"/>
                  <a:gd name="T16" fmla="*/ 16 w 48"/>
                  <a:gd name="T17" fmla="*/ 0 h 25"/>
                  <a:gd name="T18" fmla="*/ 13 w 48"/>
                  <a:gd name="T19" fmla="*/ 0 h 25"/>
                  <a:gd name="T20" fmla="*/ 11 w 48"/>
                  <a:gd name="T21" fmla="*/ 1 h 25"/>
                  <a:gd name="T22" fmla="*/ 9 w 48"/>
                  <a:gd name="T23" fmla="*/ 2 h 25"/>
                  <a:gd name="T24" fmla="*/ 7 w 48"/>
                  <a:gd name="T25" fmla="*/ 3 h 25"/>
                  <a:gd name="T26" fmla="*/ 4 w 48"/>
                  <a:gd name="T27" fmla="*/ 5 h 25"/>
                  <a:gd name="T28" fmla="*/ 0 w 48"/>
                  <a:gd name="T29" fmla="*/ 8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04" name="Freeform 403">
                <a:extLst>
                  <a:ext uri="{FF2B5EF4-FFF2-40B4-BE49-F238E27FC236}">
                    <a16:creationId xmlns:a16="http://schemas.microsoft.com/office/drawing/2014/main" xmlns="" id="{4A33EAC1-03EB-A720-B949-A8CC80BAE5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11 h 37"/>
                  <a:gd name="T4" fmla="*/ 3 w 30"/>
                  <a:gd name="T5" fmla="*/ 11 h 37"/>
                  <a:gd name="T6" fmla="*/ 5 w 30"/>
                  <a:gd name="T7" fmla="*/ 10 h 37"/>
                  <a:gd name="T8" fmla="*/ 6 w 30"/>
                  <a:gd name="T9" fmla="*/ 10 h 37"/>
                  <a:gd name="T10" fmla="*/ 7 w 30"/>
                  <a:gd name="T11" fmla="*/ 10 h 37"/>
                  <a:gd name="T12" fmla="*/ 7 w 30"/>
                  <a:gd name="T13" fmla="*/ 9 h 37"/>
                  <a:gd name="T14" fmla="*/ 8 w 30"/>
                  <a:gd name="T15" fmla="*/ 8 h 37"/>
                  <a:gd name="T16" fmla="*/ 8 w 30"/>
                  <a:gd name="T17" fmla="*/ 7 h 37"/>
                  <a:gd name="T18" fmla="*/ 8 w 30"/>
                  <a:gd name="T19" fmla="*/ 5 h 37"/>
                  <a:gd name="T20" fmla="*/ 8 w 30"/>
                  <a:gd name="T21" fmla="*/ 3 h 37"/>
                  <a:gd name="T22" fmla="*/ 7 w 30"/>
                  <a:gd name="T23" fmla="*/ 0 h 37"/>
                  <a:gd name="T24" fmla="*/ 0 w 30"/>
                  <a:gd name="T25" fmla="*/ 0 h 3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05" name="Freeform 404">
                <a:extLst>
                  <a:ext uri="{FF2B5EF4-FFF2-40B4-BE49-F238E27FC236}">
                    <a16:creationId xmlns:a16="http://schemas.microsoft.com/office/drawing/2014/main" xmlns="" id="{6E0E1AD7-82C4-40E4-8ECB-EEA3995D33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11 w 113"/>
                  <a:gd name="T1" fmla="*/ 1 h 46"/>
                  <a:gd name="T2" fmla="*/ 7 w 113"/>
                  <a:gd name="T3" fmla="*/ 1 h 46"/>
                  <a:gd name="T4" fmla="*/ 4 w 113"/>
                  <a:gd name="T5" fmla="*/ 2 h 46"/>
                  <a:gd name="T6" fmla="*/ 2 w 113"/>
                  <a:gd name="T7" fmla="*/ 2 h 46"/>
                  <a:gd name="T8" fmla="*/ 1 w 113"/>
                  <a:gd name="T9" fmla="*/ 4 h 46"/>
                  <a:gd name="T10" fmla="*/ 0 w 113"/>
                  <a:gd name="T11" fmla="*/ 5 h 46"/>
                  <a:gd name="T12" fmla="*/ 0 w 113"/>
                  <a:gd name="T13" fmla="*/ 7 h 46"/>
                  <a:gd name="T14" fmla="*/ 2 w 113"/>
                  <a:gd name="T15" fmla="*/ 9 h 46"/>
                  <a:gd name="T16" fmla="*/ 3 w 113"/>
                  <a:gd name="T17" fmla="*/ 11 h 46"/>
                  <a:gd name="T18" fmla="*/ 5 w 113"/>
                  <a:gd name="T19" fmla="*/ 13 h 46"/>
                  <a:gd name="T20" fmla="*/ 6 w 113"/>
                  <a:gd name="T21" fmla="*/ 14 h 46"/>
                  <a:gd name="T22" fmla="*/ 8 w 113"/>
                  <a:gd name="T23" fmla="*/ 15 h 46"/>
                  <a:gd name="T24" fmla="*/ 10 w 113"/>
                  <a:gd name="T25" fmla="*/ 16 h 46"/>
                  <a:gd name="T26" fmla="*/ 11 w 113"/>
                  <a:gd name="T27" fmla="*/ 16 h 46"/>
                  <a:gd name="T28" fmla="*/ 13 w 113"/>
                  <a:gd name="T29" fmla="*/ 16 h 46"/>
                  <a:gd name="T30" fmla="*/ 18 w 113"/>
                  <a:gd name="T31" fmla="*/ 16 h 46"/>
                  <a:gd name="T32" fmla="*/ 22 w 113"/>
                  <a:gd name="T33" fmla="*/ 15 h 46"/>
                  <a:gd name="T34" fmla="*/ 24 w 113"/>
                  <a:gd name="T35" fmla="*/ 14 h 46"/>
                  <a:gd name="T36" fmla="*/ 26 w 113"/>
                  <a:gd name="T37" fmla="*/ 13 h 46"/>
                  <a:gd name="T38" fmla="*/ 28 w 113"/>
                  <a:gd name="T39" fmla="*/ 13 h 46"/>
                  <a:gd name="T40" fmla="*/ 29 w 113"/>
                  <a:gd name="T41" fmla="*/ 11 h 46"/>
                  <a:gd name="T42" fmla="*/ 32 w 113"/>
                  <a:gd name="T43" fmla="*/ 9 h 46"/>
                  <a:gd name="T44" fmla="*/ 34 w 113"/>
                  <a:gd name="T45" fmla="*/ 7 h 46"/>
                  <a:gd name="T46" fmla="*/ 35 w 113"/>
                  <a:gd name="T47" fmla="*/ 4 h 46"/>
                  <a:gd name="T48" fmla="*/ 36 w 113"/>
                  <a:gd name="T49" fmla="*/ 1 h 46"/>
                  <a:gd name="T50" fmla="*/ 32 w 113"/>
                  <a:gd name="T51" fmla="*/ 0 h 46"/>
                  <a:gd name="T52" fmla="*/ 28 w 113"/>
                  <a:gd name="T53" fmla="*/ 0 h 46"/>
                  <a:gd name="T54" fmla="*/ 24 w 113"/>
                  <a:gd name="T55" fmla="*/ 0 h 46"/>
                  <a:gd name="T56" fmla="*/ 21 w 113"/>
                  <a:gd name="T57" fmla="*/ 0 h 46"/>
                  <a:gd name="T58" fmla="*/ 15 w 113"/>
                  <a:gd name="T59" fmla="*/ 1 h 46"/>
                  <a:gd name="T60" fmla="*/ 11 w 113"/>
                  <a:gd name="T61" fmla="*/ 1 h 4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06" name="Freeform 405">
                <a:extLst>
                  <a:ext uri="{FF2B5EF4-FFF2-40B4-BE49-F238E27FC236}">
                    <a16:creationId xmlns:a16="http://schemas.microsoft.com/office/drawing/2014/main" xmlns="" id="{B8EE396E-68D3-05E5-808E-C9FE3D4CE3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27 h 82"/>
                  <a:gd name="T2" fmla="*/ 1 w 153"/>
                  <a:gd name="T3" fmla="*/ 28 h 82"/>
                  <a:gd name="T4" fmla="*/ 2 w 153"/>
                  <a:gd name="T5" fmla="*/ 28 h 82"/>
                  <a:gd name="T6" fmla="*/ 3 w 153"/>
                  <a:gd name="T7" fmla="*/ 28 h 82"/>
                  <a:gd name="T8" fmla="*/ 4 w 153"/>
                  <a:gd name="T9" fmla="*/ 28 h 82"/>
                  <a:gd name="T10" fmla="*/ 7 w 153"/>
                  <a:gd name="T11" fmla="*/ 27 h 82"/>
                  <a:gd name="T12" fmla="*/ 11 w 153"/>
                  <a:gd name="T13" fmla="*/ 27 h 82"/>
                  <a:gd name="T14" fmla="*/ 13 w 153"/>
                  <a:gd name="T15" fmla="*/ 27 h 82"/>
                  <a:gd name="T16" fmla="*/ 15 w 153"/>
                  <a:gd name="T17" fmla="*/ 27 h 82"/>
                  <a:gd name="T18" fmla="*/ 18 w 153"/>
                  <a:gd name="T19" fmla="*/ 26 h 82"/>
                  <a:gd name="T20" fmla="*/ 21 w 153"/>
                  <a:gd name="T21" fmla="*/ 25 h 82"/>
                  <a:gd name="T22" fmla="*/ 27 w 153"/>
                  <a:gd name="T23" fmla="*/ 23 h 82"/>
                  <a:gd name="T24" fmla="*/ 33 w 153"/>
                  <a:gd name="T25" fmla="*/ 20 h 82"/>
                  <a:gd name="T26" fmla="*/ 36 w 153"/>
                  <a:gd name="T27" fmla="*/ 18 h 82"/>
                  <a:gd name="T28" fmla="*/ 39 w 153"/>
                  <a:gd name="T29" fmla="*/ 17 h 82"/>
                  <a:gd name="T30" fmla="*/ 41 w 153"/>
                  <a:gd name="T31" fmla="*/ 15 h 82"/>
                  <a:gd name="T32" fmla="*/ 44 w 153"/>
                  <a:gd name="T33" fmla="*/ 13 h 82"/>
                  <a:gd name="T34" fmla="*/ 45 w 153"/>
                  <a:gd name="T35" fmla="*/ 11 h 82"/>
                  <a:gd name="T36" fmla="*/ 47 w 153"/>
                  <a:gd name="T37" fmla="*/ 9 h 82"/>
                  <a:gd name="T38" fmla="*/ 48 w 153"/>
                  <a:gd name="T39" fmla="*/ 6 h 82"/>
                  <a:gd name="T40" fmla="*/ 49 w 153"/>
                  <a:gd name="T41" fmla="*/ 4 h 82"/>
                  <a:gd name="T42" fmla="*/ 43 w 153"/>
                  <a:gd name="T43" fmla="*/ 3 h 82"/>
                  <a:gd name="T44" fmla="*/ 37 w 153"/>
                  <a:gd name="T45" fmla="*/ 1 h 82"/>
                  <a:gd name="T46" fmla="*/ 31 w 153"/>
                  <a:gd name="T47" fmla="*/ 0 h 82"/>
                  <a:gd name="T48" fmla="*/ 25 w 153"/>
                  <a:gd name="T49" fmla="*/ 0 h 82"/>
                  <a:gd name="T50" fmla="*/ 22 w 153"/>
                  <a:gd name="T51" fmla="*/ 0 h 82"/>
                  <a:gd name="T52" fmla="*/ 19 w 153"/>
                  <a:gd name="T53" fmla="*/ 0 h 82"/>
                  <a:gd name="T54" fmla="*/ 17 w 153"/>
                  <a:gd name="T55" fmla="*/ 1 h 82"/>
                  <a:gd name="T56" fmla="*/ 14 w 153"/>
                  <a:gd name="T57" fmla="*/ 1 h 82"/>
                  <a:gd name="T58" fmla="*/ 12 w 153"/>
                  <a:gd name="T59" fmla="*/ 2 h 82"/>
                  <a:gd name="T60" fmla="*/ 11 w 153"/>
                  <a:gd name="T61" fmla="*/ 3 h 82"/>
                  <a:gd name="T62" fmla="*/ 10 w 153"/>
                  <a:gd name="T63" fmla="*/ 5 h 82"/>
                  <a:gd name="T64" fmla="*/ 8 w 153"/>
                  <a:gd name="T65" fmla="*/ 6 h 82"/>
                  <a:gd name="T66" fmla="*/ 10 w 153"/>
                  <a:gd name="T67" fmla="*/ 8 h 82"/>
                  <a:gd name="T68" fmla="*/ 12 w 153"/>
                  <a:gd name="T69" fmla="*/ 10 h 82"/>
                  <a:gd name="T70" fmla="*/ 12 w 153"/>
                  <a:gd name="T71" fmla="*/ 11 h 82"/>
                  <a:gd name="T72" fmla="*/ 13 w 153"/>
                  <a:gd name="T73" fmla="*/ 12 h 82"/>
                  <a:gd name="T74" fmla="*/ 14 w 153"/>
                  <a:gd name="T75" fmla="*/ 12 h 82"/>
                  <a:gd name="T76" fmla="*/ 15 w 153"/>
                  <a:gd name="T77" fmla="*/ 12 h 82"/>
                  <a:gd name="T78" fmla="*/ 13 w 153"/>
                  <a:gd name="T79" fmla="*/ 14 h 82"/>
                  <a:gd name="T80" fmla="*/ 11 w 153"/>
                  <a:gd name="T81" fmla="*/ 16 h 82"/>
                  <a:gd name="T82" fmla="*/ 9 w 153"/>
                  <a:gd name="T83" fmla="*/ 18 h 82"/>
                  <a:gd name="T84" fmla="*/ 7 w 153"/>
                  <a:gd name="T85" fmla="*/ 19 h 82"/>
                  <a:gd name="T86" fmla="*/ 6 w 153"/>
                  <a:gd name="T87" fmla="*/ 22 h 82"/>
                  <a:gd name="T88" fmla="*/ 4 w 153"/>
                  <a:gd name="T89" fmla="*/ 24 h 82"/>
                  <a:gd name="T90" fmla="*/ 2 w 153"/>
                  <a:gd name="T91" fmla="*/ 26 h 82"/>
                  <a:gd name="T92" fmla="*/ 0 w 153"/>
                  <a:gd name="T93" fmla="*/ 27 h 8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07" name="Freeform 406">
                <a:extLst>
                  <a:ext uri="{FF2B5EF4-FFF2-40B4-BE49-F238E27FC236}">
                    <a16:creationId xmlns:a16="http://schemas.microsoft.com/office/drawing/2014/main" xmlns="" id="{9F5DBFE7-DCFD-7A93-198E-CCF394B73A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13 h 50"/>
                  <a:gd name="T2" fmla="*/ 2 w 86"/>
                  <a:gd name="T3" fmla="*/ 14 h 50"/>
                  <a:gd name="T4" fmla="*/ 4 w 86"/>
                  <a:gd name="T5" fmla="*/ 15 h 50"/>
                  <a:gd name="T6" fmla="*/ 5 w 86"/>
                  <a:gd name="T7" fmla="*/ 16 h 50"/>
                  <a:gd name="T8" fmla="*/ 8 w 86"/>
                  <a:gd name="T9" fmla="*/ 16 h 50"/>
                  <a:gd name="T10" fmla="*/ 12 w 86"/>
                  <a:gd name="T11" fmla="*/ 17 h 50"/>
                  <a:gd name="T12" fmla="*/ 16 w 86"/>
                  <a:gd name="T13" fmla="*/ 17 h 50"/>
                  <a:gd name="T14" fmla="*/ 20 w 86"/>
                  <a:gd name="T15" fmla="*/ 17 h 50"/>
                  <a:gd name="T16" fmla="*/ 23 w 86"/>
                  <a:gd name="T17" fmla="*/ 16 h 50"/>
                  <a:gd name="T18" fmla="*/ 25 w 86"/>
                  <a:gd name="T19" fmla="*/ 16 h 50"/>
                  <a:gd name="T20" fmla="*/ 27 w 86"/>
                  <a:gd name="T21" fmla="*/ 15 h 50"/>
                  <a:gd name="T22" fmla="*/ 28 w 86"/>
                  <a:gd name="T23" fmla="*/ 14 h 50"/>
                  <a:gd name="T24" fmla="*/ 28 w 86"/>
                  <a:gd name="T25" fmla="*/ 13 h 50"/>
                  <a:gd name="T26" fmla="*/ 29 w 86"/>
                  <a:gd name="T27" fmla="*/ 11 h 50"/>
                  <a:gd name="T28" fmla="*/ 29 w 86"/>
                  <a:gd name="T29" fmla="*/ 9 h 50"/>
                  <a:gd name="T30" fmla="*/ 29 w 86"/>
                  <a:gd name="T31" fmla="*/ 6 h 50"/>
                  <a:gd name="T32" fmla="*/ 28 w 86"/>
                  <a:gd name="T33" fmla="*/ 3 h 50"/>
                  <a:gd name="T34" fmla="*/ 28 w 86"/>
                  <a:gd name="T35" fmla="*/ 2 h 50"/>
                  <a:gd name="T36" fmla="*/ 27 w 86"/>
                  <a:gd name="T37" fmla="*/ 2 h 50"/>
                  <a:gd name="T38" fmla="*/ 26 w 86"/>
                  <a:gd name="T39" fmla="*/ 1 h 50"/>
                  <a:gd name="T40" fmla="*/ 25 w 86"/>
                  <a:gd name="T41" fmla="*/ 0 h 50"/>
                  <a:gd name="T42" fmla="*/ 0 w 86"/>
                  <a:gd name="T43" fmla="*/ 13 h 5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08" name="Freeform 407">
                <a:extLst>
                  <a:ext uri="{FF2B5EF4-FFF2-40B4-BE49-F238E27FC236}">
                    <a16:creationId xmlns:a16="http://schemas.microsoft.com/office/drawing/2014/main" xmlns="" id="{0CC6599B-7325-3127-C3FE-0FC3FA681E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38 w 172"/>
                  <a:gd name="T1" fmla="*/ 21 h 74"/>
                  <a:gd name="T2" fmla="*/ 35 w 172"/>
                  <a:gd name="T3" fmla="*/ 21 h 74"/>
                  <a:gd name="T4" fmla="*/ 32 w 172"/>
                  <a:gd name="T5" fmla="*/ 21 h 74"/>
                  <a:gd name="T6" fmla="*/ 29 w 172"/>
                  <a:gd name="T7" fmla="*/ 21 h 74"/>
                  <a:gd name="T8" fmla="*/ 26 w 172"/>
                  <a:gd name="T9" fmla="*/ 21 h 74"/>
                  <a:gd name="T10" fmla="*/ 19 w 172"/>
                  <a:gd name="T11" fmla="*/ 25 h 74"/>
                  <a:gd name="T12" fmla="*/ 11 w 172"/>
                  <a:gd name="T13" fmla="*/ 25 h 74"/>
                  <a:gd name="T14" fmla="*/ 12 w 172"/>
                  <a:gd name="T15" fmla="*/ 21 h 74"/>
                  <a:gd name="T16" fmla="*/ 12 w 172"/>
                  <a:gd name="T17" fmla="*/ 17 h 74"/>
                  <a:gd name="T18" fmla="*/ 10 w 172"/>
                  <a:gd name="T19" fmla="*/ 17 h 74"/>
                  <a:gd name="T20" fmla="*/ 7 w 172"/>
                  <a:gd name="T21" fmla="*/ 16 h 74"/>
                  <a:gd name="T22" fmla="*/ 5 w 172"/>
                  <a:gd name="T23" fmla="*/ 16 h 74"/>
                  <a:gd name="T24" fmla="*/ 3 w 172"/>
                  <a:gd name="T25" fmla="*/ 15 h 74"/>
                  <a:gd name="T26" fmla="*/ 2 w 172"/>
                  <a:gd name="T27" fmla="*/ 14 h 74"/>
                  <a:gd name="T28" fmla="*/ 1 w 172"/>
                  <a:gd name="T29" fmla="*/ 13 h 74"/>
                  <a:gd name="T30" fmla="*/ 0 w 172"/>
                  <a:gd name="T31" fmla="*/ 12 h 74"/>
                  <a:gd name="T32" fmla="*/ 0 w 172"/>
                  <a:gd name="T33" fmla="*/ 10 h 74"/>
                  <a:gd name="T34" fmla="*/ 0 w 172"/>
                  <a:gd name="T35" fmla="*/ 9 h 74"/>
                  <a:gd name="T36" fmla="*/ 1 w 172"/>
                  <a:gd name="T37" fmla="*/ 7 h 74"/>
                  <a:gd name="T38" fmla="*/ 2 w 172"/>
                  <a:gd name="T39" fmla="*/ 6 h 74"/>
                  <a:gd name="T40" fmla="*/ 3 w 172"/>
                  <a:gd name="T41" fmla="*/ 5 h 74"/>
                  <a:gd name="T42" fmla="*/ 4 w 172"/>
                  <a:gd name="T43" fmla="*/ 3 h 74"/>
                  <a:gd name="T44" fmla="*/ 6 w 172"/>
                  <a:gd name="T45" fmla="*/ 2 h 74"/>
                  <a:gd name="T46" fmla="*/ 8 w 172"/>
                  <a:gd name="T47" fmla="*/ 2 h 74"/>
                  <a:gd name="T48" fmla="*/ 9 w 172"/>
                  <a:gd name="T49" fmla="*/ 1 h 74"/>
                  <a:gd name="T50" fmla="*/ 13 w 172"/>
                  <a:gd name="T51" fmla="*/ 0 h 74"/>
                  <a:gd name="T52" fmla="*/ 18 w 172"/>
                  <a:gd name="T53" fmla="*/ 0 h 74"/>
                  <a:gd name="T54" fmla="*/ 22 w 172"/>
                  <a:gd name="T55" fmla="*/ 0 h 74"/>
                  <a:gd name="T56" fmla="*/ 26 w 172"/>
                  <a:gd name="T57" fmla="*/ 0 h 74"/>
                  <a:gd name="T58" fmla="*/ 30 w 172"/>
                  <a:gd name="T59" fmla="*/ 0 h 74"/>
                  <a:gd name="T60" fmla="*/ 34 w 172"/>
                  <a:gd name="T61" fmla="*/ 1 h 74"/>
                  <a:gd name="T62" fmla="*/ 37 w 172"/>
                  <a:gd name="T63" fmla="*/ 2 h 74"/>
                  <a:gd name="T64" fmla="*/ 41 w 172"/>
                  <a:gd name="T65" fmla="*/ 4 h 74"/>
                  <a:gd name="T66" fmla="*/ 44 w 172"/>
                  <a:gd name="T67" fmla="*/ 6 h 74"/>
                  <a:gd name="T68" fmla="*/ 48 w 172"/>
                  <a:gd name="T69" fmla="*/ 7 h 74"/>
                  <a:gd name="T70" fmla="*/ 51 w 172"/>
                  <a:gd name="T71" fmla="*/ 8 h 74"/>
                  <a:gd name="T72" fmla="*/ 55 w 172"/>
                  <a:gd name="T73" fmla="*/ 8 h 74"/>
                  <a:gd name="T74" fmla="*/ 55 w 172"/>
                  <a:gd name="T75" fmla="*/ 15 h 74"/>
                  <a:gd name="T76" fmla="*/ 54 w 172"/>
                  <a:gd name="T77" fmla="*/ 16 h 74"/>
                  <a:gd name="T78" fmla="*/ 53 w 172"/>
                  <a:gd name="T79" fmla="*/ 18 h 74"/>
                  <a:gd name="T80" fmla="*/ 51 w 172"/>
                  <a:gd name="T81" fmla="*/ 19 h 74"/>
                  <a:gd name="T82" fmla="*/ 51 w 172"/>
                  <a:gd name="T83" fmla="*/ 20 h 74"/>
                  <a:gd name="T84" fmla="*/ 49 w 172"/>
                  <a:gd name="T85" fmla="*/ 21 h 74"/>
                  <a:gd name="T86" fmla="*/ 48 w 172"/>
                  <a:gd name="T87" fmla="*/ 21 h 74"/>
                  <a:gd name="T88" fmla="*/ 47 w 172"/>
                  <a:gd name="T89" fmla="*/ 22 h 74"/>
                  <a:gd name="T90" fmla="*/ 45 w 172"/>
                  <a:gd name="T91" fmla="*/ 22 h 74"/>
                  <a:gd name="T92" fmla="*/ 42 w 172"/>
                  <a:gd name="T93" fmla="*/ 22 h 74"/>
                  <a:gd name="T94" fmla="*/ 39 w 172"/>
                  <a:gd name="T95" fmla="*/ 21 h 74"/>
                  <a:gd name="T96" fmla="*/ 36 w 172"/>
                  <a:gd name="T97" fmla="*/ 20 h 74"/>
                  <a:gd name="T98" fmla="*/ 32 w 172"/>
                  <a:gd name="T99" fmla="*/ 19 h 74"/>
                  <a:gd name="T100" fmla="*/ 34 w 172"/>
                  <a:gd name="T101" fmla="*/ 19 h 74"/>
                  <a:gd name="T102" fmla="*/ 38 w 172"/>
                  <a:gd name="T103" fmla="*/ 21 h 74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09" name="Freeform 408">
                <a:extLst>
                  <a:ext uri="{FF2B5EF4-FFF2-40B4-BE49-F238E27FC236}">
                    <a16:creationId xmlns:a16="http://schemas.microsoft.com/office/drawing/2014/main" xmlns="" id="{B2A61BF6-95D4-DC9C-C4BB-E376183270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9 w 120"/>
                  <a:gd name="T1" fmla="*/ 17 h 49"/>
                  <a:gd name="T2" fmla="*/ 15 w 120"/>
                  <a:gd name="T3" fmla="*/ 17 h 49"/>
                  <a:gd name="T4" fmla="*/ 20 w 120"/>
                  <a:gd name="T5" fmla="*/ 17 h 49"/>
                  <a:gd name="T6" fmla="*/ 25 w 120"/>
                  <a:gd name="T7" fmla="*/ 16 h 49"/>
                  <a:gd name="T8" fmla="*/ 29 w 120"/>
                  <a:gd name="T9" fmla="*/ 15 h 49"/>
                  <a:gd name="T10" fmla="*/ 30 w 120"/>
                  <a:gd name="T11" fmla="*/ 14 h 49"/>
                  <a:gd name="T12" fmla="*/ 32 w 120"/>
                  <a:gd name="T13" fmla="*/ 13 h 49"/>
                  <a:gd name="T14" fmla="*/ 33 w 120"/>
                  <a:gd name="T15" fmla="*/ 12 h 49"/>
                  <a:gd name="T16" fmla="*/ 34 w 120"/>
                  <a:gd name="T17" fmla="*/ 11 h 49"/>
                  <a:gd name="T18" fmla="*/ 36 w 120"/>
                  <a:gd name="T19" fmla="*/ 8 h 49"/>
                  <a:gd name="T20" fmla="*/ 38 w 120"/>
                  <a:gd name="T21" fmla="*/ 4 h 49"/>
                  <a:gd name="T22" fmla="*/ 32 w 120"/>
                  <a:gd name="T23" fmla="*/ 2 h 49"/>
                  <a:gd name="T24" fmla="*/ 27 w 120"/>
                  <a:gd name="T25" fmla="*/ 1 h 49"/>
                  <a:gd name="T26" fmla="*/ 21 w 120"/>
                  <a:gd name="T27" fmla="*/ 0 h 49"/>
                  <a:gd name="T28" fmla="*/ 16 w 120"/>
                  <a:gd name="T29" fmla="*/ 0 h 49"/>
                  <a:gd name="T30" fmla="*/ 11 w 120"/>
                  <a:gd name="T31" fmla="*/ 0 h 49"/>
                  <a:gd name="T32" fmla="*/ 6 w 120"/>
                  <a:gd name="T33" fmla="*/ 1 h 49"/>
                  <a:gd name="T34" fmla="*/ 3 w 120"/>
                  <a:gd name="T35" fmla="*/ 1 h 49"/>
                  <a:gd name="T36" fmla="*/ 0 w 120"/>
                  <a:gd name="T37" fmla="*/ 2 h 49"/>
                  <a:gd name="T38" fmla="*/ 0 w 120"/>
                  <a:gd name="T39" fmla="*/ 10 h 49"/>
                  <a:gd name="T40" fmla="*/ 1 w 120"/>
                  <a:gd name="T41" fmla="*/ 12 h 49"/>
                  <a:gd name="T42" fmla="*/ 2 w 120"/>
                  <a:gd name="T43" fmla="*/ 13 h 49"/>
                  <a:gd name="T44" fmla="*/ 3 w 120"/>
                  <a:gd name="T45" fmla="*/ 14 h 49"/>
                  <a:gd name="T46" fmla="*/ 4 w 120"/>
                  <a:gd name="T47" fmla="*/ 16 h 49"/>
                  <a:gd name="T48" fmla="*/ 6 w 120"/>
                  <a:gd name="T49" fmla="*/ 17 h 49"/>
                  <a:gd name="T50" fmla="*/ 9 w 120"/>
                  <a:gd name="T51" fmla="*/ 17 h 4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10" name="Freeform 409">
                <a:extLst>
                  <a:ext uri="{FF2B5EF4-FFF2-40B4-BE49-F238E27FC236}">
                    <a16:creationId xmlns:a16="http://schemas.microsoft.com/office/drawing/2014/main" xmlns="" id="{FE23D6BC-51C8-69A0-E932-9A175843F4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10 w 85"/>
                  <a:gd name="T1" fmla="*/ 0 h 61"/>
                  <a:gd name="T2" fmla="*/ 7 w 85"/>
                  <a:gd name="T3" fmla="*/ 2 h 61"/>
                  <a:gd name="T4" fmla="*/ 3 w 85"/>
                  <a:gd name="T5" fmla="*/ 4 h 61"/>
                  <a:gd name="T6" fmla="*/ 2 w 85"/>
                  <a:gd name="T7" fmla="*/ 5 h 61"/>
                  <a:gd name="T8" fmla="*/ 1 w 85"/>
                  <a:gd name="T9" fmla="*/ 7 h 61"/>
                  <a:gd name="T10" fmla="*/ 0 w 85"/>
                  <a:gd name="T11" fmla="*/ 8 h 61"/>
                  <a:gd name="T12" fmla="*/ 0 w 85"/>
                  <a:gd name="T13" fmla="*/ 10 h 61"/>
                  <a:gd name="T14" fmla="*/ 0 w 85"/>
                  <a:gd name="T15" fmla="*/ 11 h 61"/>
                  <a:gd name="T16" fmla="*/ 0 w 85"/>
                  <a:gd name="T17" fmla="*/ 12 h 61"/>
                  <a:gd name="T18" fmla="*/ 1 w 85"/>
                  <a:gd name="T19" fmla="*/ 12 h 61"/>
                  <a:gd name="T20" fmla="*/ 2 w 85"/>
                  <a:gd name="T21" fmla="*/ 13 h 61"/>
                  <a:gd name="T22" fmla="*/ 3 w 85"/>
                  <a:gd name="T23" fmla="*/ 15 h 61"/>
                  <a:gd name="T24" fmla="*/ 6 w 85"/>
                  <a:gd name="T25" fmla="*/ 17 h 61"/>
                  <a:gd name="T26" fmla="*/ 8 w 85"/>
                  <a:gd name="T27" fmla="*/ 17 h 61"/>
                  <a:gd name="T28" fmla="*/ 11 w 85"/>
                  <a:gd name="T29" fmla="*/ 18 h 61"/>
                  <a:gd name="T30" fmla="*/ 14 w 85"/>
                  <a:gd name="T31" fmla="*/ 19 h 61"/>
                  <a:gd name="T32" fmla="*/ 16 w 85"/>
                  <a:gd name="T33" fmla="*/ 19 h 61"/>
                  <a:gd name="T34" fmla="*/ 17 w 85"/>
                  <a:gd name="T35" fmla="*/ 19 h 61"/>
                  <a:gd name="T36" fmla="*/ 18 w 85"/>
                  <a:gd name="T37" fmla="*/ 19 h 61"/>
                  <a:gd name="T38" fmla="*/ 19 w 85"/>
                  <a:gd name="T39" fmla="*/ 18 h 61"/>
                  <a:gd name="T40" fmla="*/ 20 w 85"/>
                  <a:gd name="T41" fmla="*/ 18 h 61"/>
                  <a:gd name="T42" fmla="*/ 22 w 85"/>
                  <a:gd name="T43" fmla="*/ 16 h 61"/>
                  <a:gd name="T44" fmla="*/ 24 w 85"/>
                  <a:gd name="T45" fmla="*/ 15 h 61"/>
                  <a:gd name="T46" fmla="*/ 24 w 85"/>
                  <a:gd name="T47" fmla="*/ 12 h 61"/>
                  <a:gd name="T48" fmla="*/ 25 w 85"/>
                  <a:gd name="T49" fmla="*/ 10 h 61"/>
                  <a:gd name="T50" fmla="*/ 26 w 85"/>
                  <a:gd name="T51" fmla="*/ 8 h 61"/>
                  <a:gd name="T52" fmla="*/ 26 w 85"/>
                  <a:gd name="T53" fmla="*/ 6 h 61"/>
                  <a:gd name="T54" fmla="*/ 10 w 85"/>
                  <a:gd name="T55" fmla="*/ 0 h 6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11" name="Freeform 410">
                <a:extLst>
                  <a:ext uri="{FF2B5EF4-FFF2-40B4-BE49-F238E27FC236}">
                    <a16:creationId xmlns:a16="http://schemas.microsoft.com/office/drawing/2014/main" xmlns="" id="{426A8C99-017D-0C5B-714F-46DEF2EEB5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2 h 19"/>
                  <a:gd name="T2" fmla="*/ 2 w 100"/>
                  <a:gd name="T3" fmla="*/ 3 h 19"/>
                  <a:gd name="T4" fmla="*/ 4 w 100"/>
                  <a:gd name="T5" fmla="*/ 5 h 19"/>
                  <a:gd name="T6" fmla="*/ 7 w 100"/>
                  <a:gd name="T7" fmla="*/ 6 h 19"/>
                  <a:gd name="T8" fmla="*/ 8 w 100"/>
                  <a:gd name="T9" fmla="*/ 6 h 19"/>
                  <a:gd name="T10" fmla="*/ 31 w 100"/>
                  <a:gd name="T11" fmla="*/ 2 h 19"/>
                  <a:gd name="T12" fmla="*/ 23 w 100"/>
                  <a:gd name="T13" fmla="*/ 1 h 19"/>
                  <a:gd name="T14" fmla="*/ 15 w 100"/>
                  <a:gd name="T15" fmla="*/ 0 h 19"/>
                  <a:gd name="T16" fmla="*/ 11 w 100"/>
                  <a:gd name="T17" fmla="*/ 0 h 19"/>
                  <a:gd name="T18" fmla="*/ 7 w 100"/>
                  <a:gd name="T19" fmla="*/ 0 h 19"/>
                  <a:gd name="T20" fmla="*/ 4 w 100"/>
                  <a:gd name="T21" fmla="*/ 1 h 19"/>
                  <a:gd name="T22" fmla="*/ 0 w 100"/>
                  <a:gd name="T23" fmla="*/ 2 h 1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12" name="Freeform 411">
                <a:extLst>
                  <a:ext uri="{FF2B5EF4-FFF2-40B4-BE49-F238E27FC236}">
                    <a16:creationId xmlns:a16="http://schemas.microsoft.com/office/drawing/2014/main" xmlns="" id="{36E50134-331D-35FB-5592-E7D8B973E6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9 h 45"/>
                  <a:gd name="T2" fmla="*/ 0 w 166"/>
                  <a:gd name="T3" fmla="*/ 10 h 45"/>
                  <a:gd name="T4" fmla="*/ 1 w 166"/>
                  <a:gd name="T5" fmla="*/ 10 h 45"/>
                  <a:gd name="T6" fmla="*/ 3 w 166"/>
                  <a:gd name="T7" fmla="*/ 11 h 45"/>
                  <a:gd name="T8" fmla="*/ 4 w 166"/>
                  <a:gd name="T9" fmla="*/ 12 h 45"/>
                  <a:gd name="T10" fmla="*/ 9 w 166"/>
                  <a:gd name="T11" fmla="*/ 13 h 45"/>
                  <a:gd name="T12" fmla="*/ 14 w 166"/>
                  <a:gd name="T13" fmla="*/ 14 h 45"/>
                  <a:gd name="T14" fmla="*/ 24 w 166"/>
                  <a:gd name="T15" fmla="*/ 15 h 45"/>
                  <a:gd name="T16" fmla="*/ 29 w 166"/>
                  <a:gd name="T17" fmla="*/ 15 h 45"/>
                  <a:gd name="T18" fmla="*/ 53 w 166"/>
                  <a:gd name="T19" fmla="*/ 9 h 45"/>
                  <a:gd name="T20" fmla="*/ 50 w 166"/>
                  <a:gd name="T21" fmla="*/ 8 h 45"/>
                  <a:gd name="T22" fmla="*/ 44 w 166"/>
                  <a:gd name="T23" fmla="*/ 6 h 45"/>
                  <a:gd name="T24" fmla="*/ 35 w 166"/>
                  <a:gd name="T25" fmla="*/ 4 h 45"/>
                  <a:gd name="T26" fmla="*/ 26 w 166"/>
                  <a:gd name="T27" fmla="*/ 1 h 45"/>
                  <a:gd name="T28" fmla="*/ 21 w 166"/>
                  <a:gd name="T29" fmla="*/ 1 h 45"/>
                  <a:gd name="T30" fmla="*/ 16 w 166"/>
                  <a:gd name="T31" fmla="*/ 0 h 45"/>
                  <a:gd name="T32" fmla="*/ 11 w 166"/>
                  <a:gd name="T33" fmla="*/ 0 h 45"/>
                  <a:gd name="T34" fmla="*/ 8 w 166"/>
                  <a:gd name="T35" fmla="*/ 1 h 45"/>
                  <a:gd name="T36" fmla="*/ 6 w 166"/>
                  <a:gd name="T37" fmla="*/ 1 h 45"/>
                  <a:gd name="T38" fmla="*/ 4 w 166"/>
                  <a:gd name="T39" fmla="*/ 2 h 45"/>
                  <a:gd name="T40" fmla="*/ 3 w 166"/>
                  <a:gd name="T41" fmla="*/ 2 h 45"/>
                  <a:gd name="T42" fmla="*/ 2 w 166"/>
                  <a:gd name="T43" fmla="*/ 3 h 45"/>
                  <a:gd name="T44" fmla="*/ 1 w 166"/>
                  <a:gd name="T45" fmla="*/ 4 h 45"/>
                  <a:gd name="T46" fmla="*/ 0 w 166"/>
                  <a:gd name="T47" fmla="*/ 6 h 45"/>
                  <a:gd name="T48" fmla="*/ 0 w 166"/>
                  <a:gd name="T49" fmla="*/ 7 h 45"/>
                  <a:gd name="T50" fmla="*/ 0 w 166"/>
                  <a:gd name="T51" fmla="*/ 9 h 4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13" name="Freeform 412">
                <a:extLst>
                  <a:ext uri="{FF2B5EF4-FFF2-40B4-BE49-F238E27FC236}">
                    <a16:creationId xmlns:a16="http://schemas.microsoft.com/office/drawing/2014/main" xmlns="" id="{05E3298D-10D0-DB10-410A-E25D06D46B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3 h 25"/>
                  <a:gd name="T4" fmla="*/ 1 w 33"/>
                  <a:gd name="T5" fmla="*/ 5 h 25"/>
                  <a:gd name="T6" fmla="*/ 2 w 33"/>
                  <a:gd name="T7" fmla="*/ 6 h 25"/>
                  <a:gd name="T8" fmla="*/ 4 w 33"/>
                  <a:gd name="T9" fmla="*/ 7 h 25"/>
                  <a:gd name="T10" fmla="*/ 5 w 33"/>
                  <a:gd name="T11" fmla="*/ 8 h 25"/>
                  <a:gd name="T12" fmla="*/ 7 w 33"/>
                  <a:gd name="T13" fmla="*/ 8 h 25"/>
                  <a:gd name="T14" fmla="*/ 9 w 33"/>
                  <a:gd name="T15" fmla="*/ 8 h 25"/>
                  <a:gd name="T16" fmla="*/ 11 w 33"/>
                  <a:gd name="T17" fmla="*/ 8 h 25"/>
                  <a:gd name="T18" fmla="*/ 11 w 33"/>
                  <a:gd name="T19" fmla="*/ 0 h 25"/>
                  <a:gd name="T20" fmla="*/ 8 w 33"/>
                  <a:gd name="T21" fmla="*/ 0 h 25"/>
                  <a:gd name="T22" fmla="*/ 5 w 33"/>
                  <a:gd name="T23" fmla="*/ 0 h 25"/>
                  <a:gd name="T24" fmla="*/ 3 w 33"/>
                  <a:gd name="T25" fmla="*/ 0 h 25"/>
                  <a:gd name="T26" fmla="*/ 0 w 33"/>
                  <a:gd name="T27" fmla="*/ 0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14" name="Freeform 413">
                <a:extLst>
                  <a:ext uri="{FF2B5EF4-FFF2-40B4-BE49-F238E27FC236}">
                    <a16:creationId xmlns:a16="http://schemas.microsoft.com/office/drawing/2014/main" xmlns="" id="{B1E86A64-BF12-06C7-BC35-53BBF35846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20 h 62"/>
                  <a:gd name="T2" fmla="*/ 4 w 48"/>
                  <a:gd name="T3" fmla="*/ 18 h 62"/>
                  <a:gd name="T4" fmla="*/ 7 w 48"/>
                  <a:gd name="T5" fmla="*/ 16 h 62"/>
                  <a:gd name="T6" fmla="*/ 10 w 48"/>
                  <a:gd name="T7" fmla="*/ 14 h 62"/>
                  <a:gd name="T8" fmla="*/ 12 w 48"/>
                  <a:gd name="T9" fmla="*/ 12 h 62"/>
                  <a:gd name="T10" fmla="*/ 14 w 48"/>
                  <a:gd name="T11" fmla="*/ 9 h 62"/>
                  <a:gd name="T12" fmla="*/ 15 w 48"/>
                  <a:gd name="T13" fmla="*/ 6 h 62"/>
                  <a:gd name="T14" fmla="*/ 16 w 48"/>
                  <a:gd name="T15" fmla="*/ 3 h 62"/>
                  <a:gd name="T16" fmla="*/ 16 w 48"/>
                  <a:gd name="T17" fmla="*/ 0 h 62"/>
                  <a:gd name="T18" fmla="*/ 13 w 48"/>
                  <a:gd name="T19" fmla="*/ 1 h 62"/>
                  <a:gd name="T20" fmla="*/ 11 w 48"/>
                  <a:gd name="T21" fmla="*/ 2 h 62"/>
                  <a:gd name="T22" fmla="*/ 8 w 48"/>
                  <a:gd name="T23" fmla="*/ 3 h 62"/>
                  <a:gd name="T24" fmla="*/ 6 w 48"/>
                  <a:gd name="T25" fmla="*/ 5 h 62"/>
                  <a:gd name="T26" fmla="*/ 3 w 48"/>
                  <a:gd name="T27" fmla="*/ 7 h 62"/>
                  <a:gd name="T28" fmla="*/ 2 w 48"/>
                  <a:gd name="T29" fmla="*/ 9 h 62"/>
                  <a:gd name="T30" fmla="*/ 1 w 48"/>
                  <a:gd name="T31" fmla="*/ 10 h 62"/>
                  <a:gd name="T32" fmla="*/ 1 w 48"/>
                  <a:gd name="T33" fmla="*/ 11 h 62"/>
                  <a:gd name="T34" fmla="*/ 0 w 48"/>
                  <a:gd name="T35" fmla="*/ 13 h 62"/>
                  <a:gd name="T36" fmla="*/ 0 w 48"/>
                  <a:gd name="T37" fmla="*/ 14 h 62"/>
                  <a:gd name="T38" fmla="*/ 0 w 48"/>
                  <a:gd name="T39" fmla="*/ 17 h 62"/>
                  <a:gd name="T40" fmla="*/ 0 w 48"/>
                  <a:gd name="T41" fmla="*/ 20 h 6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15" name="Freeform 414">
                <a:extLst>
                  <a:ext uri="{FF2B5EF4-FFF2-40B4-BE49-F238E27FC236}">
                    <a16:creationId xmlns:a16="http://schemas.microsoft.com/office/drawing/2014/main" xmlns="" id="{6909D6D7-BE94-AD4A-AC8F-73FF8B416C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15 w 113"/>
                  <a:gd name="T1" fmla="*/ 0 h 62"/>
                  <a:gd name="T2" fmla="*/ 11 w 113"/>
                  <a:gd name="T3" fmla="*/ 2 h 62"/>
                  <a:gd name="T4" fmla="*/ 7 w 113"/>
                  <a:gd name="T5" fmla="*/ 5 h 62"/>
                  <a:gd name="T6" fmla="*/ 4 w 113"/>
                  <a:gd name="T7" fmla="*/ 9 h 62"/>
                  <a:gd name="T8" fmla="*/ 0 w 113"/>
                  <a:gd name="T9" fmla="*/ 12 h 62"/>
                  <a:gd name="T10" fmla="*/ 7 w 113"/>
                  <a:gd name="T11" fmla="*/ 15 h 62"/>
                  <a:gd name="T12" fmla="*/ 13 w 113"/>
                  <a:gd name="T13" fmla="*/ 17 h 62"/>
                  <a:gd name="T14" fmla="*/ 16 w 113"/>
                  <a:gd name="T15" fmla="*/ 18 h 62"/>
                  <a:gd name="T16" fmla="*/ 20 w 113"/>
                  <a:gd name="T17" fmla="*/ 19 h 62"/>
                  <a:gd name="T18" fmla="*/ 23 w 113"/>
                  <a:gd name="T19" fmla="*/ 20 h 62"/>
                  <a:gd name="T20" fmla="*/ 28 w 113"/>
                  <a:gd name="T21" fmla="*/ 20 h 62"/>
                  <a:gd name="T22" fmla="*/ 31 w 113"/>
                  <a:gd name="T23" fmla="*/ 20 h 62"/>
                  <a:gd name="T24" fmla="*/ 34 w 113"/>
                  <a:gd name="T25" fmla="*/ 19 h 62"/>
                  <a:gd name="T26" fmla="*/ 35 w 113"/>
                  <a:gd name="T27" fmla="*/ 18 h 62"/>
                  <a:gd name="T28" fmla="*/ 35 w 113"/>
                  <a:gd name="T29" fmla="*/ 17 h 62"/>
                  <a:gd name="T30" fmla="*/ 36 w 113"/>
                  <a:gd name="T31" fmla="*/ 17 h 62"/>
                  <a:gd name="T32" fmla="*/ 36 w 113"/>
                  <a:gd name="T33" fmla="*/ 16 h 62"/>
                  <a:gd name="T34" fmla="*/ 29 w 113"/>
                  <a:gd name="T35" fmla="*/ 13 h 62"/>
                  <a:gd name="T36" fmla="*/ 22 w 113"/>
                  <a:gd name="T37" fmla="*/ 10 h 62"/>
                  <a:gd name="T38" fmla="*/ 21 w 113"/>
                  <a:gd name="T39" fmla="*/ 9 h 62"/>
                  <a:gd name="T40" fmla="*/ 19 w 113"/>
                  <a:gd name="T41" fmla="*/ 8 h 62"/>
                  <a:gd name="T42" fmla="*/ 18 w 113"/>
                  <a:gd name="T43" fmla="*/ 7 h 62"/>
                  <a:gd name="T44" fmla="*/ 17 w 113"/>
                  <a:gd name="T45" fmla="*/ 6 h 62"/>
                  <a:gd name="T46" fmla="*/ 16 w 113"/>
                  <a:gd name="T47" fmla="*/ 5 h 62"/>
                  <a:gd name="T48" fmla="*/ 15 w 113"/>
                  <a:gd name="T49" fmla="*/ 3 h 62"/>
                  <a:gd name="T50" fmla="*/ 15 w 113"/>
                  <a:gd name="T51" fmla="*/ 2 h 62"/>
                  <a:gd name="T52" fmla="*/ 15 w 113"/>
                  <a:gd name="T53" fmla="*/ 0 h 6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16" name="Freeform 415">
                <a:extLst>
                  <a:ext uri="{FF2B5EF4-FFF2-40B4-BE49-F238E27FC236}">
                    <a16:creationId xmlns:a16="http://schemas.microsoft.com/office/drawing/2014/main" xmlns="" id="{74F6BC6D-663D-CF6E-CA4A-ED6B3DF1AA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5 w 93"/>
                  <a:gd name="T3" fmla="*/ 0 h 50"/>
                  <a:gd name="T4" fmla="*/ 9 w 93"/>
                  <a:gd name="T5" fmla="*/ 0 h 50"/>
                  <a:gd name="T6" fmla="*/ 14 w 93"/>
                  <a:gd name="T7" fmla="*/ 1 h 50"/>
                  <a:gd name="T8" fmla="*/ 18 w 93"/>
                  <a:gd name="T9" fmla="*/ 2 h 50"/>
                  <a:gd name="T10" fmla="*/ 20 w 93"/>
                  <a:gd name="T11" fmla="*/ 2 h 50"/>
                  <a:gd name="T12" fmla="*/ 22 w 93"/>
                  <a:gd name="T13" fmla="*/ 3 h 50"/>
                  <a:gd name="T14" fmla="*/ 23 w 93"/>
                  <a:gd name="T15" fmla="*/ 4 h 50"/>
                  <a:gd name="T16" fmla="*/ 25 w 93"/>
                  <a:gd name="T17" fmla="*/ 5 h 50"/>
                  <a:gd name="T18" fmla="*/ 27 w 93"/>
                  <a:gd name="T19" fmla="*/ 6 h 50"/>
                  <a:gd name="T20" fmla="*/ 28 w 93"/>
                  <a:gd name="T21" fmla="*/ 8 h 50"/>
                  <a:gd name="T22" fmla="*/ 28 w 93"/>
                  <a:gd name="T23" fmla="*/ 9 h 50"/>
                  <a:gd name="T24" fmla="*/ 29 w 93"/>
                  <a:gd name="T25" fmla="*/ 11 h 50"/>
                  <a:gd name="T26" fmla="*/ 25 w 93"/>
                  <a:gd name="T27" fmla="*/ 11 h 50"/>
                  <a:gd name="T28" fmla="*/ 21 w 93"/>
                  <a:gd name="T29" fmla="*/ 12 h 50"/>
                  <a:gd name="T30" fmla="*/ 19 w 93"/>
                  <a:gd name="T31" fmla="*/ 12 h 50"/>
                  <a:gd name="T32" fmla="*/ 16 w 93"/>
                  <a:gd name="T33" fmla="*/ 13 h 50"/>
                  <a:gd name="T34" fmla="*/ 13 w 93"/>
                  <a:gd name="T35" fmla="*/ 14 h 50"/>
                  <a:gd name="T36" fmla="*/ 10 w 93"/>
                  <a:gd name="T37" fmla="*/ 15 h 50"/>
                  <a:gd name="T38" fmla="*/ 9 w 93"/>
                  <a:gd name="T39" fmla="*/ 15 h 50"/>
                  <a:gd name="T40" fmla="*/ 9 w 93"/>
                  <a:gd name="T41" fmla="*/ 14 h 50"/>
                  <a:gd name="T42" fmla="*/ 8 w 93"/>
                  <a:gd name="T43" fmla="*/ 14 h 50"/>
                  <a:gd name="T44" fmla="*/ 8 w 93"/>
                  <a:gd name="T45" fmla="*/ 14 h 50"/>
                  <a:gd name="T46" fmla="*/ 7 w 93"/>
                  <a:gd name="T47" fmla="*/ 12 h 50"/>
                  <a:gd name="T48" fmla="*/ 7 w 93"/>
                  <a:gd name="T49" fmla="*/ 11 h 50"/>
                  <a:gd name="T50" fmla="*/ 7 w 93"/>
                  <a:gd name="T51" fmla="*/ 9 h 50"/>
                  <a:gd name="T52" fmla="*/ 7 w 93"/>
                  <a:gd name="T53" fmla="*/ 8 h 50"/>
                  <a:gd name="T54" fmla="*/ 7 w 93"/>
                  <a:gd name="T55" fmla="*/ 7 h 50"/>
                  <a:gd name="T56" fmla="*/ 8 w 93"/>
                  <a:gd name="T57" fmla="*/ 6 h 50"/>
                  <a:gd name="T58" fmla="*/ 0 w 93"/>
                  <a:gd name="T59" fmla="*/ 6 h 50"/>
                  <a:gd name="T60" fmla="*/ 0 w 93"/>
                  <a:gd name="T61" fmla="*/ 0 h 5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17" name="Freeform 416">
                <a:extLst>
                  <a:ext uri="{FF2B5EF4-FFF2-40B4-BE49-F238E27FC236}">
                    <a16:creationId xmlns:a16="http://schemas.microsoft.com/office/drawing/2014/main" xmlns="" id="{A52691C8-BC0D-7FA3-F17F-EE7051E120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6 w 1029"/>
                  <a:gd name="T1" fmla="*/ 37 h 604"/>
                  <a:gd name="T2" fmla="*/ 22 w 1029"/>
                  <a:gd name="T3" fmla="*/ 20 h 604"/>
                  <a:gd name="T4" fmla="*/ 86 w 1029"/>
                  <a:gd name="T5" fmla="*/ 0 h 604"/>
                  <a:gd name="T6" fmla="*/ 66 w 1029"/>
                  <a:gd name="T7" fmla="*/ 15 h 604"/>
                  <a:gd name="T8" fmla="*/ 58 w 1029"/>
                  <a:gd name="T9" fmla="*/ 34 h 604"/>
                  <a:gd name="T10" fmla="*/ 88 w 1029"/>
                  <a:gd name="T11" fmla="*/ 20 h 604"/>
                  <a:gd name="T12" fmla="*/ 128 w 1029"/>
                  <a:gd name="T13" fmla="*/ 5 h 604"/>
                  <a:gd name="T14" fmla="*/ 141 w 1029"/>
                  <a:gd name="T15" fmla="*/ 8 h 604"/>
                  <a:gd name="T16" fmla="*/ 139 w 1029"/>
                  <a:gd name="T17" fmla="*/ 23 h 604"/>
                  <a:gd name="T18" fmla="*/ 187 w 1029"/>
                  <a:gd name="T19" fmla="*/ 26 h 604"/>
                  <a:gd name="T20" fmla="*/ 217 w 1029"/>
                  <a:gd name="T21" fmla="*/ 29 h 604"/>
                  <a:gd name="T22" fmla="*/ 241 w 1029"/>
                  <a:gd name="T23" fmla="*/ 36 h 604"/>
                  <a:gd name="T24" fmla="*/ 241 w 1029"/>
                  <a:gd name="T25" fmla="*/ 44 h 604"/>
                  <a:gd name="T26" fmla="*/ 229 w 1029"/>
                  <a:gd name="T27" fmla="*/ 60 h 604"/>
                  <a:gd name="T28" fmla="*/ 257 w 1029"/>
                  <a:gd name="T29" fmla="*/ 55 h 604"/>
                  <a:gd name="T30" fmla="*/ 279 w 1029"/>
                  <a:gd name="T31" fmla="*/ 63 h 604"/>
                  <a:gd name="T32" fmla="*/ 275 w 1029"/>
                  <a:gd name="T33" fmla="*/ 78 h 604"/>
                  <a:gd name="T34" fmla="*/ 253 w 1029"/>
                  <a:gd name="T35" fmla="*/ 81 h 604"/>
                  <a:gd name="T36" fmla="*/ 276 w 1029"/>
                  <a:gd name="T37" fmla="*/ 93 h 604"/>
                  <a:gd name="T38" fmla="*/ 290 w 1029"/>
                  <a:gd name="T39" fmla="*/ 107 h 604"/>
                  <a:gd name="T40" fmla="*/ 314 w 1029"/>
                  <a:gd name="T41" fmla="*/ 108 h 604"/>
                  <a:gd name="T42" fmla="*/ 331 w 1029"/>
                  <a:gd name="T43" fmla="*/ 115 h 604"/>
                  <a:gd name="T44" fmla="*/ 302 w 1029"/>
                  <a:gd name="T45" fmla="*/ 134 h 604"/>
                  <a:gd name="T46" fmla="*/ 289 w 1029"/>
                  <a:gd name="T47" fmla="*/ 137 h 604"/>
                  <a:gd name="T48" fmla="*/ 281 w 1029"/>
                  <a:gd name="T49" fmla="*/ 145 h 604"/>
                  <a:gd name="T50" fmla="*/ 267 w 1029"/>
                  <a:gd name="T51" fmla="*/ 136 h 604"/>
                  <a:gd name="T52" fmla="*/ 274 w 1029"/>
                  <a:gd name="T53" fmla="*/ 129 h 604"/>
                  <a:gd name="T54" fmla="*/ 255 w 1029"/>
                  <a:gd name="T55" fmla="*/ 124 h 604"/>
                  <a:gd name="T56" fmla="*/ 244 w 1029"/>
                  <a:gd name="T57" fmla="*/ 119 h 604"/>
                  <a:gd name="T58" fmla="*/ 239 w 1029"/>
                  <a:gd name="T59" fmla="*/ 129 h 604"/>
                  <a:gd name="T60" fmla="*/ 240 w 1029"/>
                  <a:gd name="T61" fmla="*/ 146 h 604"/>
                  <a:gd name="T62" fmla="*/ 256 w 1029"/>
                  <a:gd name="T63" fmla="*/ 171 h 604"/>
                  <a:gd name="T64" fmla="*/ 248 w 1029"/>
                  <a:gd name="T65" fmla="*/ 179 h 604"/>
                  <a:gd name="T66" fmla="*/ 228 w 1029"/>
                  <a:gd name="T67" fmla="*/ 182 h 604"/>
                  <a:gd name="T68" fmla="*/ 199 w 1029"/>
                  <a:gd name="T69" fmla="*/ 169 h 604"/>
                  <a:gd name="T70" fmla="*/ 215 w 1029"/>
                  <a:gd name="T71" fmla="*/ 186 h 604"/>
                  <a:gd name="T72" fmla="*/ 214 w 1029"/>
                  <a:gd name="T73" fmla="*/ 198 h 604"/>
                  <a:gd name="T74" fmla="*/ 167 w 1029"/>
                  <a:gd name="T75" fmla="*/ 187 h 604"/>
                  <a:gd name="T76" fmla="*/ 152 w 1029"/>
                  <a:gd name="T77" fmla="*/ 171 h 604"/>
                  <a:gd name="T78" fmla="*/ 132 w 1029"/>
                  <a:gd name="T79" fmla="*/ 155 h 604"/>
                  <a:gd name="T80" fmla="*/ 118 w 1029"/>
                  <a:gd name="T81" fmla="*/ 149 h 604"/>
                  <a:gd name="T82" fmla="*/ 126 w 1029"/>
                  <a:gd name="T83" fmla="*/ 142 h 604"/>
                  <a:gd name="T84" fmla="*/ 148 w 1029"/>
                  <a:gd name="T85" fmla="*/ 131 h 604"/>
                  <a:gd name="T86" fmla="*/ 161 w 1029"/>
                  <a:gd name="T87" fmla="*/ 124 h 604"/>
                  <a:gd name="T88" fmla="*/ 186 w 1029"/>
                  <a:gd name="T89" fmla="*/ 125 h 604"/>
                  <a:gd name="T90" fmla="*/ 198 w 1029"/>
                  <a:gd name="T91" fmla="*/ 129 h 604"/>
                  <a:gd name="T92" fmla="*/ 221 w 1029"/>
                  <a:gd name="T93" fmla="*/ 127 h 604"/>
                  <a:gd name="T94" fmla="*/ 187 w 1029"/>
                  <a:gd name="T95" fmla="*/ 116 h 604"/>
                  <a:gd name="T96" fmla="*/ 174 w 1029"/>
                  <a:gd name="T97" fmla="*/ 118 h 604"/>
                  <a:gd name="T98" fmla="*/ 173 w 1029"/>
                  <a:gd name="T99" fmla="*/ 115 h 604"/>
                  <a:gd name="T100" fmla="*/ 185 w 1029"/>
                  <a:gd name="T101" fmla="*/ 100 h 604"/>
                  <a:gd name="T102" fmla="*/ 185 w 1029"/>
                  <a:gd name="T103" fmla="*/ 90 h 604"/>
                  <a:gd name="T104" fmla="*/ 169 w 1029"/>
                  <a:gd name="T105" fmla="*/ 83 h 604"/>
                  <a:gd name="T106" fmla="*/ 152 w 1029"/>
                  <a:gd name="T107" fmla="*/ 65 h 604"/>
                  <a:gd name="T108" fmla="*/ 140 w 1029"/>
                  <a:gd name="T109" fmla="*/ 55 h 604"/>
                  <a:gd name="T110" fmla="*/ 131 w 1029"/>
                  <a:gd name="T111" fmla="*/ 53 h 604"/>
                  <a:gd name="T112" fmla="*/ 122 w 1029"/>
                  <a:gd name="T113" fmla="*/ 67 h 604"/>
                  <a:gd name="T114" fmla="*/ 67 w 1029"/>
                  <a:gd name="T115" fmla="*/ 57 h 604"/>
                  <a:gd name="T116" fmla="*/ 37 w 1029"/>
                  <a:gd name="T117" fmla="*/ 62 h 604"/>
                  <a:gd name="T118" fmla="*/ 25 w 1029"/>
                  <a:gd name="T119" fmla="*/ 61 h 604"/>
                  <a:gd name="T120" fmla="*/ 5 w 1029"/>
                  <a:gd name="T121" fmla="*/ 59 h 604"/>
                  <a:gd name="T122" fmla="*/ 3 w 1029"/>
                  <a:gd name="T123" fmla="*/ 52 h 604"/>
                  <a:gd name="T124" fmla="*/ 24 w 1029"/>
                  <a:gd name="T125" fmla="*/ 49 h 60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18" name="Freeform 417">
                <a:extLst>
                  <a:ext uri="{FF2B5EF4-FFF2-40B4-BE49-F238E27FC236}">
                    <a16:creationId xmlns:a16="http://schemas.microsoft.com/office/drawing/2014/main" xmlns="" id="{318CE0B4-A268-8677-7EF3-BC61189A5E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257 w 1268"/>
                  <a:gd name="T1" fmla="*/ 12 h 321"/>
                  <a:gd name="T2" fmla="*/ 262 w 1268"/>
                  <a:gd name="T3" fmla="*/ 5 h 321"/>
                  <a:gd name="T4" fmla="*/ 273 w 1268"/>
                  <a:gd name="T5" fmla="*/ 3 h 321"/>
                  <a:gd name="T6" fmla="*/ 279 w 1268"/>
                  <a:gd name="T7" fmla="*/ 8 h 321"/>
                  <a:gd name="T8" fmla="*/ 303 w 1268"/>
                  <a:gd name="T9" fmla="*/ 5 h 321"/>
                  <a:gd name="T10" fmla="*/ 329 w 1268"/>
                  <a:gd name="T11" fmla="*/ 0 h 321"/>
                  <a:gd name="T12" fmla="*/ 350 w 1268"/>
                  <a:gd name="T13" fmla="*/ 6 h 321"/>
                  <a:gd name="T14" fmla="*/ 365 w 1268"/>
                  <a:gd name="T15" fmla="*/ 7 h 321"/>
                  <a:gd name="T16" fmla="*/ 409 w 1268"/>
                  <a:gd name="T17" fmla="*/ 10 h 321"/>
                  <a:gd name="T18" fmla="*/ 401 w 1268"/>
                  <a:gd name="T19" fmla="*/ 16 h 321"/>
                  <a:gd name="T20" fmla="*/ 375 w 1268"/>
                  <a:gd name="T21" fmla="*/ 21 h 321"/>
                  <a:gd name="T22" fmla="*/ 340 w 1268"/>
                  <a:gd name="T23" fmla="*/ 25 h 321"/>
                  <a:gd name="T24" fmla="*/ 332 w 1268"/>
                  <a:gd name="T25" fmla="*/ 31 h 321"/>
                  <a:gd name="T26" fmla="*/ 322 w 1268"/>
                  <a:gd name="T27" fmla="*/ 34 h 321"/>
                  <a:gd name="T28" fmla="*/ 304 w 1268"/>
                  <a:gd name="T29" fmla="*/ 33 h 321"/>
                  <a:gd name="T30" fmla="*/ 300 w 1268"/>
                  <a:gd name="T31" fmla="*/ 39 h 321"/>
                  <a:gd name="T32" fmla="*/ 241 w 1268"/>
                  <a:gd name="T33" fmla="*/ 44 h 321"/>
                  <a:gd name="T34" fmla="*/ 215 w 1268"/>
                  <a:gd name="T35" fmla="*/ 51 h 321"/>
                  <a:gd name="T36" fmla="*/ 205 w 1268"/>
                  <a:gd name="T37" fmla="*/ 59 h 321"/>
                  <a:gd name="T38" fmla="*/ 191 w 1268"/>
                  <a:gd name="T39" fmla="*/ 55 h 321"/>
                  <a:gd name="T40" fmla="*/ 184 w 1268"/>
                  <a:gd name="T41" fmla="*/ 59 h 321"/>
                  <a:gd name="T42" fmla="*/ 190 w 1268"/>
                  <a:gd name="T43" fmla="*/ 68 h 321"/>
                  <a:gd name="T44" fmla="*/ 176 w 1268"/>
                  <a:gd name="T45" fmla="*/ 78 h 321"/>
                  <a:gd name="T46" fmla="*/ 156 w 1268"/>
                  <a:gd name="T47" fmla="*/ 77 h 321"/>
                  <a:gd name="T48" fmla="*/ 130 w 1268"/>
                  <a:gd name="T49" fmla="*/ 79 h 321"/>
                  <a:gd name="T50" fmla="*/ 131 w 1268"/>
                  <a:gd name="T51" fmla="*/ 84 h 321"/>
                  <a:gd name="T52" fmla="*/ 126 w 1268"/>
                  <a:gd name="T53" fmla="*/ 96 h 321"/>
                  <a:gd name="T54" fmla="*/ 107 w 1268"/>
                  <a:gd name="T55" fmla="*/ 105 h 321"/>
                  <a:gd name="T56" fmla="*/ 94 w 1268"/>
                  <a:gd name="T57" fmla="*/ 97 h 321"/>
                  <a:gd name="T58" fmla="*/ 82 w 1268"/>
                  <a:gd name="T59" fmla="*/ 93 h 321"/>
                  <a:gd name="T60" fmla="*/ 31 w 1268"/>
                  <a:gd name="T61" fmla="*/ 90 h 321"/>
                  <a:gd name="T62" fmla="*/ 0 w 1268"/>
                  <a:gd name="T63" fmla="*/ 93 h 321"/>
                  <a:gd name="T64" fmla="*/ 3 w 1268"/>
                  <a:gd name="T65" fmla="*/ 87 h 321"/>
                  <a:gd name="T66" fmla="*/ 18 w 1268"/>
                  <a:gd name="T67" fmla="*/ 80 h 321"/>
                  <a:gd name="T68" fmla="*/ 46 w 1268"/>
                  <a:gd name="T69" fmla="*/ 77 h 321"/>
                  <a:gd name="T70" fmla="*/ 55 w 1268"/>
                  <a:gd name="T71" fmla="*/ 74 h 321"/>
                  <a:gd name="T72" fmla="*/ 61 w 1268"/>
                  <a:gd name="T73" fmla="*/ 71 h 321"/>
                  <a:gd name="T74" fmla="*/ 71 w 1268"/>
                  <a:gd name="T75" fmla="*/ 76 h 321"/>
                  <a:gd name="T76" fmla="*/ 80 w 1268"/>
                  <a:gd name="T77" fmla="*/ 81 h 321"/>
                  <a:gd name="T78" fmla="*/ 67 w 1268"/>
                  <a:gd name="T79" fmla="*/ 68 h 321"/>
                  <a:gd name="T80" fmla="*/ 62 w 1268"/>
                  <a:gd name="T81" fmla="*/ 65 h 321"/>
                  <a:gd name="T82" fmla="*/ 64 w 1268"/>
                  <a:gd name="T83" fmla="*/ 59 h 321"/>
                  <a:gd name="T84" fmla="*/ 79 w 1268"/>
                  <a:gd name="T85" fmla="*/ 57 h 321"/>
                  <a:gd name="T86" fmla="*/ 118 w 1268"/>
                  <a:gd name="T87" fmla="*/ 61 h 321"/>
                  <a:gd name="T88" fmla="*/ 135 w 1268"/>
                  <a:gd name="T89" fmla="*/ 57 h 321"/>
                  <a:gd name="T90" fmla="*/ 104 w 1268"/>
                  <a:gd name="T91" fmla="*/ 55 h 321"/>
                  <a:gd name="T92" fmla="*/ 96 w 1268"/>
                  <a:gd name="T93" fmla="*/ 49 h 321"/>
                  <a:gd name="T94" fmla="*/ 122 w 1268"/>
                  <a:gd name="T95" fmla="*/ 45 h 321"/>
                  <a:gd name="T96" fmla="*/ 141 w 1268"/>
                  <a:gd name="T97" fmla="*/ 51 h 321"/>
                  <a:gd name="T98" fmla="*/ 154 w 1268"/>
                  <a:gd name="T99" fmla="*/ 41 h 321"/>
                  <a:gd name="T100" fmla="*/ 214 w 1268"/>
                  <a:gd name="T101" fmla="*/ 28 h 321"/>
                  <a:gd name="T102" fmla="*/ 190 w 1268"/>
                  <a:gd name="T103" fmla="*/ 36 h 321"/>
                  <a:gd name="T104" fmla="*/ 145 w 1268"/>
                  <a:gd name="T105" fmla="*/ 36 h 321"/>
                  <a:gd name="T106" fmla="*/ 101 w 1268"/>
                  <a:gd name="T107" fmla="*/ 38 h 321"/>
                  <a:gd name="T108" fmla="*/ 82 w 1268"/>
                  <a:gd name="T109" fmla="*/ 33 h 321"/>
                  <a:gd name="T110" fmla="*/ 71 w 1268"/>
                  <a:gd name="T111" fmla="*/ 26 h 321"/>
                  <a:gd name="T112" fmla="*/ 82 w 1268"/>
                  <a:gd name="T113" fmla="*/ 23 h 321"/>
                  <a:gd name="T114" fmla="*/ 144 w 1268"/>
                  <a:gd name="T115" fmla="*/ 15 h 321"/>
                  <a:gd name="T116" fmla="*/ 199 w 1268"/>
                  <a:gd name="T117" fmla="*/ 10 h 321"/>
                  <a:gd name="T118" fmla="*/ 217 w 1268"/>
                  <a:gd name="T119" fmla="*/ 7 h 321"/>
                  <a:gd name="T120" fmla="*/ 244 w 1268"/>
                  <a:gd name="T121" fmla="*/ 9 h 32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19" name="Freeform 418">
                <a:extLst>
                  <a:ext uri="{FF2B5EF4-FFF2-40B4-BE49-F238E27FC236}">
                    <a16:creationId xmlns:a16="http://schemas.microsoft.com/office/drawing/2014/main" xmlns="" id="{B85368BF-7DE7-2436-3E82-B39E313938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0 w 160"/>
                  <a:gd name="T3" fmla="*/ 3 h 117"/>
                  <a:gd name="T4" fmla="*/ 1 w 160"/>
                  <a:gd name="T5" fmla="*/ 6 h 117"/>
                  <a:gd name="T6" fmla="*/ 3 w 160"/>
                  <a:gd name="T7" fmla="*/ 9 h 117"/>
                  <a:gd name="T8" fmla="*/ 5 w 160"/>
                  <a:gd name="T9" fmla="*/ 13 h 117"/>
                  <a:gd name="T10" fmla="*/ 7 w 160"/>
                  <a:gd name="T11" fmla="*/ 16 h 117"/>
                  <a:gd name="T12" fmla="*/ 10 w 160"/>
                  <a:gd name="T13" fmla="*/ 19 h 117"/>
                  <a:gd name="T14" fmla="*/ 13 w 160"/>
                  <a:gd name="T15" fmla="*/ 22 h 117"/>
                  <a:gd name="T16" fmla="*/ 16 w 160"/>
                  <a:gd name="T17" fmla="*/ 25 h 117"/>
                  <a:gd name="T18" fmla="*/ 20 w 160"/>
                  <a:gd name="T19" fmla="*/ 28 h 117"/>
                  <a:gd name="T20" fmla="*/ 23 w 160"/>
                  <a:gd name="T21" fmla="*/ 30 h 117"/>
                  <a:gd name="T22" fmla="*/ 27 w 160"/>
                  <a:gd name="T23" fmla="*/ 32 h 117"/>
                  <a:gd name="T24" fmla="*/ 30 w 160"/>
                  <a:gd name="T25" fmla="*/ 34 h 117"/>
                  <a:gd name="T26" fmla="*/ 34 w 160"/>
                  <a:gd name="T27" fmla="*/ 36 h 117"/>
                  <a:gd name="T28" fmla="*/ 37 w 160"/>
                  <a:gd name="T29" fmla="*/ 37 h 117"/>
                  <a:gd name="T30" fmla="*/ 40 w 160"/>
                  <a:gd name="T31" fmla="*/ 38 h 117"/>
                  <a:gd name="T32" fmla="*/ 42 w 160"/>
                  <a:gd name="T33" fmla="*/ 38 h 117"/>
                  <a:gd name="T34" fmla="*/ 44 w 160"/>
                  <a:gd name="T35" fmla="*/ 38 h 117"/>
                  <a:gd name="T36" fmla="*/ 47 w 160"/>
                  <a:gd name="T37" fmla="*/ 37 h 117"/>
                  <a:gd name="T38" fmla="*/ 49 w 160"/>
                  <a:gd name="T39" fmla="*/ 36 h 117"/>
                  <a:gd name="T40" fmla="*/ 51 w 160"/>
                  <a:gd name="T41" fmla="*/ 34 h 117"/>
                  <a:gd name="T42" fmla="*/ 48 w 160"/>
                  <a:gd name="T43" fmla="*/ 30 h 117"/>
                  <a:gd name="T44" fmla="*/ 45 w 160"/>
                  <a:gd name="T45" fmla="*/ 26 h 117"/>
                  <a:gd name="T46" fmla="*/ 44 w 160"/>
                  <a:gd name="T47" fmla="*/ 24 h 117"/>
                  <a:gd name="T48" fmla="*/ 43 w 160"/>
                  <a:gd name="T49" fmla="*/ 21 h 117"/>
                  <a:gd name="T50" fmla="*/ 42 w 160"/>
                  <a:gd name="T51" fmla="*/ 19 h 117"/>
                  <a:gd name="T52" fmla="*/ 42 w 160"/>
                  <a:gd name="T53" fmla="*/ 16 h 117"/>
                  <a:gd name="T54" fmla="*/ 40 w 160"/>
                  <a:gd name="T55" fmla="*/ 16 h 117"/>
                  <a:gd name="T56" fmla="*/ 38 w 160"/>
                  <a:gd name="T57" fmla="*/ 15 h 117"/>
                  <a:gd name="T58" fmla="*/ 34 w 160"/>
                  <a:gd name="T59" fmla="*/ 13 h 117"/>
                  <a:gd name="T60" fmla="*/ 31 w 160"/>
                  <a:gd name="T61" fmla="*/ 11 h 117"/>
                  <a:gd name="T62" fmla="*/ 28 w 160"/>
                  <a:gd name="T63" fmla="*/ 9 h 117"/>
                  <a:gd name="T64" fmla="*/ 25 w 160"/>
                  <a:gd name="T65" fmla="*/ 7 h 117"/>
                  <a:gd name="T66" fmla="*/ 24 w 160"/>
                  <a:gd name="T67" fmla="*/ 6 h 117"/>
                  <a:gd name="T68" fmla="*/ 23 w 160"/>
                  <a:gd name="T69" fmla="*/ 4 h 117"/>
                  <a:gd name="T70" fmla="*/ 22 w 160"/>
                  <a:gd name="T71" fmla="*/ 3 h 117"/>
                  <a:gd name="T72" fmla="*/ 21 w 160"/>
                  <a:gd name="T73" fmla="*/ 2 h 117"/>
                  <a:gd name="T74" fmla="*/ 19 w 160"/>
                  <a:gd name="T75" fmla="*/ 2 h 117"/>
                  <a:gd name="T76" fmla="*/ 17 w 160"/>
                  <a:gd name="T77" fmla="*/ 2 h 117"/>
                  <a:gd name="T78" fmla="*/ 14 w 160"/>
                  <a:gd name="T79" fmla="*/ 1 h 117"/>
                  <a:gd name="T80" fmla="*/ 11 w 160"/>
                  <a:gd name="T81" fmla="*/ 0 h 117"/>
                  <a:gd name="T82" fmla="*/ 0 w 160"/>
                  <a:gd name="T83" fmla="*/ 0 h 117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20" name="Freeform 419">
                <a:extLst>
                  <a:ext uri="{FF2B5EF4-FFF2-40B4-BE49-F238E27FC236}">
                    <a16:creationId xmlns:a16="http://schemas.microsoft.com/office/drawing/2014/main" xmlns="" id="{48B1F019-C6DF-2F9F-F95B-F1AF96901C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13 w 80"/>
                  <a:gd name="T1" fmla="*/ 40 h 141"/>
                  <a:gd name="T2" fmla="*/ 26 w 80"/>
                  <a:gd name="T3" fmla="*/ 12 h 141"/>
                  <a:gd name="T4" fmla="*/ 26 w 80"/>
                  <a:gd name="T5" fmla="*/ 6 h 141"/>
                  <a:gd name="T6" fmla="*/ 22 w 80"/>
                  <a:gd name="T7" fmla="*/ 6 h 141"/>
                  <a:gd name="T8" fmla="*/ 19 w 80"/>
                  <a:gd name="T9" fmla="*/ 5 h 141"/>
                  <a:gd name="T10" fmla="*/ 17 w 80"/>
                  <a:gd name="T11" fmla="*/ 5 h 141"/>
                  <a:gd name="T12" fmla="*/ 15 w 80"/>
                  <a:gd name="T13" fmla="*/ 4 h 141"/>
                  <a:gd name="T14" fmla="*/ 14 w 80"/>
                  <a:gd name="T15" fmla="*/ 3 h 141"/>
                  <a:gd name="T16" fmla="*/ 14 w 80"/>
                  <a:gd name="T17" fmla="*/ 2 h 141"/>
                  <a:gd name="T18" fmla="*/ 13 w 80"/>
                  <a:gd name="T19" fmla="*/ 1 h 141"/>
                  <a:gd name="T20" fmla="*/ 13 w 80"/>
                  <a:gd name="T21" fmla="*/ 0 h 141"/>
                  <a:gd name="T22" fmla="*/ 0 w 80"/>
                  <a:gd name="T23" fmla="*/ 0 h 141"/>
                  <a:gd name="T24" fmla="*/ 0 w 80"/>
                  <a:gd name="T25" fmla="*/ 8 h 141"/>
                  <a:gd name="T26" fmla="*/ 0 w 80"/>
                  <a:gd name="T27" fmla="*/ 13 h 141"/>
                  <a:gd name="T28" fmla="*/ 0 w 80"/>
                  <a:gd name="T29" fmla="*/ 17 h 141"/>
                  <a:gd name="T30" fmla="*/ 0 w 80"/>
                  <a:gd name="T31" fmla="*/ 20 h 141"/>
                  <a:gd name="T32" fmla="*/ 0 w 80"/>
                  <a:gd name="T33" fmla="*/ 23 h 141"/>
                  <a:gd name="T34" fmla="*/ 1 w 80"/>
                  <a:gd name="T35" fmla="*/ 25 h 141"/>
                  <a:gd name="T36" fmla="*/ 2 w 80"/>
                  <a:gd name="T37" fmla="*/ 29 h 141"/>
                  <a:gd name="T38" fmla="*/ 4 w 80"/>
                  <a:gd name="T39" fmla="*/ 32 h 141"/>
                  <a:gd name="T40" fmla="*/ 7 w 80"/>
                  <a:gd name="T41" fmla="*/ 39 h 141"/>
                  <a:gd name="T42" fmla="*/ 9 w 80"/>
                  <a:gd name="T43" fmla="*/ 46 h 141"/>
                  <a:gd name="T44" fmla="*/ 10 w 80"/>
                  <a:gd name="T45" fmla="*/ 44 h 141"/>
                  <a:gd name="T46" fmla="*/ 11 w 80"/>
                  <a:gd name="T47" fmla="*/ 42 h 141"/>
                  <a:gd name="T48" fmla="*/ 11 w 80"/>
                  <a:gd name="T49" fmla="*/ 41 h 141"/>
                  <a:gd name="T50" fmla="*/ 12 w 80"/>
                  <a:gd name="T51" fmla="*/ 41 h 141"/>
                  <a:gd name="T52" fmla="*/ 12 w 80"/>
                  <a:gd name="T53" fmla="*/ 40 h 141"/>
                  <a:gd name="T54" fmla="*/ 13 w 80"/>
                  <a:gd name="T55" fmla="*/ 40 h 14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21" name="Freeform 420">
                <a:extLst>
                  <a:ext uri="{FF2B5EF4-FFF2-40B4-BE49-F238E27FC236}">
                    <a16:creationId xmlns:a16="http://schemas.microsoft.com/office/drawing/2014/main" xmlns="" id="{3BA9D326-95A3-B7F7-AE2B-974B766382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31 h 124"/>
                  <a:gd name="T2" fmla="*/ 0 w 259"/>
                  <a:gd name="T3" fmla="*/ 32 h 124"/>
                  <a:gd name="T4" fmla="*/ 1 w 259"/>
                  <a:gd name="T5" fmla="*/ 33 h 124"/>
                  <a:gd name="T6" fmla="*/ 1 w 259"/>
                  <a:gd name="T7" fmla="*/ 34 h 124"/>
                  <a:gd name="T8" fmla="*/ 2 w 259"/>
                  <a:gd name="T9" fmla="*/ 35 h 124"/>
                  <a:gd name="T10" fmla="*/ 4 w 259"/>
                  <a:gd name="T11" fmla="*/ 37 h 124"/>
                  <a:gd name="T12" fmla="*/ 7 w 259"/>
                  <a:gd name="T13" fmla="*/ 38 h 124"/>
                  <a:gd name="T14" fmla="*/ 10 w 259"/>
                  <a:gd name="T15" fmla="*/ 40 h 124"/>
                  <a:gd name="T16" fmla="*/ 13 w 259"/>
                  <a:gd name="T17" fmla="*/ 40 h 124"/>
                  <a:gd name="T18" fmla="*/ 16 w 259"/>
                  <a:gd name="T19" fmla="*/ 41 h 124"/>
                  <a:gd name="T20" fmla="*/ 19 w 259"/>
                  <a:gd name="T21" fmla="*/ 41 h 124"/>
                  <a:gd name="T22" fmla="*/ 22 w 259"/>
                  <a:gd name="T23" fmla="*/ 41 h 124"/>
                  <a:gd name="T24" fmla="*/ 24 w 259"/>
                  <a:gd name="T25" fmla="*/ 41 h 124"/>
                  <a:gd name="T26" fmla="*/ 26 w 259"/>
                  <a:gd name="T27" fmla="*/ 40 h 124"/>
                  <a:gd name="T28" fmla="*/ 28 w 259"/>
                  <a:gd name="T29" fmla="*/ 40 h 124"/>
                  <a:gd name="T30" fmla="*/ 31 w 259"/>
                  <a:gd name="T31" fmla="*/ 38 h 124"/>
                  <a:gd name="T32" fmla="*/ 34 w 259"/>
                  <a:gd name="T33" fmla="*/ 36 h 124"/>
                  <a:gd name="T34" fmla="*/ 37 w 259"/>
                  <a:gd name="T35" fmla="*/ 34 h 124"/>
                  <a:gd name="T36" fmla="*/ 40 w 259"/>
                  <a:gd name="T37" fmla="*/ 32 h 124"/>
                  <a:gd name="T38" fmla="*/ 42 w 259"/>
                  <a:gd name="T39" fmla="*/ 32 h 124"/>
                  <a:gd name="T40" fmla="*/ 44 w 259"/>
                  <a:gd name="T41" fmla="*/ 31 h 124"/>
                  <a:gd name="T42" fmla="*/ 46 w 259"/>
                  <a:gd name="T43" fmla="*/ 31 h 124"/>
                  <a:gd name="T44" fmla="*/ 49 w 259"/>
                  <a:gd name="T45" fmla="*/ 31 h 124"/>
                  <a:gd name="T46" fmla="*/ 52 w 259"/>
                  <a:gd name="T47" fmla="*/ 31 h 124"/>
                  <a:gd name="T48" fmla="*/ 55 w 259"/>
                  <a:gd name="T49" fmla="*/ 32 h 124"/>
                  <a:gd name="T50" fmla="*/ 58 w 259"/>
                  <a:gd name="T51" fmla="*/ 33 h 124"/>
                  <a:gd name="T52" fmla="*/ 60 w 259"/>
                  <a:gd name="T53" fmla="*/ 34 h 124"/>
                  <a:gd name="T54" fmla="*/ 65 w 259"/>
                  <a:gd name="T55" fmla="*/ 37 h 124"/>
                  <a:gd name="T56" fmla="*/ 70 w 259"/>
                  <a:gd name="T57" fmla="*/ 39 h 124"/>
                  <a:gd name="T58" fmla="*/ 83 w 259"/>
                  <a:gd name="T59" fmla="*/ 39 h 124"/>
                  <a:gd name="T60" fmla="*/ 83 w 259"/>
                  <a:gd name="T61" fmla="*/ 33 h 124"/>
                  <a:gd name="T62" fmla="*/ 81 w 259"/>
                  <a:gd name="T63" fmla="*/ 32 h 124"/>
                  <a:gd name="T64" fmla="*/ 78 w 259"/>
                  <a:gd name="T65" fmla="*/ 32 h 124"/>
                  <a:gd name="T66" fmla="*/ 76 w 259"/>
                  <a:gd name="T67" fmla="*/ 31 h 124"/>
                  <a:gd name="T68" fmla="*/ 72 w 259"/>
                  <a:gd name="T69" fmla="*/ 31 h 124"/>
                  <a:gd name="T70" fmla="*/ 74 w 259"/>
                  <a:gd name="T71" fmla="*/ 28 h 124"/>
                  <a:gd name="T72" fmla="*/ 76 w 259"/>
                  <a:gd name="T73" fmla="*/ 26 h 124"/>
                  <a:gd name="T74" fmla="*/ 77 w 259"/>
                  <a:gd name="T75" fmla="*/ 24 h 124"/>
                  <a:gd name="T76" fmla="*/ 79 w 259"/>
                  <a:gd name="T77" fmla="*/ 23 h 124"/>
                  <a:gd name="T78" fmla="*/ 76 w 259"/>
                  <a:gd name="T79" fmla="*/ 20 h 124"/>
                  <a:gd name="T80" fmla="*/ 74 w 259"/>
                  <a:gd name="T81" fmla="*/ 19 h 124"/>
                  <a:gd name="T82" fmla="*/ 71 w 259"/>
                  <a:gd name="T83" fmla="*/ 17 h 124"/>
                  <a:gd name="T84" fmla="*/ 69 w 259"/>
                  <a:gd name="T85" fmla="*/ 15 h 124"/>
                  <a:gd name="T86" fmla="*/ 63 w 259"/>
                  <a:gd name="T87" fmla="*/ 12 h 124"/>
                  <a:gd name="T88" fmla="*/ 58 w 259"/>
                  <a:gd name="T89" fmla="*/ 10 h 124"/>
                  <a:gd name="T90" fmla="*/ 53 w 259"/>
                  <a:gd name="T91" fmla="*/ 8 h 124"/>
                  <a:gd name="T92" fmla="*/ 49 w 259"/>
                  <a:gd name="T93" fmla="*/ 6 h 124"/>
                  <a:gd name="T94" fmla="*/ 47 w 259"/>
                  <a:gd name="T95" fmla="*/ 4 h 124"/>
                  <a:gd name="T96" fmla="*/ 45 w 259"/>
                  <a:gd name="T97" fmla="*/ 3 h 124"/>
                  <a:gd name="T98" fmla="*/ 44 w 259"/>
                  <a:gd name="T99" fmla="*/ 2 h 124"/>
                  <a:gd name="T100" fmla="*/ 42 w 259"/>
                  <a:gd name="T101" fmla="*/ 0 h 124"/>
                  <a:gd name="T102" fmla="*/ 40 w 259"/>
                  <a:gd name="T103" fmla="*/ 1 h 124"/>
                  <a:gd name="T104" fmla="*/ 37 w 259"/>
                  <a:gd name="T105" fmla="*/ 2 h 124"/>
                  <a:gd name="T106" fmla="*/ 34 w 259"/>
                  <a:gd name="T107" fmla="*/ 4 h 124"/>
                  <a:gd name="T108" fmla="*/ 30 w 259"/>
                  <a:gd name="T109" fmla="*/ 6 h 124"/>
                  <a:gd name="T110" fmla="*/ 24 w 259"/>
                  <a:gd name="T111" fmla="*/ 10 h 124"/>
                  <a:gd name="T112" fmla="*/ 18 w 259"/>
                  <a:gd name="T113" fmla="*/ 14 h 124"/>
                  <a:gd name="T114" fmla="*/ 12 w 259"/>
                  <a:gd name="T115" fmla="*/ 19 h 124"/>
                  <a:gd name="T116" fmla="*/ 7 w 259"/>
                  <a:gd name="T117" fmla="*/ 23 h 124"/>
                  <a:gd name="T118" fmla="*/ 3 w 259"/>
                  <a:gd name="T119" fmla="*/ 27 h 124"/>
                  <a:gd name="T120" fmla="*/ 0 w 259"/>
                  <a:gd name="T121" fmla="*/ 31 h 12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22" name="Freeform 421">
                <a:extLst>
                  <a:ext uri="{FF2B5EF4-FFF2-40B4-BE49-F238E27FC236}">
                    <a16:creationId xmlns:a16="http://schemas.microsoft.com/office/drawing/2014/main" xmlns="" id="{EB1E496C-7DAC-FF89-12BD-4D2F4DA7E5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11 h 57"/>
                  <a:gd name="T2" fmla="*/ 2 w 119"/>
                  <a:gd name="T3" fmla="*/ 12 h 57"/>
                  <a:gd name="T4" fmla="*/ 4 w 119"/>
                  <a:gd name="T5" fmla="*/ 13 h 57"/>
                  <a:gd name="T6" fmla="*/ 6 w 119"/>
                  <a:gd name="T7" fmla="*/ 14 h 57"/>
                  <a:gd name="T8" fmla="*/ 8 w 119"/>
                  <a:gd name="T9" fmla="*/ 16 h 57"/>
                  <a:gd name="T10" fmla="*/ 10 w 119"/>
                  <a:gd name="T11" fmla="*/ 17 h 57"/>
                  <a:gd name="T12" fmla="*/ 11 w 119"/>
                  <a:gd name="T13" fmla="*/ 18 h 57"/>
                  <a:gd name="T14" fmla="*/ 13 w 119"/>
                  <a:gd name="T15" fmla="*/ 19 h 57"/>
                  <a:gd name="T16" fmla="*/ 15 w 119"/>
                  <a:gd name="T17" fmla="*/ 19 h 57"/>
                  <a:gd name="T18" fmla="*/ 18 w 119"/>
                  <a:gd name="T19" fmla="*/ 19 h 57"/>
                  <a:gd name="T20" fmla="*/ 20 w 119"/>
                  <a:gd name="T21" fmla="*/ 19 h 57"/>
                  <a:gd name="T22" fmla="*/ 22 w 119"/>
                  <a:gd name="T23" fmla="*/ 18 h 57"/>
                  <a:gd name="T24" fmla="*/ 25 w 119"/>
                  <a:gd name="T25" fmla="*/ 18 h 57"/>
                  <a:gd name="T26" fmla="*/ 27 w 119"/>
                  <a:gd name="T27" fmla="*/ 17 h 57"/>
                  <a:gd name="T28" fmla="*/ 28 w 119"/>
                  <a:gd name="T29" fmla="*/ 16 h 57"/>
                  <a:gd name="T30" fmla="*/ 30 w 119"/>
                  <a:gd name="T31" fmla="*/ 15 h 57"/>
                  <a:gd name="T32" fmla="*/ 31 w 119"/>
                  <a:gd name="T33" fmla="*/ 13 h 57"/>
                  <a:gd name="T34" fmla="*/ 34 w 119"/>
                  <a:gd name="T35" fmla="*/ 11 h 57"/>
                  <a:gd name="T36" fmla="*/ 36 w 119"/>
                  <a:gd name="T37" fmla="*/ 8 h 57"/>
                  <a:gd name="T38" fmla="*/ 37 w 119"/>
                  <a:gd name="T39" fmla="*/ 4 h 57"/>
                  <a:gd name="T40" fmla="*/ 38 w 119"/>
                  <a:gd name="T41" fmla="*/ 0 h 57"/>
                  <a:gd name="T42" fmla="*/ 32 w 119"/>
                  <a:gd name="T43" fmla="*/ 0 h 57"/>
                  <a:gd name="T44" fmla="*/ 26 w 119"/>
                  <a:gd name="T45" fmla="*/ 0 h 57"/>
                  <a:gd name="T46" fmla="*/ 20 w 119"/>
                  <a:gd name="T47" fmla="*/ 1 h 57"/>
                  <a:gd name="T48" fmla="*/ 14 w 119"/>
                  <a:gd name="T49" fmla="*/ 2 h 57"/>
                  <a:gd name="T50" fmla="*/ 11 w 119"/>
                  <a:gd name="T51" fmla="*/ 2 h 57"/>
                  <a:gd name="T52" fmla="*/ 9 w 119"/>
                  <a:gd name="T53" fmla="*/ 3 h 57"/>
                  <a:gd name="T54" fmla="*/ 7 w 119"/>
                  <a:gd name="T55" fmla="*/ 4 h 57"/>
                  <a:gd name="T56" fmla="*/ 5 w 119"/>
                  <a:gd name="T57" fmla="*/ 5 h 57"/>
                  <a:gd name="T58" fmla="*/ 3 w 119"/>
                  <a:gd name="T59" fmla="*/ 6 h 57"/>
                  <a:gd name="T60" fmla="*/ 2 w 119"/>
                  <a:gd name="T61" fmla="*/ 8 h 57"/>
                  <a:gd name="T62" fmla="*/ 1 w 119"/>
                  <a:gd name="T63" fmla="*/ 9 h 57"/>
                  <a:gd name="T64" fmla="*/ 0 w 119"/>
                  <a:gd name="T65" fmla="*/ 11 h 5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23" name="Freeform 422">
                <a:extLst>
                  <a:ext uri="{FF2B5EF4-FFF2-40B4-BE49-F238E27FC236}">
                    <a16:creationId xmlns:a16="http://schemas.microsoft.com/office/drawing/2014/main" xmlns="" id="{36D03357-FFD3-8C02-3C68-AFA0ED5869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16 h 52"/>
                  <a:gd name="T2" fmla="*/ 2 w 107"/>
                  <a:gd name="T3" fmla="*/ 17 h 52"/>
                  <a:gd name="T4" fmla="*/ 3 w 107"/>
                  <a:gd name="T5" fmla="*/ 17 h 52"/>
                  <a:gd name="T6" fmla="*/ 4 w 107"/>
                  <a:gd name="T7" fmla="*/ 17 h 52"/>
                  <a:gd name="T8" fmla="*/ 5 w 107"/>
                  <a:gd name="T9" fmla="*/ 17 h 52"/>
                  <a:gd name="T10" fmla="*/ 8 w 107"/>
                  <a:gd name="T11" fmla="*/ 16 h 52"/>
                  <a:gd name="T12" fmla="*/ 11 w 107"/>
                  <a:gd name="T13" fmla="*/ 16 h 52"/>
                  <a:gd name="T14" fmla="*/ 14 w 107"/>
                  <a:gd name="T15" fmla="*/ 16 h 52"/>
                  <a:gd name="T16" fmla="*/ 17 w 107"/>
                  <a:gd name="T17" fmla="*/ 16 h 52"/>
                  <a:gd name="T18" fmla="*/ 20 w 107"/>
                  <a:gd name="T19" fmla="*/ 15 h 52"/>
                  <a:gd name="T20" fmla="*/ 22 w 107"/>
                  <a:gd name="T21" fmla="*/ 14 h 52"/>
                  <a:gd name="T22" fmla="*/ 25 w 107"/>
                  <a:gd name="T23" fmla="*/ 13 h 52"/>
                  <a:gd name="T24" fmla="*/ 28 w 107"/>
                  <a:gd name="T25" fmla="*/ 12 h 52"/>
                  <a:gd name="T26" fmla="*/ 31 w 107"/>
                  <a:gd name="T27" fmla="*/ 10 h 52"/>
                  <a:gd name="T28" fmla="*/ 34 w 107"/>
                  <a:gd name="T29" fmla="*/ 8 h 52"/>
                  <a:gd name="T30" fmla="*/ 34 w 107"/>
                  <a:gd name="T31" fmla="*/ 0 h 52"/>
                  <a:gd name="T32" fmla="*/ 31 w 107"/>
                  <a:gd name="T33" fmla="*/ 0 h 52"/>
                  <a:gd name="T34" fmla="*/ 27 w 107"/>
                  <a:gd name="T35" fmla="*/ 1 h 52"/>
                  <a:gd name="T36" fmla="*/ 23 w 107"/>
                  <a:gd name="T37" fmla="*/ 2 h 52"/>
                  <a:gd name="T38" fmla="*/ 18 w 107"/>
                  <a:gd name="T39" fmla="*/ 4 h 52"/>
                  <a:gd name="T40" fmla="*/ 13 w 107"/>
                  <a:gd name="T41" fmla="*/ 7 h 52"/>
                  <a:gd name="T42" fmla="*/ 8 w 107"/>
                  <a:gd name="T43" fmla="*/ 9 h 52"/>
                  <a:gd name="T44" fmla="*/ 6 w 107"/>
                  <a:gd name="T45" fmla="*/ 11 h 52"/>
                  <a:gd name="T46" fmla="*/ 4 w 107"/>
                  <a:gd name="T47" fmla="*/ 12 h 52"/>
                  <a:gd name="T48" fmla="*/ 2 w 107"/>
                  <a:gd name="T49" fmla="*/ 14 h 52"/>
                  <a:gd name="T50" fmla="*/ 0 w 107"/>
                  <a:gd name="T51" fmla="*/ 16 h 5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24" name="Freeform 423">
                <a:extLst>
                  <a:ext uri="{FF2B5EF4-FFF2-40B4-BE49-F238E27FC236}">
                    <a16:creationId xmlns:a16="http://schemas.microsoft.com/office/drawing/2014/main" xmlns="" id="{66D51A63-CB26-A782-871B-3427D312EA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9 w 246"/>
                  <a:gd name="T1" fmla="*/ 32 h 99"/>
                  <a:gd name="T2" fmla="*/ 7 w 246"/>
                  <a:gd name="T3" fmla="*/ 31 h 99"/>
                  <a:gd name="T4" fmla="*/ 5 w 246"/>
                  <a:gd name="T5" fmla="*/ 31 h 99"/>
                  <a:gd name="T6" fmla="*/ 4 w 246"/>
                  <a:gd name="T7" fmla="*/ 30 h 99"/>
                  <a:gd name="T8" fmla="*/ 3 w 246"/>
                  <a:gd name="T9" fmla="*/ 29 h 99"/>
                  <a:gd name="T10" fmla="*/ 2 w 246"/>
                  <a:gd name="T11" fmla="*/ 28 h 99"/>
                  <a:gd name="T12" fmla="*/ 1 w 246"/>
                  <a:gd name="T13" fmla="*/ 27 h 99"/>
                  <a:gd name="T14" fmla="*/ 0 w 246"/>
                  <a:gd name="T15" fmla="*/ 25 h 99"/>
                  <a:gd name="T16" fmla="*/ 0 w 246"/>
                  <a:gd name="T17" fmla="*/ 24 h 99"/>
                  <a:gd name="T18" fmla="*/ 0 w 246"/>
                  <a:gd name="T19" fmla="*/ 22 h 99"/>
                  <a:gd name="T20" fmla="*/ 0 w 246"/>
                  <a:gd name="T21" fmla="*/ 21 h 99"/>
                  <a:gd name="T22" fmla="*/ 1 w 246"/>
                  <a:gd name="T23" fmla="*/ 19 h 99"/>
                  <a:gd name="T24" fmla="*/ 2 w 246"/>
                  <a:gd name="T25" fmla="*/ 18 h 99"/>
                  <a:gd name="T26" fmla="*/ 3 w 246"/>
                  <a:gd name="T27" fmla="*/ 16 h 99"/>
                  <a:gd name="T28" fmla="*/ 6 w 246"/>
                  <a:gd name="T29" fmla="*/ 13 h 99"/>
                  <a:gd name="T30" fmla="*/ 8 w 246"/>
                  <a:gd name="T31" fmla="*/ 11 h 99"/>
                  <a:gd name="T32" fmla="*/ 11 w 246"/>
                  <a:gd name="T33" fmla="*/ 9 h 99"/>
                  <a:gd name="T34" fmla="*/ 15 w 246"/>
                  <a:gd name="T35" fmla="*/ 7 h 99"/>
                  <a:gd name="T36" fmla="*/ 18 w 246"/>
                  <a:gd name="T37" fmla="*/ 6 h 99"/>
                  <a:gd name="T38" fmla="*/ 22 w 246"/>
                  <a:gd name="T39" fmla="*/ 5 h 99"/>
                  <a:gd name="T40" fmla="*/ 26 w 246"/>
                  <a:gd name="T41" fmla="*/ 3 h 99"/>
                  <a:gd name="T42" fmla="*/ 30 w 246"/>
                  <a:gd name="T43" fmla="*/ 2 h 99"/>
                  <a:gd name="T44" fmla="*/ 33 w 246"/>
                  <a:gd name="T45" fmla="*/ 1 h 99"/>
                  <a:gd name="T46" fmla="*/ 40 w 246"/>
                  <a:gd name="T47" fmla="*/ 0 h 99"/>
                  <a:gd name="T48" fmla="*/ 45 w 246"/>
                  <a:gd name="T49" fmla="*/ 0 h 99"/>
                  <a:gd name="T50" fmla="*/ 54 w 246"/>
                  <a:gd name="T51" fmla="*/ 0 h 99"/>
                  <a:gd name="T52" fmla="*/ 62 w 246"/>
                  <a:gd name="T53" fmla="*/ 0 h 99"/>
                  <a:gd name="T54" fmla="*/ 70 w 246"/>
                  <a:gd name="T55" fmla="*/ 1 h 99"/>
                  <a:gd name="T56" fmla="*/ 79 w 246"/>
                  <a:gd name="T57" fmla="*/ 2 h 99"/>
                  <a:gd name="T58" fmla="*/ 78 w 246"/>
                  <a:gd name="T59" fmla="*/ 4 h 99"/>
                  <a:gd name="T60" fmla="*/ 77 w 246"/>
                  <a:gd name="T61" fmla="*/ 5 h 99"/>
                  <a:gd name="T62" fmla="*/ 76 w 246"/>
                  <a:gd name="T63" fmla="*/ 6 h 99"/>
                  <a:gd name="T64" fmla="*/ 74 w 246"/>
                  <a:gd name="T65" fmla="*/ 8 h 99"/>
                  <a:gd name="T66" fmla="*/ 69 w 246"/>
                  <a:gd name="T67" fmla="*/ 12 h 99"/>
                  <a:gd name="T68" fmla="*/ 64 w 246"/>
                  <a:gd name="T69" fmla="*/ 15 h 99"/>
                  <a:gd name="T70" fmla="*/ 58 w 246"/>
                  <a:gd name="T71" fmla="*/ 18 h 99"/>
                  <a:gd name="T72" fmla="*/ 52 w 246"/>
                  <a:gd name="T73" fmla="*/ 20 h 99"/>
                  <a:gd name="T74" fmla="*/ 49 w 246"/>
                  <a:gd name="T75" fmla="*/ 21 h 99"/>
                  <a:gd name="T76" fmla="*/ 46 w 246"/>
                  <a:gd name="T77" fmla="*/ 21 h 99"/>
                  <a:gd name="T78" fmla="*/ 43 w 246"/>
                  <a:gd name="T79" fmla="*/ 22 h 99"/>
                  <a:gd name="T80" fmla="*/ 40 w 246"/>
                  <a:gd name="T81" fmla="*/ 22 h 99"/>
                  <a:gd name="T82" fmla="*/ 39 w 246"/>
                  <a:gd name="T83" fmla="*/ 22 h 99"/>
                  <a:gd name="T84" fmla="*/ 35 w 246"/>
                  <a:gd name="T85" fmla="*/ 22 h 99"/>
                  <a:gd name="T86" fmla="*/ 32 w 246"/>
                  <a:gd name="T87" fmla="*/ 22 h 99"/>
                  <a:gd name="T88" fmla="*/ 30 w 246"/>
                  <a:gd name="T89" fmla="*/ 22 h 99"/>
                  <a:gd name="T90" fmla="*/ 28 w 246"/>
                  <a:gd name="T91" fmla="*/ 22 h 99"/>
                  <a:gd name="T92" fmla="*/ 26 w 246"/>
                  <a:gd name="T93" fmla="*/ 23 h 99"/>
                  <a:gd name="T94" fmla="*/ 23 w 246"/>
                  <a:gd name="T95" fmla="*/ 25 h 99"/>
                  <a:gd name="T96" fmla="*/ 20 w 246"/>
                  <a:gd name="T97" fmla="*/ 27 h 99"/>
                  <a:gd name="T98" fmla="*/ 17 w 246"/>
                  <a:gd name="T99" fmla="*/ 28 h 99"/>
                  <a:gd name="T100" fmla="*/ 14 w 246"/>
                  <a:gd name="T101" fmla="*/ 30 h 99"/>
                  <a:gd name="T102" fmla="*/ 11 w 246"/>
                  <a:gd name="T103" fmla="*/ 31 h 99"/>
                  <a:gd name="T104" fmla="*/ 9 w 246"/>
                  <a:gd name="T105" fmla="*/ 32 h 9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25" name="Freeform 424">
                <a:extLst>
                  <a:ext uri="{FF2B5EF4-FFF2-40B4-BE49-F238E27FC236}">
                    <a16:creationId xmlns:a16="http://schemas.microsoft.com/office/drawing/2014/main" xmlns="" id="{4C817820-DB07-6BF4-E8F9-3AADEB914C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11 w 233"/>
                  <a:gd name="T1" fmla="*/ 29 h 123"/>
                  <a:gd name="T2" fmla="*/ 3 w 233"/>
                  <a:gd name="T3" fmla="*/ 25 h 123"/>
                  <a:gd name="T4" fmla="*/ 0 w 233"/>
                  <a:gd name="T5" fmla="*/ 18 h 123"/>
                  <a:gd name="T6" fmla="*/ 7 w 233"/>
                  <a:gd name="T7" fmla="*/ 12 h 123"/>
                  <a:gd name="T8" fmla="*/ 13 w 233"/>
                  <a:gd name="T9" fmla="*/ 12 h 123"/>
                  <a:gd name="T10" fmla="*/ 20 w 233"/>
                  <a:gd name="T11" fmla="*/ 12 h 123"/>
                  <a:gd name="T12" fmla="*/ 23 w 233"/>
                  <a:gd name="T13" fmla="*/ 12 h 123"/>
                  <a:gd name="T14" fmla="*/ 27 w 233"/>
                  <a:gd name="T15" fmla="*/ 11 h 123"/>
                  <a:gd name="T16" fmla="*/ 34 w 233"/>
                  <a:gd name="T17" fmla="*/ 7 h 123"/>
                  <a:gd name="T18" fmla="*/ 40 w 233"/>
                  <a:gd name="T19" fmla="*/ 4 h 123"/>
                  <a:gd name="T20" fmla="*/ 48 w 233"/>
                  <a:gd name="T21" fmla="*/ 0 h 123"/>
                  <a:gd name="T22" fmla="*/ 53 w 233"/>
                  <a:gd name="T23" fmla="*/ 3 h 123"/>
                  <a:gd name="T24" fmla="*/ 59 w 233"/>
                  <a:gd name="T25" fmla="*/ 4 h 123"/>
                  <a:gd name="T26" fmla="*/ 62 w 233"/>
                  <a:gd name="T27" fmla="*/ 3 h 123"/>
                  <a:gd name="T28" fmla="*/ 66 w 233"/>
                  <a:gd name="T29" fmla="*/ 2 h 123"/>
                  <a:gd name="T30" fmla="*/ 69 w 233"/>
                  <a:gd name="T31" fmla="*/ 0 h 123"/>
                  <a:gd name="T32" fmla="*/ 76 w 233"/>
                  <a:gd name="T33" fmla="*/ 2 h 123"/>
                  <a:gd name="T34" fmla="*/ 74 w 233"/>
                  <a:gd name="T35" fmla="*/ 6 h 123"/>
                  <a:gd name="T36" fmla="*/ 71 w 233"/>
                  <a:gd name="T37" fmla="*/ 8 h 123"/>
                  <a:gd name="T38" fmla="*/ 68 w 233"/>
                  <a:gd name="T39" fmla="*/ 10 h 123"/>
                  <a:gd name="T40" fmla="*/ 66 w 233"/>
                  <a:gd name="T41" fmla="*/ 14 h 123"/>
                  <a:gd name="T42" fmla="*/ 67 w 233"/>
                  <a:gd name="T43" fmla="*/ 20 h 123"/>
                  <a:gd name="T44" fmla="*/ 60 w 233"/>
                  <a:gd name="T45" fmla="*/ 28 h 123"/>
                  <a:gd name="T46" fmla="*/ 51 w 233"/>
                  <a:gd name="T47" fmla="*/ 31 h 123"/>
                  <a:gd name="T48" fmla="*/ 45 w 233"/>
                  <a:gd name="T49" fmla="*/ 32 h 123"/>
                  <a:gd name="T50" fmla="*/ 38 w 233"/>
                  <a:gd name="T51" fmla="*/ 33 h 123"/>
                  <a:gd name="T52" fmla="*/ 31 w 233"/>
                  <a:gd name="T53" fmla="*/ 34 h 123"/>
                  <a:gd name="T54" fmla="*/ 27 w 233"/>
                  <a:gd name="T55" fmla="*/ 37 h 123"/>
                  <a:gd name="T56" fmla="*/ 22 w 233"/>
                  <a:gd name="T57" fmla="*/ 40 h 123"/>
                  <a:gd name="T58" fmla="*/ 19 w 233"/>
                  <a:gd name="T59" fmla="*/ 40 h 123"/>
                  <a:gd name="T60" fmla="*/ 17 w 233"/>
                  <a:gd name="T61" fmla="*/ 37 h 123"/>
                  <a:gd name="T62" fmla="*/ 16 w 233"/>
                  <a:gd name="T63" fmla="*/ 33 h 123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26" name="Freeform 425">
                <a:extLst>
                  <a:ext uri="{FF2B5EF4-FFF2-40B4-BE49-F238E27FC236}">
                    <a16:creationId xmlns:a16="http://schemas.microsoft.com/office/drawing/2014/main" xmlns="" id="{EA4B0361-1576-AED6-919F-5E71D23BB1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48 h 172"/>
                  <a:gd name="T2" fmla="*/ 1 w 484"/>
                  <a:gd name="T3" fmla="*/ 51 h 172"/>
                  <a:gd name="T4" fmla="*/ 3 w 484"/>
                  <a:gd name="T5" fmla="*/ 53 h 172"/>
                  <a:gd name="T6" fmla="*/ 6 w 484"/>
                  <a:gd name="T7" fmla="*/ 54 h 172"/>
                  <a:gd name="T8" fmla="*/ 10 w 484"/>
                  <a:gd name="T9" fmla="*/ 55 h 172"/>
                  <a:gd name="T10" fmla="*/ 17 w 484"/>
                  <a:gd name="T11" fmla="*/ 56 h 172"/>
                  <a:gd name="T12" fmla="*/ 24 w 484"/>
                  <a:gd name="T13" fmla="*/ 56 h 172"/>
                  <a:gd name="T14" fmla="*/ 32 w 484"/>
                  <a:gd name="T15" fmla="*/ 54 h 172"/>
                  <a:gd name="T16" fmla="*/ 45 w 484"/>
                  <a:gd name="T17" fmla="*/ 51 h 172"/>
                  <a:gd name="T18" fmla="*/ 61 w 484"/>
                  <a:gd name="T19" fmla="*/ 44 h 172"/>
                  <a:gd name="T20" fmla="*/ 78 w 484"/>
                  <a:gd name="T21" fmla="*/ 37 h 172"/>
                  <a:gd name="T22" fmla="*/ 93 w 484"/>
                  <a:gd name="T23" fmla="*/ 33 h 172"/>
                  <a:gd name="T24" fmla="*/ 114 w 484"/>
                  <a:gd name="T25" fmla="*/ 28 h 172"/>
                  <a:gd name="T26" fmla="*/ 130 w 484"/>
                  <a:gd name="T27" fmla="*/ 24 h 172"/>
                  <a:gd name="T28" fmla="*/ 141 w 484"/>
                  <a:gd name="T29" fmla="*/ 21 h 172"/>
                  <a:gd name="T30" fmla="*/ 150 w 484"/>
                  <a:gd name="T31" fmla="*/ 17 h 172"/>
                  <a:gd name="T32" fmla="*/ 154 w 484"/>
                  <a:gd name="T33" fmla="*/ 14 h 172"/>
                  <a:gd name="T34" fmla="*/ 156 w 484"/>
                  <a:gd name="T35" fmla="*/ 11 h 172"/>
                  <a:gd name="T36" fmla="*/ 146 w 484"/>
                  <a:gd name="T37" fmla="*/ 8 h 172"/>
                  <a:gd name="T38" fmla="*/ 126 w 484"/>
                  <a:gd name="T39" fmla="*/ 5 h 172"/>
                  <a:gd name="T40" fmla="*/ 107 w 484"/>
                  <a:gd name="T41" fmla="*/ 2 h 172"/>
                  <a:gd name="T42" fmla="*/ 88 w 484"/>
                  <a:gd name="T43" fmla="*/ 0 h 172"/>
                  <a:gd name="T44" fmla="*/ 73 w 484"/>
                  <a:gd name="T45" fmla="*/ 0 h 172"/>
                  <a:gd name="T46" fmla="*/ 66 w 484"/>
                  <a:gd name="T47" fmla="*/ 1 h 172"/>
                  <a:gd name="T48" fmla="*/ 60 w 484"/>
                  <a:gd name="T49" fmla="*/ 3 h 172"/>
                  <a:gd name="T50" fmla="*/ 57 w 484"/>
                  <a:gd name="T51" fmla="*/ 2 h 172"/>
                  <a:gd name="T52" fmla="*/ 55 w 484"/>
                  <a:gd name="T53" fmla="*/ 1 h 172"/>
                  <a:gd name="T54" fmla="*/ 54 w 484"/>
                  <a:gd name="T55" fmla="*/ 3 h 172"/>
                  <a:gd name="T56" fmla="*/ 52 w 484"/>
                  <a:gd name="T57" fmla="*/ 8 h 172"/>
                  <a:gd name="T58" fmla="*/ 50 w 484"/>
                  <a:gd name="T59" fmla="*/ 12 h 172"/>
                  <a:gd name="T60" fmla="*/ 47 w 484"/>
                  <a:gd name="T61" fmla="*/ 15 h 172"/>
                  <a:gd name="T62" fmla="*/ 41 w 484"/>
                  <a:gd name="T63" fmla="*/ 19 h 172"/>
                  <a:gd name="T64" fmla="*/ 31 w 484"/>
                  <a:gd name="T65" fmla="*/ 22 h 172"/>
                  <a:gd name="T66" fmla="*/ 21 w 484"/>
                  <a:gd name="T67" fmla="*/ 25 h 172"/>
                  <a:gd name="T68" fmla="*/ 12 w 484"/>
                  <a:gd name="T69" fmla="*/ 29 h 172"/>
                  <a:gd name="T70" fmla="*/ 6 w 484"/>
                  <a:gd name="T71" fmla="*/ 32 h 172"/>
                  <a:gd name="T72" fmla="*/ 3 w 484"/>
                  <a:gd name="T73" fmla="*/ 35 h 172"/>
                  <a:gd name="T74" fmla="*/ 1 w 484"/>
                  <a:gd name="T75" fmla="*/ 39 h 172"/>
                  <a:gd name="T76" fmla="*/ 0 w 484"/>
                  <a:gd name="T77" fmla="*/ 44 h 17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27" name="Freeform 426">
                <a:extLst>
                  <a:ext uri="{FF2B5EF4-FFF2-40B4-BE49-F238E27FC236}">
                    <a16:creationId xmlns:a16="http://schemas.microsoft.com/office/drawing/2014/main" xmlns="" id="{5D6D7D56-9EAD-31C2-43CA-23EBB53EAA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102 w 684"/>
                  <a:gd name="T1" fmla="*/ 2 h 240"/>
                  <a:gd name="T2" fmla="*/ 98 w 684"/>
                  <a:gd name="T3" fmla="*/ 9 h 240"/>
                  <a:gd name="T4" fmla="*/ 96 w 684"/>
                  <a:gd name="T5" fmla="*/ 13 h 240"/>
                  <a:gd name="T6" fmla="*/ 97 w 684"/>
                  <a:gd name="T7" fmla="*/ 14 h 240"/>
                  <a:gd name="T8" fmla="*/ 109 w 684"/>
                  <a:gd name="T9" fmla="*/ 13 h 240"/>
                  <a:gd name="T10" fmla="*/ 120 w 684"/>
                  <a:gd name="T11" fmla="*/ 6 h 240"/>
                  <a:gd name="T12" fmla="*/ 122 w 684"/>
                  <a:gd name="T13" fmla="*/ 13 h 240"/>
                  <a:gd name="T14" fmla="*/ 122 w 684"/>
                  <a:gd name="T15" fmla="*/ 18 h 240"/>
                  <a:gd name="T16" fmla="*/ 131 w 684"/>
                  <a:gd name="T17" fmla="*/ 23 h 240"/>
                  <a:gd name="T18" fmla="*/ 165 w 684"/>
                  <a:gd name="T19" fmla="*/ 17 h 240"/>
                  <a:gd name="T20" fmla="*/ 166 w 684"/>
                  <a:gd name="T21" fmla="*/ 23 h 240"/>
                  <a:gd name="T22" fmla="*/ 175 w 684"/>
                  <a:gd name="T23" fmla="*/ 21 h 240"/>
                  <a:gd name="T24" fmla="*/ 180 w 684"/>
                  <a:gd name="T25" fmla="*/ 15 h 240"/>
                  <a:gd name="T26" fmla="*/ 180 w 684"/>
                  <a:gd name="T27" fmla="*/ 6 h 240"/>
                  <a:gd name="T28" fmla="*/ 182 w 684"/>
                  <a:gd name="T29" fmla="*/ 3 h 240"/>
                  <a:gd name="T30" fmla="*/ 187 w 684"/>
                  <a:gd name="T31" fmla="*/ 0 h 240"/>
                  <a:gd name="T32" fmla="*/ 202 w 684"/>
                  <a:gd name="T33" fmla="*/ 1 h 240"/>
                  <a:gd name="T34" fmla="*/ 208 w 684"/>
                  <a:gd name="T35" fmla="*/ 0 h 240"/>
                  <a:gd name="T36" fmla="*/ 212 w 684"/>
                  <a:gd name="T37" fmla="*/ 13 h 240"/>
                  <a:gd name="T38" fmla="*/ 211 w 684"/>
                  <a:gd name="T39" fmla="*/ 23 h 240"/>
                  <a:gd name="T40" fmla="*/ 206 w 684"/>
                  <a:gd name="T41" fmla="*/ 33 h 240"/>
                  <a:gd name="T42" fmla="*/ 200 w 684"/>
                  <a:gd name="T43" fmla="*/ 41 h 240"/>
                  <a:gd name="T44" fmla="*/ 209 w 684"/>
                  <a:gd name="T45" fmla="*/ 45 h 240"/>
                  <a:gd name="T46" fmla="*/ 217 w 684"/>
                  <a:gd name="T47" fmla="*/ 48 h 240"/>
                  <a:gd name="T48" fmla="*/ 221 w 684"/>
                  <a:gd name="T49" fmla="*/ 59 h 240"/>
                  <a:gd name="T50" fmla="*/ 206 w 684"/>
                  <a:gd name="T51" fmla="*/ 61 h 240"/>
                  <a:gd name="T52" fmla="*/ 196 w 684"/>
                  <a:gd name="T53" fmla="*/ 60 h 240"/>
                  <a:gd name="T54" fmla="*/ 185 w 684"/>
                  <a:gd name="T55" fmla="*/ 59 h 240"/>
                  <a:gd name="T56" fmla="*/ 182 w 684"/>
                  <a:gd name="T57" fmla="*/ 61 h 240"/>
                  <a:gd name="T58" fmla="*/ 175 w 684"/>
                  <a:gd name="T59" fmla="*/ 66 h 240"/>
                  <a:gd name="T60" fmla="*/ 169 w 684"/>
                  <a:gd name="T61" fmla="*/ 69 h 240"/>
                  <a:gd name="T62" fmla="*/ 159 w 684"/>
                  <a:gd name="T63" fmla="*/ 69 h 240"/>
                  <a:gd name="T64" fmla="*/ 146 w 684"/>
                  <a:gd name="T65" fmla="*/ 67 h 240"/>
                  <a:gd name="T66" fmla="*/ 136 w 684"/>
                  <a:gd name="T67" fmla="*/ 65 h 240"/>
                  <a:gd name="T68" fmla="*/ 109 w 684"/>
                  <a:gd name="T69" fmla="*/ 69 h 240"/>
                  <a:gd name="T70" fmla="*/ 75 w 684"/>
                  <a:gd name="T71" fmla="*/ 76 h 240"/>
                  <a:gd name="T72" fmla="*/ 55 w 684"/>
                  <a:gd name="T73" fmla="*/ 78 h 240"/>
                  <a:gd name="T74" fmla="*/ 40 w 684"/>
                  <a:gd name="T75" fmla="*/ 78 h 240"/>
                  <a:gd name="T76" fmla="*/ 32 w 684"/>
                  <a:gd name="T77" fmla="*/ 75 h 240"/>
                  <a:gd name="T78" fmla="*/ 22 w 684"/>
                  <a:gd name="T79" fmla="*/ 68 h 240"/>
                  <a:gd name="T80" fmla="*/ 9 w 684"/>
                  <a:gd name="T81" fmla="*/ 65 h 240"/>
                  <a:gd name="T82" fmla="*/ 0 w 684"/>
                  <a:gd name="T83" fmla="*/ 57 h 240"/>
                  <a:gd name="T84" fmla="*/ 21 w 684"/>
                  <a:gd name="T85" fmla="*/ 52 h 240"/>
                  <a:gd name="T86" fmla="*/ 32 w 684"/>
                  <a:gd name="T87" fmla="*/ 51 h 240"/>
                  <a:gd name="T88" fmla="*/ 50 w 684"/>
                  <a:gd name="T89" fmla="*/ 53 h 240"/>
                  <a:gd name="T90" fmla="*/ 65 w 684"/>
                  <a:gd name="T91" fmla="*/ 54 h 240"/>
                  <a:gd name="T92" fmla="*/ 72 w 684"/>
                  <a:gd name="T93" fmla="*/ 53 h 240"/>
                  <a:gd name="T94" fmla="*/ 8 w 684"/>
                  <a:gd name="T95" fmla="*/ 45 h 240"/>
                  <a:gd name="T96" fmla="*/ 17 w 684"/>
                  <a:gd name="T97" fmla="*/ 42 h 240"/>
                  <a:gd name="T98" fmla="*/ 35 w 684"/>
                  <a:gd name="T99" fmla="*/ 39 h 240"/>
                  <a:gd name="T100" fmla="*/ 53 w 684"/>
                  <a:gd name="T101" fmla="*/ 36 h 240"/>
                  <a:gd name="T102" fmla="*/ 60 w 684"/>
                  <a:gd name="T103" fmla="*/ 33 h 240"/>
                  <a:gd name="T104" fmla="*/ 54 w 684"/>
                  <a:gd name="T105" fmla="*/ 31 h 240"/>
                  <a:gd name="T106" fmla="*/ 40 w 684"/>
                  <a:gd name="T107" fmla="*/ 32 h 240"/>
                  <a:gd name="T108" fmla="*/ 23 w 684"/>
                  <a:gd name="T109" fmla="*/ 36 h 240"/>
                  <a:gd name="T110" fmla="*/ 17 w 684"/>
                  <a:gd name="T111" fmla="*/ 35 h 240"/>
                  <a:gd name="T112" fmla="*/ 18 w 684"/>
                  <a:gd name="T113" fmla="*/ 30 h 240"/>
                  <a:gd name="T114" fmla="*/ 17 w 684"/>
                  <a:gd name="T115" fmla="*/ 27 h 240"/>
                  <a:gd name="T116" fmla="*/ 19 w 684"/>
                  <a:gd name="T117" fmla="*/ 26 h 24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28" name="Freeform 427">
                <a:extLst>
                  <a:ext uri="{FF2B5EF4-FFF2-40B4-BE49-F238E27FC236}">
                    <a16:creationId xmlns:a16="http://schemas.microsoft.com/office/drawing/2014/main" xmlns="" id="{9D0770A1-6182-D30A-F437-844793711A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59 w 332"/>
                  <a:gd name="T1" fmla="*/ 12 h 287"/>
                  <a:gd name="T2" fmla="*/ 66 w 332"/>
                  <a:gd name="T3" fmla="*/ 8 h 287"/>
                  <a:gd name="T4" fmla="*/ 74 w 332"/>
                  <a:gd name="T5" fmla="*/ 2 h 287"/>
                  <a:gd name="T6" fmla="*/ 78 w 332"/>
                  <a:gd name="T7" fmla="*/ 0 h 287"/>
                  <a:gd name="T8" fmla="*/ 80 w 332"/>
                  <a:gd name="T9" fmla="*/ 0 h 287"/>
                  <a:gd name="T10" fmla="*/ 80 w 332"/>
                  <a:gd name="T11" fmla="*/ 4 h 287"/>
                  <a:gd name="T12" fmla="*/ 76 w 332"/>
                  <a:gd name="T13" fmla="*/ 11 h 287"/>
                  <a:gd name="T14" fmla="*/ 71 w 332"/>
                  <a:gd name="T15" fmla="*/ 18 h 287"/>
                  <a:gd name="T16" fmla="*/ 66 w 332"/>
                  <a:gd name="T17" fmla="*/ 22 h 287"/>
                  <a:gd name="T18" fmla="*/ 62 w 332"/>
                  <a:gd name="T19" fmla="*/ 23 h 287"/>
                  <a:gd name="T20" fmla="*/ 62 w 332"/>
                  <a:gd name="T21" fmla="*/ 24 h 287"/>
                  <a:gd name="T22" fmla="*/ 65 w 332"/>
                  <a:gd name="T23" fmla="*/ 24 h 287"/>
                  <a:gd name="T24" fmla="*/ 70 w 332"/>
                  <a:gd name="T25" fmla="*/ 23 h 287"/>
                  <a:gd name="T26" fmla="*/ 73 w 332"/>
                  <a:gd name="T27" fmla="*/ 25 h 287"/>
                  <a:gd name="T28" fmla="*/ 71 w 332"/>
                  <a:gd name="T29" fmla="*/ 29 h 287"/>
                  <a:gd name="T30" fmla="*/ 70 w 332"/>
                  <a:gd name="T31" fmla="*/ 31 h 287"/>
                  <a:gd name="T32" fmla="*/ 71 w 332"/>
                  <a:gd name="T33" fmla="*/ 34 h 287"/>
                  <a:gd name="T34" fmla="*/ 81 w 332"/>
                  <a:gd name="T35" fmla="*/ 37 h 287"/>
                  <a:gd name="T36" fmla="*/ 100 w 332"/>
                  <a:gd name="T37" fmla="*/ 40 h 287"/>
                  <a:gd name="T38" fmla="*/ 105 w 332"/>
                  <a:gd name="T39" fmla="*/ 42 h 287"/>
                  <a:gd name="T40" fmla="*/ 102 w 332"/>
                  <a:gd name="T41" fmla="*/ 45 h 287"/>
                  <a:gd name="T42" fmla="*/ 99 w 332"/>
                  <a:gd name="T43" fmla="*/ 48 h 287"/>
                  <a:gd name="T44" fmla="*/ 97 w 332"/>
                  <a:gd name="T45" fmla="*/ 50 h 287"/>
                  <a:gd name="T46" fmla="*/ 98 w 332"/>
                  <a:gd name="T47" fmla="*/ 52 h 287"/>
                  <a:gd name="T48" fmla="*/ 100 w 332"/>
                  <a:gd name="T49" fmla="*/ 54 h 287"/>
                  <a:gd name="T50" fmla="*/ 104 w 332"/>
                  <a:gd name="T51" fmla="*/ 57 h 287"/>
                  <a:gd name="T52" fmla="*/ 107 w 332"/>
                  <a:gd name="T53" fmla="*/ 60 h 287"/>
                  <a:gd name="T54" fmla="*/ 94 w 332"/>
                  <a:gd name="T55" fmla="*/ 68 h 287"/>
                  <a:gd name="T56" fmla="*/ 78 w 332"/>
                  <a:gd name="T57" fmla="*/ 78 h 287"/>
                  <a:gd name="T58" fmla="*/ 67 w 332"/>
                  <a:gd name="T59" fmla="*/ 87 h 287"/>
                  <a:gd name="T60" fmla="*/ 56 w 332"/>
                  <a:gd name="T61" fmla="*/ 79 h 287"/>
                  <a:gd name="T62" fmla="*/ 59 w 332"/>
                  <a:gd name="T63" fmla="*/ 79 h 287"/>
                  <a:gd name="T64" fmla="*/ 61 w 332"/>
                  <a:gd name="T65" fmla="*/ 78 h 287"/>
                  <a:gd name="T66" fmla="*/ 65 w 332"/>
                  <a:gd name="T67" fmla="*/ 75 h 287"/>
                  <a:gd name="T68" fmla="*/ 48 w 332"/>
                  <a:gd name="T69" fmla="*/ 75 h 287"/>
                  <a:gd name="T70" fmla="*/ 33 w 332"/>
                  <a:gd name="T71" fmla="*/ 75 h 287"/>
                  <a:gd name="T72" fmla="*/ 19 w 332"/>
                  <a:gd name="T73" fmla="*/ 75 h 287"/>
                  <a:gd name="T74" fmla="*/ 9 w 332"/>
                  <a:gd name="T75" fmla="*/ 75 h 287"/>
                  <a:gd name="T76" fmla="*/ 4 w 332"/>
                  <a:gd name="T77" fmla="*/ 74 h 287"/>
                  <a:gd name="T78" fmla="*/ 1 w 332"/>
                  <a:gd name="T79" fmla="*/ 72 h 287"/>
                  <a:gd name="T80" fmla="*/ 0 w 332"/>
                  <a:gd name="T81" fmla="*/ 69 h 287"/>
                  <a:gd name="T82" fmla="*/ 1 w 332"/>
                  <a:gd name="T83" fmla="*/ 66 h 287"/>
                  <a:gd name="T84" fmla="*/ 4 w 332"/>
                  <a:gd name="T85" fmla="*/ 64 h 287"/>
                  <a:gd name="T86" fmla="*/ 13 w 332"/>
                  <a:gd name="T87" fmla="*/ 58 h 287"/>
                  <a:gd name="T88" fmla="*/ 24 w 332"/>
                  <a:gd name="T89" fmla="*/ 52 h 287"/>
                  <a:gd name="T90" fmla="*/ 28 w 332"/>
                  <a:gd name="T91" fmla="*/ 49 h 287"/>
                  <a:gd name="T92" fmla="*/ 30 w 332"/>
                  <a:gd name="T93" fmla="*/ 47 h 287"/>
                  <a:gd name="T94" fmla="*/ 34 w 332"/>
                  <a:gd name="T95" fmla="*/ 42 h 287"/>
                  <a:gd name="T96" fmla="*/ 38 w 332"/>
                  <a:gd name="T97" fmla="*/ 37 h 287"/>
                  <a:gd name="T98" fmla="*/ 42 w 332"/>
                  <a:gd name="T99" fmla="*/ 26 h 287"/>
                  <a:gd name="T100" fmla="*/ 45 w 332"/>
                  <a:gd name="T101" fmla="*/ 21 h 287"/>
                  <a:gd name="T102" fmla="*/ 48 w 332"/>
                  <a:gd name="T103" fmla="*/ 17 h 287"/>
                  <a:gd name="T104" fmla="*/ 51 w 332"/>
                  <a:gd name="T105" fmla="*/ 14 h 287"/>
                  <a:gd name="T106" fmla="*/ 56 w 332"/>
                  <a:gd name="T107" fmla="*/ 13 h 28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29" name="Freeform 428">
                <a:extLst>
                  <a:ext uri="{FF2B5EF4-FFF2-40B4-BE49-F238E27FC236}">
                    <a16:creationId xmlns:a16="http://schemas.microsoft.com/office/drawing/2014/main" xmlns="" id="{7547518E-6E47-330B-6DEC-0B36400CE4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34 w 345"/>
                  <a:gd name="T1" fmla="*/ 27 h 86"/>
                  <a:gd name="T2" fmla="*/ 38 w 345"/>
                  <a:gd name="T3" fmla="*/ 25 h 86"/>
                  <a:gd name="T4" fmla="*/ 43 w 345"/>
                  <a:gd name="T5" fmla="*/ 24 h 86"/>
                  <a:gd name="T6" fmla="*/ 48 w 345"/>
                  <a:gd name="T7" fmla="*/ 23 h 86"/>
                  <a:gd name="T8" fmla="*/ 53 w 345"/>
                  <a:gd name="T9" fmla="*/ 22 h 86"/>
                  <a:gd name="T10" fmla="*/ 63 w 345"/>
                  <a:gd name="T11" fmla="*/ 20 h 86"/>
                  <a:gd name="T12" fmla="*/ 74 w 345"/>
                  <a:gd name="T13" fmla="*/ 18 h 86"/>
                  <a:gd name="T14" fmla="*/ 79 w 345"/>
                  <a:gd name="T15" fmla="*/ 17 h 86"/>
                  <a:gd name="T16" fmla="*/ 85 w 345"/>
                  <a:gd name="T17" fmla="*/ 16 h 86"/>
                  <a:gd name="T18" fmla="*/ 90 w 345"/>
                  <a:gd name="T19" fmla="*/ 14 h 86"/>
                  <a:gd name="T20" fmla="*/ 95 w 345"/>
                  <a:gd name="T21" fmla="*/ 13 h 86"/>
                  <a:gd name="T22" fmla="*/ 99 w 345"/>
                  <a:gd name="T23" fmla="*/ 11 h 86"/>
                  <a:gd name="T24" fmla="*/ 104 w 345"/>
                  <a:gd name="T25" fmla="*/ 9 h 86"/>
                  <a:gd name="T26" fmla="*/ 107 w 345"/>
                  <a:gd name="T27" fmla="*/ 7 h 86"/>
                  <a:gd name="T28" fmla="*/ 111 w 345"/>
                  <a:gd name="T29" fmla="*/ 4 h 86"/>
                  <a:gd name="T30" fmla="*/ 108 w 345"/>
                  <a:gd name="T31" fmla="*/ 4 h 86"/>
                  <a:gd name="T32" fmla="*/ 105 w 345"/>
                  <a:gd name="T33" fmla="*/ 3 h 86"/>
                  <a:gd name="T34" fmla="*/ 102 w 345"/>
                  <a:gd name="T35" fmla="*/ 3 h 86"/>
                  <a:gd name="T36" fmla="*/ 99 w 345"/>
                  <a:gd name="T37" fmla="*/ 2 h 86"/>
                  <a:gd name="T38" fmla="*/ 97 w 345"/>
                  <a:gd name="T39" fmla="*/ 1 h 86"/>
                  <a:gd name="T40" fmla="*/ 94 w 345"/>
                  <a:gd name="T41" fmla="*/ 1 h 86"/>
                  <a:gd name="T42" fmla="*/ 90 w 345"/>
                  <a:gd name="T43" fmla="*/ 0 h 86"/>
                  <a:gd name="T44" fmla="*/ 88 w 345"/>
                  <a:gd name="T45" fmla="*/ 0 h 86"/>
                  <a:gd name="T46" fmla="*/ 83 w 345"/>
                  <a:gd name="T47" fmla="*/ 0 h 86"/>
                  <a:gd name="T48" fmla="*/ 79 w 345"/>
                  <a:gd name="T49" fmla="*/ 1 h 86"/>
                  <a:gd name="T50" fmla="*/ 73 w 345"/>
                  <a:gd name="T51" fmla="*/ 2 h 86"/>
                  <a:gd name="T52" fmla="*/ 67 w 345"/>
                  <a:gd name="T53" fmla="*/ 3 h 86"/>
                  <a:gd name="T54" fmla="*/ 54 w 345"/>
                  <a:gd name="T55" fmla="*/ 6 h 86"/>
                  <a:gd name="T56" fmla="*/ 41 w 345"/>
                  <a:gd name="T57" fmla="*/ 9 h 86"/>
                  <a:gd name="T58" fmla="*/ 33 w 345"/>
                  <a:gd name="T59" fmla="*/ 11 h 86"/>
                  <a:gd name="T60" fmla="*/ 27 w 345"/>
                  <a:gd name="T61" fmla="*/ 13 h 86"/>
                  <a:gd name="T62" fmla="*/ 21 w 345"/>
                  <a:gd name="T63" fmla="*/ 16 h 86"/>
                  <a:gd name="T64" fmla="*/ 15 w 345"/>
                  <a:gd name="T65" fmla="*/ 18 h 86"/>
                  <a:gd name="T66" fmla="*/ 10 w 345"/>
                  <a:gd name="T67" fmla="*/ 20 h 86"/>
                  <a:gd name="T68" fmla="*/ 6 w 345"/>
                  <a:gd name="T69" fmla="*/ 23 h 86"/>
                  <a:gd name="T70" fmla="*/ 3 w 345"/>
                  <a:gd name="T71" fmla="*/ 25 h 86"/>
                  <a:gd name="T72" fmla="*/ 0 w 345"/>
                  <a:gd name="T73" fmla="*/ 27 h 86"/>
                  <a:gd name="T74" fmla="*/ 34 w 345"/>
                  <a:gd name="T75" fmla="*/ 27 h 8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30" name="Freeform 429">
                <a:extLst>
                  <a:ext uri="{FF2B5EF4-FFF2-40B4-BE49-F238E27FC236}">
                    <a16:creationId xmlns:a16="http://schemas.microsoft.com/office/drawing/2014/main" xmlns="" id="{2C861A43-72BE-88D6-0C96-037177A07A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6 w 464"/>
                  <a:gd name="T1" fmla="*/ 28 h 130"/>
                  <a:gd name="T2" fmla="*/ 25 w 464"/>
                  <a:gd name="T3" fmla="*/ 27 h 130"/>
                  <a:gd name="T4" fmla="*/ 33 w 464"/>
                  <a:gd name="T5" fmla="*/ 27 h 130"/>
                  <a:gd name="T6" fmla="*/ 30 w 464"/>
                  <a:gd name="T7" fmla="*/ 29 h 130"/>
                  <a:gd name="T8" fmla="*/ 26 w 464"/>
                  <a:gd name="T9" fmla="*/ 33 h 130"/>
                  <a:gd name="T10" fmla="*/ 23 w 464"/>
                  <a:gd name="T11" fmla="*/ 37 h 130"/>
                  <a:gd name="T12" fmla="*/ 23 w 464"/>
                  <a:gd name="T13" fmla="*/ 39 h 130"/>
                  <a:gd name="T14" fmla="*/ 25 w 464"/>
                  <a:gd name="T15" fmla="*/ 41 h 130"/>
                  <a:gd name="T16" fmla="*/ 30 w 464"/>
                  <a:gd name="T17" fmla="*/ 43 h 130"/>
                  <a:gd name="T18" fmla="*/ 35 w 464"/>
                  <a:gd name="T19" fmla="*/ 43 h 130"/>
                  <a:gd name="T20" fmla="*/ 41 w 464"/>
                  <a:gd name="T21" fmla="*/ 42 h 130"/>
                  <a:gd name="T22" fmla="*/ 50 w 464"/>
                  <a:gd name="T23" fmla="*/ 39 h 130"/>
                  <a:gd name="T24" fmla="*/ 63 w 464"/>
                  <a:gd name="T25" fmla="*/ 36 h 130"/>
                  <a:gd name="T26" fmla="*/ 73 w 464"/>
                  <a:gd name="T27" fmla="*/ 33 h 130"/>
                  <a:gd name="T28" fmla="*/ 80 w 464"/>
                  <a:gd name="T29" fmla="*/ 33 h 130"/>
                  <a:gd name="T30" fmla="*/ 85 w 464"/>
                  <a:gd name="T31" fmla="*/ 33 h 130"/>
                  <a:gd name="T32" fmla="*/ 98 w 464"/>
                  <a:gd name="T33" fmla="*/ 33 h 130"/>
                  <a:gd name="T34" fmla="*/ 107 w 464"/>
                  <a:gd name="T35" fmla="*/ 32 h 130"/>
                  <a:gd name="T36" fmla="*/ 121 w 464"/>
                  <a:gd name="T37" fmla="*/ 31 h 130"/>
                  <a:gd name="T38" fmla="*/ 133 w 464"/>
                  <a:gd name="T39" fmla="*/ 27 h 130"/>
                  <a:gd name="T40" fmla="*/ 144 w 464"/>
                  <a:gd name="T41" fmla="*/ 22 h 130"/>
                  <a:gd name="T42" fmla="*/ 146 w 464"/>
                  <a:gd name="T43" fmla="*/ 17 h 130"/>
                  <a:gd name="T44" fmla="*/ 141 w 464"/>
                  <a:gd name="T45" fmla="*/ 16 h 130"/>
                  <a:gd name="T46" fmla="*/ 133 w 464"/>
                  <a:gd name="T47" fmla="*/ 16 h 130"/>
                  <a:gd name="T48" fmla="*/ 127 w 464"/>
                  <a:gd name="T49" fmla="*/ 15 h 130"/>
                  <a:gd name="T50" fmla="*/ 130 w 464"/>
                  <a:gd name="T51" fmla="*/ 12 h 130"/>
                  <a:gd name="T52" fmla="*/ 133 w 464"/>
                  <a:gd name="T53" fmla="*/ 7 h 130"/>
                  <a:gd name="T54" fmla="*/ 134 w 464"/>
                  <a:gd name="T55" fmla="*/ 2 h 130"/>
                  <a:gd name="T56" fmla="*/ 121 w 464"/>
                  <a:gd name="T57" fmla="*/ 0 h 130"/>
                  <a:gd name="T58" fmla="*/ 116 w 464"/>
                  <a:gd name="T59" fmla="*/ 6 h 130"/>
                  <a:gd name="T60" fmla="*/ 110 w 464"/>
                  <a:gd name="T61" fmla="*/ 14 h 130"/>
                  <a:gd name="T62" fmla="*/ 104 w 464"/>
                  <a:gd name="T63" fmla="*/ 20 h 130"/>
                  <a:gd name="T64" fmla="*/ 100 w 464"/>
                  <a:gd name="T65" fmla="*/ 22 h 130"/>
                  <a:gd name="T66" fmla="*/ 96 w 464"/>
                  <a:gd name="T67" fmla="*/ 22 h 130"/>
                  <a:gd name="T68" fmla="*/ 89 w 464"/>
                  <a:gd name="T69" fmla="*/ 22 h 130"/>
                  <a:gd name="T70" fmla="*/ 84 w 464"/>
                  <a:gd name="T71" fmla="*/ 21 h 130"/>
                  <a:gd name="T72" fmla="*/ 77 w 464"/>
                  <a:gd name="T73" fmla="*/ 18 h 130"/>
                  <a:gd name="T74" fmla="*/ 66 w 464"/>
                  <a:gd name="T75" fmla="*/ 10 h 130"/>
                  <a:gd name="T76" fmla="*/ 58 w 464"/>
                  <a:gd name="T77" fmla="*/ 10 h 130"/>
                  <a:gd name="T78" fmla="*/ 48 w 464"/>
                  <a:gd name="T79" fmla="*/ 10 h 130"/>
                  <a:gd name="T80" fmla="*/ 38 w 464"/>
                  <a:gd name="T81" fmla="*/ 12 h 130"/>
                  <a:gd name="T82" fmla="*/ 27 w 464"/>
                  <a:gd name="T83" fmla="*/ 15 h 130"/>
                  <a:gd name="T84" fmla="*/ 17 w 464"/>
                  <a:gd name="T85" fmla="*/ 18 h 130"/>
                  <a:gd name="T86" fmla="*/ 9 w 464"/>
                  <a:gd name="T87" fmla="*/ 22 h 130"/>
                  <a:gd name="T88" fmla="*/ 3 w 464"/>
                  <a:gd name="T89" fmla="*/ 25 h 130"/>
                  <a:gd name="T90" fmla="*/ 0 w 464"/>
                  <a:gd name="T91" fmla="*/ 28 h 13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31" name="Freeform 430">
                <a:extLst>
                  <a:ext uri="{FF2B5EF4-FFF2-40B4-BE49-F238E27FC236}">
                    <a16:creationId xmlns:a16="http://schemas.microsoft.com/office/drawing/2014/main" xmlns="" id="{5041A168-0117-6C69-A156-B3BB18E2AB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20 w 472"/>
                  <a:gd name="T1" fmla="*/ 0 h 92"/>
                  <a:gd name="T2" fmla="*/ 14 w 472"/>
                  <a:gd name="T3" fmla="*/ 0 h 92"/>
                  <a:gd name="T4" fmla="*/ 8 w 472"/>
                  <a:gd name="T5" fmla="*/ 0 h 92"/>
                  <a:gd name="T6" fmla="*/ 4 w 472"/>
                  <a:gd name="T7" fmla="*/ 1 h 92"/>
                  <a:gd name="T8" fmla="*/ 2 w 472"/>
                  <a:gd name="T9" fmla="*/ 3 h 92"/>
                  <a:gd name="T10" fmla="*/ 2 w 472"/>
                  <a:gd name="T11" fmla="*/ 5 h 92"/>
                  <a:gd name="T12" fmla="*/ 3 w 472"/>
                  <a:gd name="T13" fmla="*/ 8 h 92"/>
                  <a:gd name="T14" fmla="*/ 5 w 472"/>
                  <a:gd name="T15" fmla="*/ 11 h 92"/>
                  <a:gd name="T16" fmla="*/ 5 w 472"/>
                  <a:gd name="T17" fmla="*/ 14 h 92"/>
                  <a:gd name="T18" fmla="*/ 1 w 472"/>
                  <a:gd name="T19" fmla="*/ 17 h 92"/>
                  <a:gd name="T20" fmla="*/ 0 w 472"/>
                  <a:gd name="T21" fmla="*/ 19 h 92"/>
                  <a:gd name="T22" fmla="*/ 1 w 472"/>
                  <a:gd name="T23" fmla="*/ 22 h 92"/>
                  <a:gd name="T24" fmla="*/ 5 w 472"/>
                  <a:gd name="T25" fmla="*/ 23 h 92"/>
                  <a:gd name="T26" fmla="*/ 16 w 472"/>
                  <a:gd name="T27" fmla="*/ 26 h 92"/>
                  <a:gd name="T28" fmla="*/ 35 w 472"/>
                  <a:gd name="T29" fmla="*/ 29 h 92"/>
                  <a:gd name="T30" fmla="*/ 54 w 472"/>
                  <a:gd name="T31" fmla="*/ 31 h 92"/>
                  <a:gd name="T32" fmla="*/ 118 w 472"/>
                  <a:gd name="T33" fmla="*/ 31 h 92"/>
                  <a:gd name="T34" fmla="*/ 121 w 472"/>
                  <a:gd name="T35" fmla="*/ 27 h 92"/>
                  <a:gd name="T36" fmla="*/ 125 w 472"/>
                  <a:gd name="T37" fmla="*/ 25 h 92"/>
                  <a:gd name="T38" fmla="*/ 129 w 472"/>
                  <a:gd name="T39" fmla="*/ 25 h 92"/>
                  <a:gd name="T40" fmla="*/ 133 w 472"/>
                  <a:gd name="T41" fmla="*/ 25 h 92"/>
                  <a:gd name="T42" fmla="*/ 143 w 472"/>
                  <a:gd name="T43" fmla="*/ 26 h 92"/>
                  <a:gd name="T44" fmla="*/ 148 w 472"/>
                  <a:gd name="T45" fmla="*/ 26 h 92"/>
                  <a:gd name="T46" fmla="*/ 153 w 472"/>
                  <a:gd name="T47" fmla="*/ 25 h 92"/>
                  <a:gd name="T48" fmla="*/ 151 w 472"/>
                  <a:gd name="T49" fmla="*/ 11 h 92"/>
                  <a:gd name="T50" fmla="*/ 147 w 472"/>
                  <a:gd name="T51" fmla="*/ 9 h 92"/>
                  <a:gd name="T52" fmla="*/ 144 w 472"/>
                  <a:gd name="T53" fmla="*/ 6 h 92"/>
                  <a:gd name="T54" fmla="*/ 140 w 472"/>
                  <a:gd name="T55" fmla="*/ 4 h 92"/>
                  <a:gd name="T56" fmla="*/ 135 w 472"/>
                  <a:gd name="T57" fmla="*/ 4 h 92"/>
                  <a:gd name="T58" fmla="*/ 128 w 472"/>
                  <a:gd name="T59" fmla="*/ 5 h 92"/>
                  <a:gd name="T60" fmla="*/ 119 w 472"/>
                  <a:gd name="T61" fmla="*/ 7 h 92"/>
                  <a:gd name="T62" fmla="*/ 106 w 472"/>
                  <a:gd name="T63" fmla="*/ 11 h 92"/>
                  <a:gd name="T64" fmla="*/ 97 w 472"/>
                  <a:gd name="T65" fmla="*/ 13 h 92"/>
                  <a:gd name="T66" fmla="*/ 89 w 472"/>
                  <a:gd name="T67" fmla="*/ 14 h 92"/>
                  <a:gd name="T68" fmla="*/ 77 w 472"/>
                  <a:gd name="T69" fmla="*/ 14 h 92"/>
                  <a:gd name="T70" fmla="*/ 62 w 472"/>
                  <a:gd name="T71" fmla="*/ 14 h 92"/>
                  <a:gd name="T72" fmla="*/ 51 w 472"/>
                  <a:gd name="T73" fmla="*/ 14 h 92"/>
                  <a:gd name="T74" fmla="*/ 39 w 472"/>
                  <a:gd name="T75" fmla="*/ 14 h 92"/>
                  <a:gd name="T76" fmla="*/ 29 w 472"/>
                  <a:gd name="T77" fmla="*/ 14 h 92"/>
                  <a:gd name="T78" fmla="*/ 25 w 472"/>
                  <a:gd name="T79" fmla="*/ 12 h 92"/>
                  <a:gd name="T80" fmla="*/ 23 w 472"/>
                  <a:gd name="T81" fmla="*/ 9 h 92"/>
                  <a:gd name="T82" fmla="*/ 22 w 472"/>
                  <a:gd name="T83" fmla="*/ 6 h 92"/>
                  <a:gd name="T84" fmla="*/ 22 w 472"/>
                  <a:gd name="T85" fmla="*/ 3 h 92"/>
                  <a:gd name="T86" fmla="*/ 24 w 472"/>
                  <a:gd name="T87" fmla="*/ 1 h 92"/>
                  <a:gd name="T88" fmla="*/ 24 w 472"/>
                  <a:gd name="T89" fmla="*/ 0 h 92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32" name="Freeform 431">
                <a:extLst>
                  <a:ext uri="{FF2B5EF4-FFF2-40B4-BE49-F238E27FC236}">
                    <a16:creationId xmlns:a16="http://schemas.microsoft.com/office/drawing/2014/main" xmlns="" id="{18595FBB-06F1-F4A1-7BBE-9A04B15736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47 w 326"/>
                  <a:gd name="T1" fmla="*/ 36 h 135"/>
                  <a:gd name="T2" fmla="*/ 66 w 326"/>
                  <a:gd name="T3" fmla="*/ 32 h 135"/>
                  <a:gd name="T4" fmla="*/ 85 w 326"/>
                  <a:gd name="T5" fmla="*/ 28 h 135"/>
                  <a:gd name="T6" fmla="*/ 98 w 326"/>
                  <a:gd name="T7" fmla="*/ 25 h 135"/>
                  <a:gd name="T8" fmla="*/ 103 w 326"/>
                  <a:gd name="T9" fmla="*/ 22 h 135"/>
                  <a:gd name="T10" fmla="*/ 105 w 326"/>
                  <a:gd name="T11" fmla="*/ 19 h 135"/>
                  <a:gd name="T12" fmla="*/ 101 w 326"/>
                  <a:gd name="T13" fmla="*/ 16 h 135"/>
                  <a:gd name="T14" fmla="*/ 98 w 326"/>
                  <a:gd name="T15" fmla="*/ 14 h 135"/>
                  <a:gd name="T16" fmla="*/ 93 w 326"/>
                  <a:gd name="T17" fmla="*/ 12 h 135"/>
                  <a:gd name="T18" fmla="*/ 86 w 326"/>
                  <a:gd name="T19" fmla="*/ 11 h 135"/>
                  <a:gd name="T20" fmla="*/ 75 w 326"/>
                  <a:gd name="T21" fmla="*/ 10 h 135"/>
                  <a:gd name="T22" fmla="*/ 68 w 326"/>
                  <a:gd name="T23" fmla="*/ 10 h 135"/>
                  <a:gd name="T24" fmla="*/ 66 w 326"/>
                  <a:gd name="T25" fmla="*/ 8 h 135"/>
                  <a:gd name="T26" fmla="*/ 64 w 326"/>
                  <a:gd name="T27" fmla="*/ 6 h 135"/>
                  <a:gd name="T28" fmla="*/ 62 w 326"/>
                  <a:gd name="T29" fmla="*/ 3 h 135"/>
                  <a:gd name="T30" fmla="*/ 59 w 326"/>
                  <a:gd name="T31" fmla="*/ 2 h 135"/>
                  <a:gd name="T32" fmla="*/ 53 w 326"/>
                  <a:gd name="T33" fmla="*/ 0 h 135"/>
                  <a:gd name="T34" fmla="*/ 44 w 326"/>
                  <a:gd name="T35" fmla="*/ 0 h 135"/>
                  <a:gd name="T36" fmla="*/ 28 w 326"/>
                  <a:gd name="T37" fmla="*/ 3 h 135"/>
                  <a:gd name="T38" fmla="*/ 16 w 326"/>
                  <a:gd name="T39" fmla="*/ 6 h 135"/>
                  <a:gd name="T40" fmla="*/ 9 w 326"/>
                  <a:gd name="T41" fmla="*/ 9 h 135"/>
                  <a:gd name="T42" fmla="*/ 4 w 326"/>
                  <a:gd name="T43" fmla="*/ 12 h 135"/>
                  <a:gd name="T44" fmla="*/ 1 w 326"/>
                  <a:gd name="T45" fmla="*/ 15 h 135"/>
                  <a:gd name="T46" fmla="*/ 0 w 326"/>
                  <a:gd name="T47" fmla="*/ 17 h 135"/>
                  <a:gd name="T48" fmla="*/ 11 w 326"/>
                  <a:gd name="T49" fmla="*/ 25 h 135"/>
                  <a:gd name="T50" fmla="*/ 18 w 326"/>
                  <a:gd name="T51" fmla="*/ 27 h 135"/>
                  <a:gd name="T52" fmla="*/ 13 w 326"/>
                  <a:gd name="T53" fmla="*/ 30 h 135"/>
                  <a:gd name="T54" fmla="*/ 12 w 326"/>
                  <a:gd name="T55" fmla="*/ 33 h 135"/>
                  <a:gd name="T56" fmla="*/ 14 w 326"/>
                  <a:gd name="T57" fmla="*/ 38 h 135"/>
                  <a:gd name="T58" fmla="*/ 16 w 326"/>
                  <a:gd name="T59" fmla="*/ 43 h 135"/>
                  <a:gd name="T60" fmla="*/ 18 w 326"/>
                  <a:gd name="T61" fmla="*/ 45 h 135"/>
                  <a:gd name="T62" fmla="*/ 22 w 326"/>
                  <a:gd name="T63" fmla="*/ 45 h 135"/>
                  <a:gd name="T64" fmla="*/ 28 w 326"/>
                  <a:gd name="T65" fmla="*/ 44 h 135"/>
                  <a:gd name="T66" fmla="*/ 33 w 326"/>
                  <a:gd name="T67" fmla="*/ 42 h 135"/>
                  <a:gd name="T68" fmla="*/ 38 w 326"/>
                  <a:gd name="T69" fmla="*/ 41 h 135"/>
                  <a:gd name="T70" fmla="*/ 39 w 326"/>
                  <a:gd name="T71" fmla="*/ 37 h 135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33" name="Freeform 432">
                <a:extLst>
                  <a:ext uri="{FF2B5EF4-FFF2-40B4-BE49-F238E27FC236}">
                    <a16:creationId xmlns:a16="http://schemas.microsoft.com/office/drawing/2014/main" xmlns="" id="{1A85CFB9-0291-A426-C387-5A06725097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15 w 159"/>
                  <a:gd name="T1" fmla="*/ 17 h 56"/>
                  <a:gd name="T2" fmla="*/ 13 w 159"/>
                  <a:gd name="T3" fmla="*/ 17 h 56"/>
                  <a:gd name="T4" fmla="*/ 11 w 159"/>
                  <a:gd name="T5" fmla="*/ 16 h 56"/>
                  <a:gd name="T6" fmla="*/ 8 w 159"/>
                  <a:gd name="T7" fmla="*/ 14 h 56"/>
                  <a:gd name="T8" fmla="*/ 6 w 159"/>
                  <a:gd name="T9" fmla="*/ 12 h 56"/>
                  <a:gd name="T10" fmla="*/ 3 w 159"/>
                  <a:gd name="T11" fmla="*/ 10 h 56"/>
                  <a:gd name="T12" fmla="*/ 2 w 159"/>
                  <a:gd name="T13" fmla="*/ 8 h 56"/>
                  <a:gd name="T14" fmla="*/ 1 w 159"/>
                  <a:gd name="T15" fmla="*/ 7 h 56"/>
                  <a:gd name="T16" fmla="*/ 0 w 159"/>
                  <a:gd name="T17" fmla="*/ 5 h 56"/>
                  <a:gd name="T18" fmla="*/ 0 w 159"/>
                  <a:gd name="T19" fmla="*/ 4 h 56"/>
                  <a:gd name="T20" fmla="*/ 0 w 159"/>
                  <a:gd name="T21" fmla="*/ 3 h 56"/>
                  <a:gd name="T22" fmla="*/ 7 w 159"/>
                  <a:gd name="T23" fmla="*/ 3 h 56"/>
                  <a:gd name="T24" fmla="*/ 13 w 159"/>
                  <a:gd name="T25" fmla="*/ 3 h 56"/>
                  <a:gd name="T26" fmla="*/ 17 w 159"/>
                  <a:gd name="T27" fmla="*/ 3 h 56"/>
                  <a:gd name="T28" fmla="*/ 19 w 159"/>
                  <a:gd name="T29" fmla="*/ 3 h 56"/>
                  <a:gd name="T30" fmla="*/ 27 w 159"/>
                  <a:gd name="T31" fmla="*/ 2 h 56"/>
                  <a:gd name="T32" fmla="*/ 38 w 159"/>
                  <a:gd name="T33" fmla="*/ 0 h 56"/>
                  <a:gd name="T34" fmla="*/ 40 w 159"/>
                  <a:gd name="T35" fmla="*/ 0 h 56"/>
                  <a:gd name="T36" fmla="*/ 42 w 159"/>
                  <a:gd name="T37" fmla="*/ 0 h 56"/>
                  <a:gd name="T38" fmla="*/ 45 w 159"/>
                  <a:gd name="T39" fmla="*/ 0 h 56"/>
                  <a:gd name="T40" fmla="*/ 47 w 159"/>
                  <a:gd name="T41" fmla="*/ 1 h 56"/>
                  <a:gd name="T42" fmla="*/ 48 w 159"/>
                  <a:gd name="T43" fmla="*/ 2 h 56"/>
                  <a:gd name="T44" fmla="*/ 50 w 159"/>
                  <a:gd name="T45" fmla="*/ 3 h 56"/>
                  <a:gd name="T46" fmla="*/ 51 w 159"/>
                  <a:gd name="T47" fmla="*/ 5 h 56"/>
                  <a:gd name="T48" fmla="*/ 51 w 159"/>
                  <a:gd name="T49" fmla="*/ 7 h 56"/>
                  <a:gd name="T50" fmla="*/ 51 w 159"/>
                  <a:gd name="T51" fmla="*/ 10 h 56"/>
                  <a:gd name="T52" fmla="*/ 50 w 159"/>
                  <a:gd name="T53" fmla="*/ 12 h 56"/>
                  <a:gd name="T54" fmla="*/ 48 w 159"/>
                  <a:gd name="T55" fmla="*/ 14 h 56"/>
                  <a:gd name="T56" fmla="*/ 47 w 159"/>
                  <a:gd name="T57" fmla="*/ 15 h 56"/>
                  <a:gd name="T58" fmla="*/ 45 w 159"/>
                  <a:gd name="T59" fmla="*/ 17 h 56"/>
                  <a:gd name="T60" fmla="*/ 42 w 159"/>
                  <a:gd name="T61" fmla="*/ 17 h 56"/>
                  <a:gd name="T62" fmla="*/ 40 w 159"/>
                  <a:gd name="T63" fmla="*/ 18 h 56"/>
                  <a:gd name="T64" fmla="*/ 37 w 159"/>
                  <a:gd name="T65" fmla="*/ 18 h 56"/>
                  <a:gd name="T66" fmla="*/ 25 w 159"/>
                  <a:gd name="T67" fmla="*/ 18 h 56"/>
                  <a:gd name="T68" fmla="*/ 15 w 159"/>
                  <a:gd name="T69" fmla="*/ 17 h 5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434" name="Freeform 433">
                <a:extLst>
                  <a:ext uri="{FF2B5EF4-FFF2-40B4-BE49-F238E27FC236}">
                    <a16:creationId xmlns:a16="http://schemas.microsoft.com/office/drawing/2014/main" xmlns="" id="{F01EDE40-CAE3-07F1-D1B0-FBC1649DE8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946 w 3734"/>
                  <a:gd name="T1" fmla="*/ 447 h 1644"/>
                  <a:gd name="T2" fmla="*/ 825 w 3734"/>
                  <a:gd name="T3" fmla="*/ 499 h 1644"/>
                  <a:gd name="T4" fmla="*/ 746 w 3734"/>
                  <a:gd name="T5" fmla="*/ 522 h 1644"/>
                  <a:gd name="T6" fmla="*/ 740 w 3734"/>
                  <a:gd name="T7" fmla="*/ 536 h 1644"/>
                  <a:gd name="T8" fmla="*/ 703 w 3734"/>
                  <a:gd name="T9" fmla="*/ 527 h 1644"/>
                  <a:gd name="T10" fmla="*/ 735 w 3734"/>
                  <a:gd name="T11" fmla="*/ 496 h 1644"/>
                  <a:gd name="T12" fmla="*/ 699 w 3734"/>
                  <a:gd name="T13" fmla="*/ 464 h 1644"/>
                  <a:gd name="T14" fmla="*/ 676 w 3734"/>
                  <a:gd name="T15" fmla="*/ 425 h 1644"/>
                  <a:gd name="T16" fmla="*/ 628 w 3734"/>
                  <a:gd name="T17" fmla="*/ 432 h 1644"/>
                  <a:gd name="T18" fmla="*/ 572 w 3734"/>
                  <a:gd name="T19" fmla="*/ 420 h 1644"/>
                  <a:gd name="T20" fmla="*/ 84 w 3734"/>
                  <a:gd name="T21" fmla="*/ 405 h 1644"/>
                  <a:gd name="T22" fmla="*/ 41 w 3734"/>
                  <a:gd name="T23" fmla="*/ 369 h 1644"/>
                  <a:gd name="T24" fmla="*/ 49 w 3734"/>
                  <a:gd name="T25" fmla="*/ 341 h 1644"/>
                  <a:gd name="T26" fmla="*/ 47 w 3734"/>
                  <a:gd name="T27" fmla="*/ 304 h 1644"/>
                  <a:gd name="T28" fmla="*/ 84 w 3734"/>
                  <a:gd name="T29" fmla="*/ 282 h 1644"/>
                  <a:gd name="T30" fmla="*/ 81 w 3734"/>
                  <a:gd name="T31" fmla="*/ 245 h 1644"/>
                  <a:gd name="T32" fmla="*/ 41 w 3734"/>
                  <a:gd name="T33" fmla="*/ 218 h 1644"/>
                  <a:gd name="T34" fmla="*/ 194 w 3734"/>
                  <a:gd name="T35" fmla="*/ 37 h 1644"/>
                  <a:gd name="T36" fmla="*/ 370 w 3734"/>
                  <a:gd name="T37" fmla="*/ 34 h 1644"/>
                  <a:gd name="T38" fmla="*/ 418 w 3734"/>
                  <a:gd name="T39" fmla="*/ 38 h 1644"/>
                  <a:gd name="T40" fmla="*/ 530 w 3734"/>
                  <a:gd name="T41" fmla="*/ 54 h 1644"/>
                  <a:gd name="T42" fmla="*/ 572 w 3734"/>
                  <a:gd name="T43" fmla="*/ 68 h 1644"/>
                  <a:gd name="T44" fmla="*/ 670 w 3734"/>
                  <a:gd name="T45" fmla="*/ 63 h 1644"/>
                  <a:gd name="T46" fmla="*/ 738 w 3734"/>
                  <a:gd name="T47" fmla="*/ 71 h 1644"/>
                  <a:gd name="T48" fmla="*/ 763 w 3734"/>
                  <a:gd name="T49" fmla="*/ 71 h 1644"/>
                  <a:gd name="T50" fmla="*/ 813 w 3734"/>
                  <a:gd name="T51" fmla="*/ 40 h 1644"/>
                  <a:gd name="T52" fmla="*/ 835 w 3734"/>
                  <a:gd name="T53" fmla="*/ 1 h 1644"/>
                  <a:gd name="T54" fmla="*/ 853 w 3734"/>
                  <a:gd name="T55" fmla="*/ 34 h 1644"/>
                  <a:gd name="T56" fmla="*/ 860 w 3734"/>
                  <a:gd name="T57" fmla="*/ 54 h 1644"/>
                  <a:gd name="T58" fmla="*/ 876 w 3734"/>
                  <a:gd name="T59" fmla="*/ 64 h 1644"/>
                  <a:gd name="T60" fmla="*/ 933 w 3734"/>
                  <a:gd name="T61" fmla="*/ 40 h 1644"/>
                  <a:gd name="T62" fmla="*/ 980 w 3734"/>
                  <a:gd name="T63" fmla="*/ 44 h 1644"/>
                  <a:gd name="T64" fmla="*/ 930 w 3734"/>
                  <a:gd name="T65" fmla="*/ 89 h 1644"/>
                  <a:gd name="T66" fmla="*/ 900 w 3734"/>
                  <a:gd name="T67" fmla="*/ 95 h 1644"/>
                  <a:gd name="T68" fmla="*/ 829 w 3734"/>
                  <a:gd name="T69" fmla="*/ 100 h 1644"/>
                  <a:gd name="T70" fmla="*/ 807 w 3734"/>
                  <a:gd name="T71" fmla="*/ 132 h 1644"/>
                  <a:gd name="T72" fmla="*/ 753 w 3734"/>
                  <a:gd name="T73" fmla="*/ 154 h 1644"/>
                  <a:gd name="T74" fmla="*/ 673 w 3734"/>
                  <a:gd name="T75" fmla="*/ 205 h 1644"/>
                  <a:gd name="T76" fmla="*/ 680 w 3734"/>
                  <a:gd name="T77" fmla="*/ 260 h 1644"/>
                  <a:gd name="T78" fmla="*/ 762 w 3734"/>
                  <a:gd name="T79" fmla="*/ 297 h 1644"/>
                  <a:gd name="T80" fmla="*/ 788 w 3734"/>
                  <a:gd name="T81" fmla="*/ 347 h 1644"/>
                  <a:gd name="T82" fmla="*/ 844 w 3734"/>
                  <a:gd name="T83" fmla="*/ 324 h 1644"/>
                  <a:gd name="T84" fmla="*/ 919 w 3734"/>
                  <a:gd name="T85" fmla="*/ 257 h 1644"/>
                  <a:gd name="T86" fmla="*/ 935 w 3734"/>
                  <a:gd name="T87" fmla="*/ 196 h 1644"/>
                  <a:gd name="T88" fmla="*/ 1018 w 3734"/>
                  <a:gd name="T89" fmla="*/ 164 h 1644"/>
                  <a:gd name="T90" fmla="*/ 1057 w 3734"/>
                  <a:gd name="T91" fmla="*/ 194 h 1644"/>
                  <a:gd name="T92" fmla="*/ 1041 w 3734"/>
                  <a:gd name="T93" fmla="*/ 241 h 1644"/>
                  <a:gd name="T94" fmla="*/ 1127 w 3734"/>
                  <a:gd name="T95" fmla="*/ 201 h 1644"/>
                  <a:gd name="T96" fmla="*/ 1144 w 3734"/>
                  <a:gd name="T97" fmla="*/ 254 h 1644"/>
                  <a:gd name="T98" fmla="*/ 1182 w 3734"/>
                  <a:gd name="T99" fmla="*/ 303 h 1644"/>
                  <a:gd name="T100" fmla="*/ 1167 w 3734"/>
                  <a:gd name="T101" fmla="*/ 315 h 1644"/>
                  <a:gd name="T102" fmla="*/ 1192 w 3734"/>
                  <a:gd name="T103" fmla="*/ 337 h 1644"/>
                  <a:gd name="T104" fmla="*/ 1148 w 3734"/>
                  <a:gd name="T105" fmla="*/ 363 h 1644"/>
                  <a:gd name="T106" fmla="*/ 1017 w 3734"/>
                  <a:gd name="T107" fmla="*/ 383 h 1644"/>
                  <a:gd name="T108" fmla="*/ 921 w 3734"/>
                  <a:gd name="T109" fmla="*/ 438 h 1644"/>
                  <a:gd name="T110" fmla="*/ 937 w 3734"/>
                  <a:gd name="T111" fmla="*/ 438 h 1644"/>
                  <a:gd name="T112" fmla="*/ 1038 w 3734"/>
                  <a:gd name="T113" fmla="*/ 412 h 1644"/>
                  <a:gd name="T114" fmla="*/ 989 w 3734"/>
                  <a:gd name="T115" fmla="*/ 426 h 1644"/>
                  <a:gd name="T116" fmla="*/ 1013 w 3734"/>
                  <a:gd name="T117" fmla="*/ 456 h 1644"/>
                  <a:gd name="T118" fmla="*/ 1048 w 3734"/>
                  <a:gd name="T119" fmla="*/ 483 h 1644"/>
                  <a:gd name="T120" fmla="*/ 974 w 3734"/>
                  <a:gd name="T121" fmla="*/ 513 h 1644"/>
                  <a:gd name="T122" fmla="*/ 1029 w 3734"/>
                  <a:gd name="T123" fmla="*/ 481 h 1644"/>
                  <a:gd name="T124" fmla="*/ 973 w 3734"/>
                  <a:gd name="T125" fmla="*/ 487 h 164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</p:grpSp>
        <p:sp>
          <p:nvSpPr>
            <p:cNvPr id="277" name="Freeform 434">
              <a:extLst>
                <a:ext uri="{FF2B5EF4-FFF2-40B4-BE49-F238E27FC236}">
                  <a16:creationId xmlns:a16="http://schemas.microsoft.com/office/drawing/2014/main" xmlns="" id="{A32AA766-2EF4-D3EF-99C6-755D5D101B69}"/>
                </a:ext>
              </a:extLst>
            </p:cNvPr>
            <p:cNvSpPr>
              <a:spLocks/>
            </p:cNvSpPr>
            <p:nvPr>
              <p:custDataLst>
                <p:tags r:id="rId273"/>
              </p:custDataLst>
            </p:nvPr>
          </p:nvSpPr>
          <p:spPr bwMode="auto">
            <a:xfrm>
              <a:off x="4678034" y="2417321"/>
              <a:ext cx="109870" cy="116206"/>
            </a:xfrm>
            <a:custGeom>
              <a:avLst/>
              <a:gdLst>
                <a:gd name="T0" fmla="*/ 115257 w 292"/>
                <a:gd name="T1" fmla="*/ 5154 h 308"/>
                <a:gd name="T2" fmla="*/ 120041 w 292"/>
                <a:gd name="T3" fmla="*/ 19071 h 308"/>
                <a:gd name="T4" fmla="*/ 124390 w 292"/>
                <a:gd name="T5" fmla="*/ 46903 h 308"/>
                <a:gd name="T6" fmla="*/ 127000 w 292"/>
                <a:gd name="T7" fmla="*/ 74221 h 308"/>
                <a:gd name="T8" fmla="*/ 126565 w 292"/>
                <a:gd name="T9" fmla="*/ 82983 h 308"/>
                <a:gd name="T10" fmla="*/ 124390 w 292"/>
                <a:gd name="T11" fmla="*/ 92261 h 308"/>
                <a:gd name="T12" fmla="*/ 116997 w 292"/>
                <a:gd name="T13" fmla="*/ 106177 h 308"/>
                <a:gd name="T14" fmla="*/ 100469 w 292"/>
                <a:gd name="T15" fmla="*/ 95353 h 308"/>
                <a:gd name="T16" fmla="*/ 71764 w 292"/>
                <a:gd name="T17" fmla="*/ 132979 h 308"/>
                <a:gd name="T18" fmla="*/ 57411 w 292"/>
                <a:gd name="T19" fmla="*/ 143287 h 308"/>
                <a:gd name="T20" fmla="*/ 25661 w 292"/>
                <a:gd name="T21" fmla="*/ 152565 h 308"/>
                <a:gd name="T22" fmla="*/ 13918 w 292"/>
                <a:gd name="T23" fmla="*/ 158750 h 308"/>
                <a:gd name="T24" fmla="*/ 2610 w 292"/>
                <a:gd name="T25" fmla="*/ 158750 h 308"/>
                <a:gd name="T26" fmla="*/ 3914 w 292"/>
                <a:gd name="T27" fmla="*/ 153080 h 308"/>
                <a:gd name="T28" fmla="*/ 4784 w 292"/>
                <a:gd name="T29" fmla="*/ 147411 h 308"/>
                <a:gd name="T30" fmla="*/ 3045 w 292"/>
                <a:gd name="T31" fmla="*/ 136587 h 308"/>
                <a:gd name="T32" fmla="*/ 870 w 292"/>
                <a:gd name="T33" fmla="*/ 126794 h 308"/>
                <a:gd name="T34" fmla="*/ 0 w 292"/>
                <a:gd name="T35" fmla="*/ 117516 h 308"/>
                <a:gd name="T36" fmla="*/ 1305 w 292"/>
                <a:gd name="T37" fmla="*/ 105662 h 308"/>
                <a:gd name="T38" fmla="*/ 5219 w 292"/>
                <a:gd name="T39" fmla="*/ 96899 h 308"/>
                <a:gd name="T40" fmla="*/ 11308 w 292"/>
                <a:gd name="T41" fmla="*/ 89683 h 308"/>
                <a:gd name="T42" fmla="*/ 18267 w 292"/>
                <a:gd name="T43" fmla="*/ 82983 h 308"/>
                <a:gd name="T44" fmla="*/ 33490 w 292"/>
                <a:gd name="T45" fmla="*/ 69582 h 308"/>
                <a:gd name="T46" fmla="*/ 40449 w 292"/>
                <a:gd name="T47" fmla="*/ 61335 h 308"/>
                <a:gd name="T48" fmla="*/ 45668 w 292"/>
                <a:gd name="T49" fmla="*/ 50511 h 308"/>
                <a:gd name="T50" fmla="*/ 42623 w 292"/>
                <a:gd name="T51" fmla="*/ 49481 h 308"/>
                <a:gd name="T52" fmla="*/ 40014 w 292"/>
                <a:gd name="T53" fmla="*/ 46903 h 308"/>
                <a:gd name="T54" fmla="*/ 35664 w 292"/>
                <a:gd name="T55" fmla="*/ 37626 h 308"/>
                <a:gd name="T56" fmla="*/ 32185 w 292"/>
                <a:gd name="T57" fmla="*/ 25771 h 308"/>
                <a:gd name="T58" fmla="*/ 31315 w 292"/>
                <a:gd name="T59" fmla="*/ 12370 h 308"/>
                <a:gd name="T60" fmla="*/ 39144 w 292"/>
                <a:gd name="T61" fmla="*/ 9793 h 308"/>
                <a:gd name="T62" fmla="*/ 45668 w 292"/>
                <a:gd name="T63" fmla="*/ 10308 h 308"/>
                <a:gd name="T64" fmla="*/ 57411 w 292"/>
                <a:gd name="T65" fmla="*/ 12370 h 308"/>
                <a:gd name="T66" fmla="*/ 73503 w 292"/>
                <a:gd name="T67" fmla="*/ 10824 h 308"/>
                <a:gd name="T68" fmla="*/ 91336 w 292"/>
                <a:gd name="T69" fmla="*/ 6185 h 308"/>
                <a:gd name="T70" fmla="*/ 112647 w 292"/>
                <a:gd name="T71" fmla="*/ 0 h 30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78" name="Freeform 435">
              <a:extLst>
                <a:ext uri="{FF2B5EF4-FFF2-40B4-BE49-F238E27FC236}">
                  <a16:creationId xmlns:a16="http://schemas.microsoft.com/office/drawing/2014/main" xmlns="" id="{DAB83F33-8097-16AA-C12D-8772A126F71B}"/>
                </a:ext>
              </a:extLst>
            </p:cNvPr>
            <p:cNvSpPr>
              <a:spLocks/>
            </p:cNvSpPr>
            <p:nvPr>
              <p:custDataLst>
                <p:tags r:id="rId274"/>
              </p:custDataLst>
            </p:nvPr>
          </p:nvSpPr>
          <p:spPr bwMode="auto">
            <a:xfrm>
              <a:off x="4770049" y="2527716"/>
              <a:ext cx="5493" cy="41835"/>
            </a:xfrm>
            <a:custGeom>
              <a:avLst/>
              <a:gdLst>
                <a:gd name="T0" fmla="*/ 4989 w 14"/>
                <a:gd name="T1" fmla="*/ 0 h 7"/>
                <a:gd name="T2" fmla="*/ 5896 w 14"/>
                <a:gd name="T3" fmla="*/ 24493 h 7"/>
                <a:gd name="T4" fmla="*/ 6350 w 14"/>
                <a:gd name="T5" fmla="*/ 57150 h 7"/>
                <a:gd name="T6" fmla="*/ 0 w 14"/>
                <a:gd name="T7" fmla="*/ 57150 h 7"/>
                <a:gd name="T8" fmla="*/ 4989 w 1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79" name="Freeform 436">
              <a:extLst>
                <a:ext uri="{FF2B5EF4-FFF2-40B4-BE49-F238E27FC236}">
                  <a16:creationId xmlns:a16="http://schemas.microsoft.com/office/drawing/2014/main" xmlns="" id="{DC46D7CD-61F9-D104-4505-AD9A766F0257}"/>
                </a:ext>
              </a:extLst>
            </p:cNvPr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4329197" y="1968766"/>
              <a:ext cx="215619" cy="366048"/>
            </a:xfrm>
            <a:custGeom>
              <a:avLst/>
              <a:gdLst>
                <a:gd name="T0" fmla="*/ 34747 w 581"/>
                <a:gd name="T1" fmla="*/ 60217 h 955"/>
                <a:gd name="T2" fmla="*/ 44614 w 581"/>
                <a:gd name="T3" fmla="*/ 79591 h 955"/>
                <a:gd name="T4" fmla="*/ 47617 w 581"/>
                <a:gd name="T5" fmla="*/ 94253 h 955"/>
                <a:gd name="T6" fmla="*/ 40753 w 581"/>
                <a:gd name="T7" fmla="*/ 122528 h 955"/>
                <a:gd name="T8" fmla="*/ 41182 w 581"/>
                <a:gd name="T9" fmla="*/ 170178 h 955"/>
                <a:gd name="T10" fmla="*/ 39895 w 581"/>
                <a:gd name="T11" fmla="*/ 190076 h 955"/>
                <a:gd name="T12" fmla="*/ 35176 w 581"/>
                <a:gd name="T13" fmla="*/ 207356 h 955"/>
                <a:gd name="T14" fmla="*/ 25310 w 581"/>
                <a:gd name="T15" fmla="*/ 224635 h 955"/>
                <a:gd name="T16" fmla="*/ 13298 w 581"/>
                <a:gd name="T17" fmla="*/ 241391 h 955"/>
                <a:gd name="T18" fmla="*/ 7293 w 581"/>
                <a:gd name="T19" fmla="*/ 251864 h 955"/>
                <a:gd name="T20" fmla="*/ 858 w 581"/>
                <a:gd name="T21" fmla="*/ 283805 h 955"/>
                <a:gd name="T22" fmla="*/ 29600 w 581"/>
                <a:gd name="T23" fmla="*/ 322553 h 955"/>
                <a:gd name="T24" fmla="*/ 29600 w 581"/>
                <a:gd name="T25" fmla="*/ 331978 h 955"/>
                <a:gd name="T26" fmla="*/ 31744 w 581"/>
                <a:gd name="T27" fmla="*/ 348211 h 955"/>
                <a:gd name="T28" fmla="*/ 31744 w 581"/>
                <a:gd name="T29" fmla="*/ 364443 h 955"/>
                <a:gd name="T30" fmla="*/ 33460 w 581"/>
                <a:gd name="T31" fmla="*/ 383817 h 955"/>
                <a:gd name="T32" fmla="*/ 40324 w 581"/>
                <a:gd name="T33" fmla="*/ 407380 h 955"/>
                <a:gd name="T34" fmla="*/ 45043 w 581"/>
                <a:gd name="T35" fmla="*/ 414711 h 955"/>
                <a:gd name="T36" fmla="*/ 29171 w 581"/>
                <a:gd name="T37" fmla="*/ 415758 h 955"/>
                <a:gd name="T38" fmla="*/ 18017 w 581"/>
                <a:gd name="T39" fmla="*/ 419947 h 955"/>
                <a:gd name="T40" fmla="*/ 15443 w 581"/>
                <a:gd name="T41" fmla="*/ 425184 h 955"/>
                <a:gd name="T42" fmla="*/ 18017 w 581"/>
                <a:gd name="T43" fmla="*/ 440892 h 955"/>
                <a:gd name="T44" fmla="*/ 29600 w 581"/>
                <a:gd name="T45" fmla="*/ 458696 h 955"/>
                <a:gd name="T46" fmla="*/ 37321 w 581"/>
                <a:gd name="T47" fmla="*/ 470739 h 955"/>
                <a:gd name="T48" fmla="*/ 42898 w 581"/>
                <a:gd name="T49" fmla="*/ 485400 h 955"/>
                <a:gd name="T50" fmla="*/ 66921 w 581"/>
                <a:gd name="T51" fmla="*/ 500062 h 955"/>
                <a:gd name="T52" fmla="*/ 81077 w 581"/>
                <a:gd name="T53" fmla="*/ 493255 h 955"/>
                <a:gd name="T54" fmla="*/ 106387 w 581"/>
                <a:gd name="T55" fmla="*/ 486448 h 955"/>
                <a:gd name="T56" fmla="*/ 119685 w 581"/>
                <a:gd name="T57" fmla="*/ 482259 h 955"/>
                <a:gd name="T58" fmla="*/ 127407 w 581"/>
                <a:gd name="T59" fmla="*/ 473357 h 955"/>
                <a:gd name="T60" fmla="*/ 129552 w 581"/>
                <a:gd name="T61" fmla="*/ 467074 h 955"/>
                <a:gd name="T62" fmla="*/ 129552 w 581"/>
                <a:gd name="T63" fmla="*/ 454507 h 955"/>
                <a:gd name="T64" fmla="*/ 144995 w 581"/>
                <a:gd name="T65" fmla="*/ 456077 h 955"/>
                <a:gd name="T66" fmla="*/ 157435 w 581"/>
                <a:gd name="T67" fmla="*/ 453459 h 955"/>
                <a:gd name="T68" fmla="*/ 166873 w 581"/>
                <a:gd name="T69" fmla="*/ 448223 h 955"/>
                <a:gd name="T70" fmla="*/ 173737 w 581"/>
                <a:gd name="T71" fmla="*/ 440892 h 955"/>
                <a:gd name="T72" fmla="*/ 185319 w 581"/>
                <a:gd name="T73" fmla="*/ 422565 h 955"/>
                <a:gd name="T74" fmla="*/ 197330 w 581"/>
                <a:gd name="T75" fmla="*/ 404762 h 955"/>
                <a:gd name="T76" fmla="*/ 204623 w 581"/>
                <a:gd name="T77" fmla="*/ 397955 h 955"/>
                <a:gd name="T78" fmla="*/ 215348 w 581"/>
                <a:gd name="T79" fmla="*/ 393766 h 955"/>
                <a:gd name="T80" fmla="*/ 223498 w 581"/>
                <a:gd name="T81" fmla="*/ 390101 h 955"/>
                <a:gd name="T82" fmla="*/ 214061 w 581"/>
                <a:gd name="T83" fmla="*/ 364967 h 955"/>
                <a:gd name="T84" fmla="*/ 207626 w 581"/>
                <a:gd name="T85" fmla="*/ 341927 h 955"/>
                <a:gd name="T86" fmla="*/ 202478 w 581"/>
                <a:gd name="T87" fmla="*/ 326218 h 955"/>
                <a:gd name="T88" fmla="*/ 206339 w 581"/>
                <a:gd name="T89" fmla="*/ 319411 h 955"/>
                <a:gd name="T90" fmla="*/ 208913 w 581"/>
                <a:gd name="T91" fmla="*/ 303179 h 955"/>
                <a:gd name="T92" fmla="*/ 211916 w 581"/>
                <a:gd name="T93" fmla="*/ 283281 h 955"/>
                <a:gd name="T94" fmla="*/ 216635 w 581"/>
                <a:gd name="T95" fmla="*/ 271761 h 955"/>
                <a:gd name="T96" fmla="*/ 228217 w 581"/>
                <a:gd name="T97" fmla="*/ 254482 h 955"/>
                <a:gd name="T98" fmla="*/ 244518 w 581"/>
                <a:gd name="T99" fmla="*/ 241391 h 955"/>
                <a:gd name="T100" fmla="*/ 55338 w 581"/>
                <a:gd name="T101" fmla="*/ 0 h 955"/>
                <a:gd name="T102" fmla="*/ 42040 w 581"/>
                <a:gd name="T103" fmla="*/ 2618 h 955"/>
                <a:gd name="T104" fmla="*/ 29600 w 581"/>
                <a:gd name="T105" fmla="*/ 12567 h 95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80" name="Freeform 437">
              <a:extLst>
                <a:ext uri="{FF2B5EF4-FFF2-40B4-BE49-F238E27FC236}">
                  <a16:creationId xmlns:a16="http://schemas.microsoft.com/office/drawing/2014/main" xmlns="" id="{28E53A46-0CC5-42AF-D220-02648631F786}"/>
                </a:ext>
              </a:extLst>
            </p:cNvPr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4056189" y="1568687"/>
              <a:ext cx="13734" cy="41835"/>
            </a:xfrm>
            <a:custGeom>
              <a:avLst/>
              <a:gdLst>
                <a:gd name="T0" fmla="*/ 9172 w 45"/>
                <a:gd name="T1" fmla="*/ 0 h 36"/>
                <a:gd name="T2" fmla="*/ 0 w 45"/>
                <a:gd name="T3" fmla="*/ 28575 h 36"/>
                <a:gd name="T4" fmla="*/ 8114 w 45"/>
                <a:gd name="T5" fmla="*/ 57150 h 36"/>
                <a:gd name="T6" fmla="*/ 15875 w 45"/>
                <a:gd name="T7" fmla="*/ 23813 h 36"/>
                <a:gd name="T8" fmla="*/ 9172 w 45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grpSp>
          <p:nvGrpSpPr>
            <p:cNvPr id="281" name="Group 438">
              <a:extLst>
                <a:ext uri="{FF2B5EF4-FFF2-40B4-BE49-F238E27FC236}">
                  <a16:creationId xmlns:a16="http://schemas.microsoft.com/office/drawing/2014/main" xmlns="" id="{21A6EA4A-F85F-4112-712B-9D8609153035}"/>
                </a:ext>
              </a:extLst>
            </p:cNvPr>
            <p:cNvGrpSpPr>
              <a:grpSpLocks/>
            </p:cNvGrpSpPr>
            <p:nvPr>
              <p:custDataLst>
                <p:tags r:id="rId277"/>
              </p:custDataLst>
            </p:nvPr>
          </p:nvGrpSpPr>
          <p:grpSpPr bwMode="auto">
            <a:xfrm>
              <a:off x="2578144" y="3025077"/>
              <a:ext cx="332357" cy="755337"/>
              <a:chOff x="1589" y="3126"/>
              <a:chExt cx="290" cy="657"/>
            </a:xfrm>
            <a:solidFill>
              <a:schemeClr val="accent2"/>
            </a:solidFill>
          </p:grpSpPr>
          <p:sp>
            <p:nvSpPr>
              <p:cNvPr id="390" name="Freeform 439">
                <a:extLst>
                  <a:ext uri="{FF2B5EF4-FFF2-40B4-BE49-F238E27FC236}">
                    <a16:creationId xmlns:a16="http://schemas.microsoft.com/office/drawing/2014/main" xmlns="" id="{69CEC6A4-5C22-8BBB-8D14-4A7CE5DA3F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15 w 46"/>
                  <a:gd name="T1" fmla="*/ 4 h 51"/>
                  <a:gd name="T2" fmla="*/ 6 w 46"/>
                  <a:gd name="T3" fmla="*/ 0 h 51"/>
                  <a:gd name="T4" fmla="*/ 4 w 46"/>
                  <a:gd name="T5" fmla="*/ 2 h 51"/>
                  <a:gd name="T6" fmla="*/ 2 w 46"/>
                  <a:gd name="T7" fmla="*/ 3 h 51"/>
                  <a:gd name="T8" fmla="*/ 1 w 46"/>
                  <a:gd name="T9" fmla="*/ 4 h 51"/>
                  <a:gd name="T10" fmla="*/ 1 w 46"/>
                  <a:gd name="T11" fmla="*/ 5 h 51"/>
                  <a:gd name="T12" fmla="*/ 0 w 46"/>
                  <a:gd name="T13" fmla="*/ 5 h 51"/>
                  <a:gd name="T14" fmla="*/ 0 w 46"/>
                  <a:gd name="T15" fmla="*/ 6 h 51"/>
                  <a:gd name="T16" fmla="*/ 0 w 46"/>
                  <a:gd name="T17" fmla="*/ 8 h 51"/>
                  <a:gd name="T18" fmla="*/ 1 w 46"/>
                  <a:gd name="T19" fmla="*/ 10 h 51"/>
                  <a:gd name="T20" fmla="*/ 1 w 46"/>
                  <a:gd name="T21" fmla="*/ 12 h 51"/>
                  <a:gd name="T22" fmla="*/ 2 w 46"/>
                  <a:gd name="T23" fmla="*/ 14 h 51"/>
                  <a:gd name="T24" fmla="*/ 3 w 46"/>
                  <a:gd name="T25" fmla="*/ 15 h 51"/>
                  <a:gd name="T26" fmla="*/ 4 w 46"/>
                  <a:gd name="T27" fmla="*/ 16 h 51"/>
                  <a:gd name="T28" fmla="*/ 5 w 46"/>
                  <a:gd name="T29" fmla="*/ 17 h 51"/>
                  <a:gd name="T30" fmla="*/ 5 w 46"/>
                  <a:gd name="T31" fmla="*/ 17 h 51"/>
                  <a:gd name="T32" fmla="*/ 6 w 46"/>
                  <a:gd name="T33" fmla="*/ 17 h 51"/>
                  <a:gd name="T34" fmla="*/ 6 w 46"/>
                  <a:gd name="T35" fmla="*/ 17 h 51"/>
                  <a:gd name="T36" fmla="*/ 11 w 46"/>
                  <a:gd name="T37" fmla="*/ 17 h 51"/>
                  <a:gd name="T38" fmla="*/ 15 w 46"/>
                  <a:gd name="T39" fmla="*/ 17 h 51"/>
                  <a:gd name="T40" fmla="*/ 15 w 46"/>
                  <a:gd name="T41" fmla="*/ 12 h 51"/>
                  <a:gd name="T42" fmla="*/ 15 w 46"/>
                  <a:gd name="T43" fmla="*/ 9 h 51"/>
                  <a:gd name="T44" fmla="*/ 15 w 46"/>
                  <a:gd name="T45" fmla="*/ 6 h 51"/>
                  <a:gd name="T46" fmla="*/ 15 w 46"/>
                  <a:gd name="T47" fmla="*/ 4 h 5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391" name="Freeform 440">
                <a:extLst>
                  <a:ext uri="{FF2B5EF4-FFF2-40B4-BE49-F238E27FC236}">
                    <a16:creationId xmlns:a16="http://schemas.microsoft.com/office/drawing/2014/main" xmlns="" id="{CAD25D05-E605-1058-9461-94C3A30397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5 h 158"/>
                  <a:gd name="T4" fmla="*/ 1 w 192"/>
                  <a:gd name="T5" fmla="*/ 9 h 158"/>
                  <a:gd name="T6" fmla="*/ 1 w 192"/>
                  <a:gd name="T7" fmla="*/ 13 h 158"/>
                  <a:gd name="T8" fmla="*/ 2 w 192"/>
                  <a:gd name="T9" fmla="*/ 17 h 158"/>
                  <a:gd name="T10" fmla="*/ 4 w 192"/>
                  <a:gd name="T11" fmla="*/ 20 h 158"/>
                  <a:gd name="T12" fmla="*/ 5 w 192"/>
                  <a:gd name="T13" fmla="*/ 24 h 158"/>
                  <a:gd name="T14" fmla="*/ 7 w 192"/>
                  <a:gd name="T15" fmla="*/ 27 h 158"/>
                  <a:gd name="T16" fmla="*/ 8 w 192"/>
                  <a:gd name="T17" fmla="*/ 30 h 158"/>
                  <a:gd name="T18" fmla="*/ 15 w 192"/>
                  <a:gd name="T19" fmla="*/ 41 h 158"/>
                  <a:gd name="T20" fmla="*/ 22 w 192"/>
                  <a:gd name="T21" fmla="*/ 50 h 158"/>
                  <a:gd name="T22" fmla="*/ 24 w 192"/>
                  <a:gd name="T23" fmla="*/ 51 h 158"/>
                  <a:gd name="T24" fmla="*/ 26 w 192"/>
                  <a:gd name="T25" fmla="*/ 51 h 158"/>
                  <a:gd name="T26" fmla="*/ 28 w 192"/>
                  <a:gd name="T27" fmla="*/ 52 h 158"/>
                  <a:gd name="T28" fmla="*/ 30 w 192"/>
                  <a:gd name="T29" fmla="*/ 52 h 158"/>
                  <a:gd name="T30" fmla="*/ 34 w 192"/>
                  <a:gd name="T31" fmla="*/ 53 h 158"/>
                  <a:gd name="T32" fmla="*/ 39 w 192"/>
                  <a:gd name="T33" fmla="*/ 53 h 158"/>
                  <a:gd name="T34" fmla="*/ 50 w 192"/>
                  <a:gd name="T35" fmla="*/ 52 h 158"/>
                  <a:gd name="T36" fmla="*/ 63 w 192"/>
                  <a:gd name="T37" fmla="*/ 52 h 158"/>
                  <a:gd name="T38" fmla="*/ 60 w 192"/>
                  <a:gd name="T39" fmla="*/ 51 h 158"/>
                  <a:gd name="T40" fmla="*/ 58 w 192"/>
                  <a:gd name="T41" fmla="*/ 51 h 158"/>
                  <a:gd name="T42" fmla="*/ 55 w 192"/>
                  <a:gd name="T43" fmla="*/ 51 h 158"/>
                  <a:gd name="T44" fmla="*/ 53 w 192"/>
                  <a:gd name="T45" fmla="*/ 50 h 158"/>
                  <a:gd name="T46" fmla="*/ 48 w 192"/>
                  <a:gd name="T47" fmla="*/ 48 h 158"/>
                  <a:gd name="T48" fmla="*/ 42 w 192"/>
                  <a:gd name="T49" fmla="*/ 46 h 158"/>
                  <a:gd name="T50" fmla="*/ 38 w 192"/>
                  <a:gd name="T51" fmla="*/ 44 h 158"/>
                  <a:gd name="T52" fmla="*/ 33 w 192"/>
                  <a:gd name="T53" fmla="*/ 40 h 158"/>
                  <a:gd name="T54" fmla="*/ 29 w 192"/>
                  <a:gd name="T55" fmla="*/ 37 h 158"/>
                  <a:gd name="T56" fmla="*/ 25 w 192"/>
                  <a:gd name="T57" fmla="*/ 33 h 158"/>
                  <a:gd name="T58" fmla="*/ 21 w 192"/>
                  <a:gd name="T59" fmla="*/ 29 h 158"/>
                  <a:gd name="T60" fmla="*/ 17 w 192"/>
                  <a:gd name="T61" fmla="*/ 25 h 158"/>
                  <a:gd name="T62" fmla="*/ 14 w 192"/>
                  <a:gd name="T63" fmla="*/ 21 h 158"/>
                  <a:gd name="T64" fmla="*/ 11 w 192"/>
                  <a:gd name="T65" fmla="*/ 17 h 158"/>
                  <a:gd name="T66" fmla="*/ 9 w 192"/>
                  <a:gd name="T67" fmla="*/ 13 h 158"/>
                  <a:gd name="T68" fmla="*/ 7 w 192"/>
                  <a:gd name="T69" fmla="*/ 9 h 158"/>
                  <a:gd name="T70" fmla="*/ 5 w 192"/>
                  <a:gd name="T71" fmla="*/ 5 h 158"/>
                  <a:gd name="T72" fmla="*/ 4 w 192"/>
                  <a:gd name="T73" fmla="*/ 2 h 158"/>
                  <a:gd name="T74" fmla="*/ 0 w 192"/>
                  <a:gd name="T75" fmla="*/ 0 h 15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392" name="Freeform 441">
                <a:extLst>
                  <a:ext uri="{FF2B5EF4-FFF2-40B4-BE49-F238E27FC236}">
                    <a16:creationId xmlns:a16="http://schemas.microsoft.com/office/drawing/2014/main" xmlns="" id="{4F9B6F19-0B36-5F01-1127-E8653A7282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253 w 884"/>
                  <a:gd name="T1" fmla="*/ 138 h 1818"/>
                  <a:gd name="T2" fmla="*/ 286 w 884"/>
                  <a:gd name="T3" fmla="*/ 114 h 1818"/>
                  <a:gd name="T4" fmla="*/ 290 w 884"/>
                  <a:gd name="T5" fmla="*/ 77 h 1818"/>
                  <a:gd name="T6" fmla="*/ 276 w 884"/>
                  <a:gd name="T7" fmla="*/ 64 h 1818"/>
                  <a:gd name="T8" fmla="*/ 276 w 884"/>
                  <a:gd name="T9" fmla="*/ 87 h 1818"/>
                  <a:gd name="T10" fmla="*/ 254 w 884"/>
                  <a:gd name="T11" fmla="*/ 109 h 1818"/>
                  <a:gd name="T12" fmla="*/ 219 w 884"/>
                  <a:gd name="T13" fmla="*/ 110 h 1818"/>
                  <a:gd name="T14" fmla="*/ 205 w 884"/>
                  <a:gd name="T15" fmla="*/ 97 h 1818"/>
                  <a:gd name="T16" fmla="*/ 216 w 884"/>
                  <a:gd name="T17" fmla="*/ 72 h 1818"/>
                  <a:gd name="T18" fmla="*/ 178 w 884"/>
                  <a:gd name="T19" fmla="*/ 49 h 1818"/>
                  <a:gd name="T20" fmla="*/ 139 w 884"/>
                  <a:gd name="T21" fmla="*/ 29 h 1818"/>
                  <a:gd name="T22" fmla="*/ 122 w 884"/>
                  <a:gd name="T23" fmla="*/ 3 h 1818"/>
                  <a:gd name="T24" fmla="*/ 94 w 884"/>
                  <a:gd name="T25" fmla="*/ 7 h 1818"/>
                  <a:gd name="T26" fmla="*/ 77 w 884"/>
                  <a:gd name="T27" fmla="*/ 8 h 1818"/>
                  <a:gd name="T28" fmla="*/ 56 w 884"/>
                  <a:gd name="T29" fmla="*/ 3 h 1818"/>
                  <a:gd name="T30" fmla="*/ 32 w 884"/>
                  <a:gd name="T31" fmla="*/ 18 h 1818"/>
                  <a:gd name="T32" fmla="*/ 22 w 884"/>
                  <a:gd name="T33" fmla="*/ 39 h 1818"/>
                  <a:gd name="T34" fmla="*/ 9 w 884"/>
                  <a:gd name="T35" fmla="*/ 60 h 1818"/>
                  <a:gd name="T36" fmla="*/ 18 w 884"/>
                  <a:gd name="T37" fmla="*/ 84 h 1818"/>
                  <a:gd name="T38" fmla="*/ 17 w 884"/>
                  <a:gd name="T39" fmla="*/ 106 h 1818"/>
                  <a:gd name="T40" fmla="*/ 0 w 884"/>
                  <a:gd name="T41" fmla="*/ 144 h 1818"/>
                  <a:gd name="T42" fmla="*/ 4 w 884"/>
                  <a:gd name="T43" fmla="*/ 203 h 1818"/>
                  <a:gd name="T44" fmla="*/ 25 w 884"/>
                  <a:gd name="T45" fmla="*/ 232 h 1818"/>
                  <a:gd name="T46" fmla="*/ 20 w 884"/>
                  <a:gd name="T47" fmla="*/ 251 h 1818"/>
                  <a:gd name="T48" fmla="*/ 20 w 884"/>
                  <a:gd name="T49" fmla="*/ 269 h 1818"/>
                  <a:gd name="T50" fmla="*/ 27 w 884"/>
                  <a:gd name="T51" fmla="*/ 283 h 1818"/>
                  <a:gd name="T52" fmla="*/ 17 w 884"/>
                  <a:gd name="T53" fmla="*/ 300 h 1818"/>
                  <a:gd name="T54" fmla="*/ 27 w 884"/>
                  <a:gd name="T55" fmla="*/ 328 h 1818"/>
                  <a:gd name="T56" fmla="*/ 27 w 884"/>
                  <a:gd name="T57" fmla="*/ 352 h 1818"/>
                  <a:gd name="T58" fmla="*/ 26 w 884"/>
                  <a:gd name="T59" fmla="*/ 384 h 1818"/>
                  <a:gd name="T60" fmla="*/ 45 w 884"/>
                  <a:gd name="T61" fmla="*/ 422 h 1818"/>
                  <a:gd name="T62" fmla="*/ 65 w 884"/>
                  <a:gd name="T63" fmla="*/ 465 h 1818"/>
                  <a:gd name="T64" fmla="*/ 71 w 884"/>
                  <a:gd name="T65" fmla="*/ 488 h 1818"/>
                  <a:gd name="T66" fmla="*/ 75 w 884"/>
                  <a:gd name="T67" fmla="*/ 509 h 1818"/>
                  <a:gd name="T68" fmla="*/ 70 w 884"/>
                  <a:gd name="T69" fmla="*/ 530 h 1818"/>
                  <a:gd name="T70" fmla="*/ 66 w 884"/>
                  <a:gd name="T71" fmla="*/ 548 h 1818"/>
                  <a:gd name="T72" fmla="*/ 75 w 884"/>
                  <a:gd name="T73" fmla="*/ 573 h 1818"/>
                  <a:gd name="T74" fmla="*/ 102 w 884"/>
                  <a:gd name="T75" fmla="*/ 591 h 1818"/>
                  <a:gd name="T76" fmla="*/ 129 w 884"/>
                  <a:gd name="T77" fmla="*/ 599 h 1818"/>
                  <a:gd name="T78" fmla="*/ 148 w 884"/>
                  <a:gd name="T79" fmla="*/ 595 h 1818"/>
                  <a:gd name="T80" fmla="*/ 149 w 884"/>
                  <a:gd name="T81" fmla="*/ 568 h 1818"/>
                  <a:gd name="T82" fmla="*/ 154 w 884"/>
                  <a:gd name="T83" fmla="*/ 537 h 1818"/>
                  <a:gd name="T84" fmla="*/ 162 w 884"/>
                  <a:gd name="T85" fmla="*/ 503 h 1818"/>
                  <a:gd name="T86" fmla="*/ 138 w 884"/>
                  <a:gd name="T87" fmla="*/ 495 h 1818"/>
                  <a:gd name="T88" fmla="*/ 132 w 884"/>
                  <a:gd name="T89" fmla="*/ 477 h 1818"/>
                  <a:gd name="T90" fmla="*/ 149 w 884"/>
                  <a:gd name="T91" fmla="*/ 465 h 1818"/>
                  <a:gd name="T92" fmla="*/ 159 w 884"/>
                  <a:gd name="T93" fmla="*/ 444 h 1818"/>
                  <a:gd name="T94" fmla="*/ 149 w 884"/>
                  <a:gd name="T95" fmla="*/ 408 h 1818"/>
                  <a:gd name="T96" fmla="*/ 139 w 884"/>
                  <a:gd name="T97" fmla="*/ 380 h 1818"/>
                  <a:gd name="T98" fmla="*/ 170 w 884"/>
                  <a:gd name="T99" fmla="*/ 389 h 1818"/>
                  <a:gd name="T100" fmla="*/ 186 w 884"/>
                  <a:gd name="T101" fmla="*/ 384 h 1818"/>
                  <a:gd name="T102" fmla="*/ 183 w 884"/>
                  <a:gd name="T103" fmla="*/ 359 h 1818"/>
                  <a:gd name="T104" fmla="*/ 185 w 884"/>
                  <a:gd name="T105" fmla="*/ 343 h 1818"/>
                  <a:gd name="T106" fmla="*/ 222 w 884"/>
                  <a:gd name="T107" fmla="*/ 341 h 1818"/>
                  <a:gd name="T108" fmla="*/ 261 w 884"/>
                  <a:gd name="T109" fmla="*/ 324 h 1818"/>
                  <a:gd name="T110" fmla="*/ 268 w 884"/>
                  <a:gd name="T111" fmla="*/ 294 h 1818"/>
                  <a:gd name="T112" fmla="*/ 256 w 884"/>
                  <a:gd name="T113" fmla="*/ 284 h 1818"/>
                  <a:gd name="T114" fmla="*/ 249 w 884"/>
                  <a:gd name="T115" fmla="*/ 270 h 1818"/>
                  <a:gd name="T116" fmla="*/ 227 w 884"/>
                  <a:gd name="T117" fmla="*/ 251 h 1818"/>
                  <a:gd name="T118" fmla="*/ 230 w 884"/>
                  <a:gd name="T119" fmla="*/ 177 h 181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</p:grpSp>
        <p:sp>
          <p:nvSpPr>
            <p:cNvPr id="282" name="Freeform 442">
              <a:extLst>
                <a:ext uri="{FF2B5EF4-FFF2-40B4-BE49-F238E27FC236}">
                  <a16:creationId xmlns:a16="http://schemas.microsoft.com/office/drawing/2014/main" xmlns="" id="{52AE26DE-3FEC-A889-2354-6EE2CEEB820C}"/>
                </a:ext>
              </a:extLst>
            </p:cNvPr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4922495" y="1526023"/>
              <a:ext cx="107123" cy="80183"/>
            </a:xfrm>
            <a:custGeom>
              <a:avLst/>
              <a:gdLst>
                <a:gd name="T0" fmla="*/ 14646 w 279"/>
                <a:gd name="T1" fmla="*/ 46715 h 204"/>
                <a:gd name="T2" fmla="*/ 26185 w 279"/>
                <a:gd name="T3" fmla="*/ 76247 h 204"/>
                <a:gd name="T4" fmla="*/ 26185 w 279"/>
                <a:gd name="T5" fmla="*/ 96114 h 204"/>
                <a:gd name="T6" fmla="*/ 45269 w 279"/>
                <a:gd name="T7" fmla="*/ 105242 h 204"/>
                <a:gd name="T8" fmla="*/ 54146 w 279"/>
                <a:gd name="T9" fmla="*/ 108464 h 204"/>
                <a:gd name="T10" fmla="*/ 61691 w 279"/>
                <a:gd name="T11" fmla="*/ 109538 h 204"/>
                <a:gd name="T12" fmla="*/ 64797 w 279"/>
                <a:gd name="T13" fmla="*/ 107927 h 204"/>
                <a:gd name="T14" fmla="*/ 67016 w 279"/>
                <a:gd name="T15" fmla="*/ 104168 h 204"/>
                <a:gd name="T16" fmla="*/ 71011 w 279"/>
                <a:gd name="T17" fmla="*/ 92356 h 204"/>
                <a:gd name="T18" fmla="*/ 76337 w 279"/>
                <a:gd name="T19" fmla="*/ 80006 h 204"/>
                <a:gd name="T20" fmla="*/ 80331 w 279"/>
                <a:gd name="T21" fmla="*/ 75710 h 204"/>
                <a:gd name="T22" fmla="*/ 85213 w 279"/>
                <a:gd name="T23" fmla="*/ 73025 h 204"/>
                <a:gd name="T24" fmla="*/ 92758 w 279"/>
                <a:gd name="T25" fmla="*/ 74099 h 204"/>
                <a:gd name="T26" fmla="*/ 97640 w 279"/>
                <a:gd name="T27" fmla="*/ 76247 h 204"/>
                <a:gd name="T28" fmla="*/ 101190 w 279"/>
                <a:gd name="T29" fmla="*/ 79469 h 204"/>
                <a:gd name="T30" fmla="*/ 102522 w 279"/>
                <a:gd name="T31" fmla="*/ 82690 h 204"/>
                <a:gd name="T32" fmla="*/ 103853 w 279"/>
                <a:gd name="T33" fmla="*/ 88060 h 204"/>
                <a:gd name="T34" fmla="*/ 102522 w 279"/>
                <a:gd name="T35" fmla="*/ 89671 h 204"/>
                <a:gd name="T36" fmla="*/ 103853 w 279"/>
                <a:gd name="T37" fmla="*/ 82154 h 204"/>
                <a:gd name="T38" fmla="*/ 105628 w 279"/>
                <a:gd name="T39" fmla="*/ 75173 h 204"/>
                <a:gd name="T40" fmla="*/ 108735 w 279"/>
                <a:gd name="T41" fmla="*/ 62823 h 204"/>
                <a:gd name="T42" fmla="*/ 112730 w 279"/>
                <a:gd name="T43" fmla="*/ 61749 h 204"/>
                <a:gd name="T44" fmla="*/ 117168 w 279"/>
                <a:gd name="T45" fmla="*/ 59065 h 204"/>
                <a:gd name="T46" fmla="*/ 123825 w 279"/>
                <a:gd name="T47" fmla="*/ 53158 h 204"/>
                <a:gd name="T48" fmla="*/ 111842 w 279"/>
                <a:gd name="T49" fmla="*/ 40271 h 204"/>
                <a:gd name="T50" fmla="*/ 100747 w 279"/>
                <a:gd name="T51" fmla="*/ 31143 h 204"/>
                <a:gd name="T52" fmla="*/ 90539 w 279"/>
                <a:gd name="T53" fmla="*/ 23626 h 204"/>
                <a:gd name="T54" fmla="*/ 82106 w 279"/>
                <a:gd name="T55" fmla="*/ 16645 h 204"/>
                <a:gd name="T56" fmla="*/ 64797 w 279"/>
                <a:gd name="T57" fmla="*/ 36513 h 204"/>
                <a:gd name="T58" fmla="*/ 35062 w 279"/>
                <a:gd name="T59" fmla="*/ 13424 h 204"/>
                <a:gd name="T60" fmla="*/ 23078 w 279"/>
                <a:gd name="T61" fmla="*/ 6443 h 204"/>
                <a:gd name="T62" fmla="*/ 20416 w 279"/>
                <a:gd name="T63" fmla="*/ 33291 h 204"/>
                <a:gd name="T64" fmla="*/ 0 w 279"/>
                <a:gd name="T65" fmla="*/ 30069 h 2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83" name="Freeform 443">
              <a:extLst>
                <a:ext uri="{FF2B5EF4-FFF2-40B4-BE49-F238E27FC236}">
                  <a16:creationId xmlns:a16="http://schemas.microsoft.com/office/drawing/2014/main" xmlns="" id="{D2325926-3F9E-B44A-87F6-5A8A83FFD09A}"/>
                </a:ext>
              </a:extLst>
            </p:cNvPr>
            <p:cNvSpPr>
              <a:spLocks/>
            </p:cNvSpPr>
            <p:nvPr>
              <p:custDataLst>
                <p:tags r:id="rId279"/>
              </p:custDataLst>
            </p:nvPr>
          </p:nvSpPr>
          <p:spPr bwMode="auto">
            <a:xfrm>
              <a:off x="4461040" y="1213429"/>
              <a:ext cx="181285" cy="110395"/>
            </a:xfrm>
            <a:custGeom>
              <a:avLst/>
              <a:gdLst>
                <a:gd name="T0" fmla="*/ 108880 w 485"/>
                <a:gd name="T1" fmla="*/ 10365 h 291"/>
                <a:gd name="T2" fmla="*/ 129619 w 485"/>
                <a:gd name="T3" fmla="*/ 22803 h 291"/>
                <a:gd name="T4" fmla="*/ 160727 w 485"/>
                <a:gd name="T5" fmla="*/ 22803 h 291"/>
                <a:gd name="T6" fmla="*/ 183626 w 485"/>
                <a:gd name="T7" fmla="*/ 67891 h 291"/>
                <a:gd name="T8" fmla="*/ 209550 w 485"/>
                <a:gd name="T9" fmla="*/ 86548 h 291"/>
                <a:gd name="T10" fmla="*/ 178009 w 485"/>
                <a:gd name="T11" fmla="*/ 89658 h 291"/>
                <a:gd name="T12" fmla="*/ 187083 w 485"/>
                <a:gd name="T13" fmla="*/ 108833 h 291"/>
                <a:gd name="T14" fmla="*/ 169368 w 485"/>
                <a:gd name="T15" fmla="*/ 124899 h 291"/>
                <a:gd name="T16" fmla="*/ 166344 w 485"/>
                <a:gd name="T17" fmla="*/ 150812 h 291"/>
                <a:gd name="T18" fmla="*/ 123138 w 485"/>
                <a:gd name="T19" fmla="*/ 137856 h 291"/>
                <a:gd name="T20" fmla="*/ 74747 w 485"/>
                <a:gd name="T21" fmla="*/ 131637 h 291"/>
                <a:gd name="T22" fmla="*/ 25924 w 485"/>
                <a:gd name="T23" fmla="*/ 137856 h 291"/>
                <a:gd name="T24" fmla="*/ 6481 w 485"/>
                <a:gd name="T25" fmla="*/ 140447 h 291"/>
                <a:gd name="T26" fmla="*/ 3456 w 485"/>
                <a:gd name="T27" fmla="*/ 133191 h 291"/>
                <a:gd name="T28" fmla="*/ 1296 w 485"/>
                <a:gd name="T29" fmla="*/ 126454 h 291"/>
                <a:gd name="T30" fmla="*/ 0 w 485"/>
                <a:gd name="T31" fmla="*/ 118680 h 291"/>
                <a:gd name="T32" fmla="*/ 2160 w 485"/>
                <a:gd name="T33" fmla="*/ 113498 h 291"/>
                <a:gd name="T34" fmla="*/ 6049 w 485"/>
                <a:gd name="T35" fmla="*/ 107279 h 291"/>
                <a:gd name="T36" fmla="*/ 9937 w 485"/>
                <a:gd name="T37" fmla="*/ 97950 h 291"/>
                <a:gd name="T38" fmla="*/ 13394 w 485"/>
                <a:gd name="T39" fmla="*/ 86030 h 291"/>
                <a:gd name="T40" fmla="*/ 17715 w 485"/>
                <a:gd name="T41" fmla="*/ 71001 h 291"/>
                <a:gd name="T42" fmla="*/ 20739 w 485"/>
                <a:gd name="T43" fmla="*/ 65300 h 291"/>
                <a:gd name="T44" fmla="*/ 25924 w 485"/>
                <a:gd name="T45" fmla="*/ 61672 h 291"/>
                <a:gd name="T46" fmla="*/ 37589 w 485"/>
                <a:gd name="T47" fmla="*/ 57526 h 291"/>
                <a:gd name="T48" fmla="*/ 38454 w 485"/>
                <a:gd name="T49" fmla="*/ 54935 h 291"/>
                <a:gd name="T50" fmla="*/ 40614 w 485"/>
                <a:gd name="T51" fmla="*/ 51825 h 291"/>
                <a:gd name="T52" fmla="*/ 43638 w 485"/>
                <a:gd name="T53" fmla="*/ 49234 h 291"/>
                <a:gd name="T54" fmla="*/ 45799 w 485"/>
                <a:gd name="T55" fmla="*/ 48198 h 291"/>
                <a:gd name="T56" fmla="*/ 45799 w 485"/>
                <a:gd name="T57" fmla="*/ 39387 h 291"/>
                <a:gd name="T58" fmla="*/ 47095 w 485"/>
                <a:gd name="T59" fmla="*/ 36278 h 291"/>
                <a:gd name="T60" fmla="*/ 48823 w 485"/>
                <a:gd name="T61" fmla="*/ 34723 h 291"/>
                <a:gd name="T62" fmla="*/ 52712 w 485"/>
                <a:gd name="T63" fmla="*/ 35760 h 291"/>
                <a:gd name="T64" fmla="*/ 55304 w 485"/>
                <a:gd name="T65" fmla="*/ 35760 h 291"/>
                <a:gd name="T66" fmla="*/ 57032 w 485"/>
                <a:gd name="T67" fmla="*/ 34205 h 291"/>
                <a:gd name="T68" fmla="*/ 57896 w 485"/>
                <a:gd name="T69" fmla="*/ 29022 h 291"/>
                <a:gd name="T70" fmla="*/ 60057 w 485"/>
                <a:gd name="T71" fmla="*/ 22803 h 291"/>
                <a:gd name="T72" fmla="*/ 62217 w 485"/>
                <a:gd name="T73" fmla="*/ 20212 h 291"/>
                <a:gd name="T74" fmla="*/ 92029 w 485"/>
                <a:gd name="T75" fmla="*/ 0 h 29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84" name="Freeform 444">
              <a:extLst>
                <a:ext uri="{FF2B5EF4-FFF2-40B4-BE49-F238E27FC236}">
                  <a16:creationId xmlns:a16="http://schemas.microsoft.com/office/drawing/2014/main" xmlns="" id="{81DE2854-B238-350D-65B7-FBF88D43AB89}"/>
                </a:ext>
              </a:extLst>
            </p:cNvPr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4337437" y="1456300"/>
              <a:ext cx="71415" cy="63914"/>
            </a:xfrm>
            <a:custGeom>
              <a:avLst/>
              <a:gdLst>
                <a:gd name="T0" fmla="*/ 38168 w 186"/>
                <a:gd name="T1" fmla="*/ 77319 h 166"/>
                <a:gd name="T2" fmla="*/ 36837 w 186"/>
                <a:gd name="T3" fmla="*/ 71534 h 166"/>
                <a:gd name="T4" fmla="*/ 34618 w 186"/>
                <a:gd name="T5" fmla="*/ 66800 h 166"/>
                <a:gd name="T6" fmla="*/ 32842 w 186"/>
                <a:gd name="T7" fmla="*/ 62066 h 166"/>
                <a:gd name="T8" fmla="*/ 31067 w 186"/>
                <a:gd name="T9" fmla="*/ 57858 h 166"/>
                <a:gd name="T10" fmla="*/ 26629 w 186"/>
                <a:gd name="T11" fmla="*/ 49968 h 166"/>
                <a:gd name="T12" fmla="*/ 21747 w 186"/>
                <a:gd name="T13" fmla="*/ 43131 h 166"/>
                <a:gd name="T14" fmla="*/ 16421 w 186"/>
                <a:gd name="T15" fmla="*/ 36819 h 166"/>
                <a:gd name="T16" fmla="*/ 11095 w 186"/>
                <a:gd name="T17" fmla="*/ 29455 h 166"/>
                <a:gd name="T18" fmla="*/ 5770 w 186"/>
                <a:gd name="T19" fmla="*/ 19987 h 166"/>
                <a:gd name="T20" fmla="*/ 0 w 186"/>
                <a:gd name="T21" fmla="*/ 9468 h 166"/>
                <a:gd name="T22" fmla="*/ 0 w 186"/>
                <a:gd name="T23" fmla="*/ 0 h 166"/>
                <a:gd name="T24" fmla="*/ 3107 w 186"/>
                <a:gd name="T25" fmla="*/ 1052 h 166"/>
                <a:gd name="T26" fmla="*/ 6213 w 186"/>
                <a:gd name="T27" fmla="*/ 1578 h 166"/>
                <a:gd name="T28" fmla="*/ 8876 w 186"/>
                <a:gd name="T29" fmla="*/ 2104 h 166"/>
                <a:gd name="T30" fmla="*/ 11983 w 186"/>
                <a:gd name="T31" fmla="*/ 2104 h 166"/>
                <a:gd name="T32" fmla="*/ 14646 w 186"/>
                <a:gd name="T33" fmla="*/ 2104 h 166"/>
                <a:gd name="T34" fmla="*/ 17753 w 186"/>
                <a:gd name="T35" fmla="*/ 1578 h 166"/>
                <a:gd name="T36" fmla="*/ 20859 w 186"/>
                <a:gd name="T37" fmla="*/ 1052 h 166"/>
                <a:gd name="T38" fmla="*/ 23522 w 186"/>
                <a:gd name="T39" fmla="*/ 0 h 166"/>
                <a:gd name="T40" fmla="*/ 62134 w 186"/>
                <a:gd name="T41" fmla="*/ 6312 h 166"/>
                <a:gd name="T42" fmla="*/ 82550 w 186"/>
                <a:gd name="T43" fmla="*/ 47864 h 166"/>
                <a:gd name="T44" fmla="*/ 75893 w 186"/>
                <a:gd name="T45" fmla="*/ 58910 h 166"/>
                <a:gd name="T46" fmla="*/ 68792 w 186"/>
                <a:gd name="T47" fmla="*/ 67852 h 166"/>
                <a:gd name="T48" fmla="*/ 66129 w 186"/>
                <a:gd name="T49" fmla="*/ 72060 h 166"/>
                <a:gd name="T50" fmla="*/ 63910 w 186"/>
                <a:gd name="T51" fmla="*/ 76267 h 166"/>
                <a:gd name="T52" fmla="*/ 63022 w 186"/>
                <a:gd name="T53" fmla="*/ 78897 h 166"/>
                <a:gd name="T54" fmla="*/ 62578 w 186"/>
                <a:gd name="T55" fmla="*/ 82053 h 166"/>
                <a:gd name="T56" fmla="*/ 62134 w 186"/>
                <a:gd name="T57" fmla="*/ 84683 h 166"/>
                <a:gd name="T58" fmla="*/ 62134 w 186"/>
                <a:gd name="T59" fmla="*/ 87313 h 166"/>
                <a:gd name="T60" fmla="*/ 38168 w 186"/>
                <a:gd name="T61" fmla="*/ 77319 h 16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85" name="Freeform 445">
              <a:extLst>
                <a:ext uri="{FF2B5EF4-FFF2-40B4-BE49-F238E27FC236}">
                  <a16:creationId xmlns:a16="http://schemas.microsoft.com/office/drawing/2014/main" xmlns="" id="{F7933DDE-C544-EDC9-1664-9A30BF3F0162}"/>
                </a:ext>
              </a:extLst>
            </p:cNvPr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2922861" y="2507960"/>
              <a:ext cx="71415" cy="41835"/>
            </a:xfrm>
            <a:custGeom>
              <a:avLst/>
              <a:gdLst>
                <a:gd name="T0" fmla="*/ 67904 w 186"/>
                <a:gd name="T1" fmla="*/ 11540 h 104"/>
                <a:gd name="T2" fmla="*/ 64797 w 186"/>
                <a:gd name="T3" fmla="*/ 11540 h 104"/>
                <a:gd name="T4" fmla="*/ 62578 w 186"/>
                <a:gd name="T5" fmla="*/ 10990 h 104"/>
                <a:gd name="T6" fmla="*/ 60359 w 186"/>
                <a:gd name="T7" fmla="*/ 9891 h 104"/>
                <a:gd name="T8" fmla="*/ 59028 w 186"/>
                <a:gd name="T9" fmla="*/ 8243 h 104"/>
                <a:gd name="T10" fmla="*/ 57696 w 186"/>
                <a:gd name="T11" fmla="*/ 7144 h 104"/>
                <a:gd name="T12" fmla="*/ 55477 w 186"/>
                <a:gd name="T13" fmla="*/ 6045 h 104"/>
                <a:gd name="T14" fmla="*/ 53258 w 186"/>
                <a:gd name="T15" fmla="*/ 5495 h 104"/>
                <a:gd name="T16" fmla="*/ 50151 w 186"/>
                <a:gd name="T17" fmla="*/ 4946 h 104"/>
                <a:gd name="T18" fmla="*/ 44382 w 186"/>
                <a:gd name="T19" fmla="*/ 4396 h 104"/>
                <a:gd name="T20" fmla="*/ 39056 w 186"/>
                <a:gd name="T21" fmla="*/ 3297 h 104"/>
                <a:gd name="T22" fmla="*/ 33286 w 186"/>
                <a:gd name="T23" fmla="*/ 1649 h 104"/>
                <a:gd name="T24" fmla="*/ 28404 w 186"/>
                <a:gd name="T25" fmla="*/ 550 h 104"/>
                <a:gd name="T26" fmla="*/ 26629 w 186"/>
                <a:gd name="T27" fmla="*/ 0 h 104"/>
                <a:gd name="T28" fmla="*/ 23966 w 186"/>
                <a:gd name="T29" fmla="*/ 0 h 104"/>
                <a:gd name="T30" fmla="*/ 22635 w 186"/>
                <a:gd name="T31" fmla="*/ 550 h 104"/>
                <a:gd name="T32" fmla="*/ 20416 w 186"/>
                <a:gd name="T33" fmla="*/ 1099 h 104"/>
                <a:gd name="T34" fmla="*/ 19528 w 186"/>
                <a:gd name="T35" fmla="*/ 2198 h 104"/>
                <a:gd name="T36" fmla="*/ 18640 w 186"/>
                <a:gd name="T37" fmla="*/ 3297 h 104"/>
                <a:gd name="T38" fmla="*/ 18197 w 186"/>
                <a:gd name="T39" fmla="*/ 5495 h 104"/>
                <a:gd name="T40" fmla="*/ 17753 w 186"/>
                <a:gd name="T41" fmla="*/ 8243 h 104"/>
                <a:gd name="T42" fmla="*/ 15090 w 186"/>
                <a:gd name="T43" fmla="*/ 14837 h 104"/>
                <a:gd name="T44" fmla="*/ 8876 w 186"/>
                <a:gd name="T45" fmla="*/ 25827 h 104"/>
                <a:gd name="T46" fmla="*/ 3107 w 186"/>
                <a:gd name="T47" fmla="*/ 36268 h 104"/>
                <a:gd name="T48" fmla="*/ 0 w 186"/>
                <a:gd name="T49" fmla="*/ 42313 h 104"/>
                <a:gd name="T50" fmla="*/ 3551 w 186"/>
                <a:gd name="T51" fmla="*/ 42313 h 104"/>
                <a:gd name="T52" fmla="*/ 7101 w 186"/>
                <a:gd name="T53" fmla="*/ 42862 h 104"/>
                <a:gd name="T54" fmla="*/ 9320 w 186"/>
                <a:gd name="T55" fmla="*/ 43412 h 104"/>
                <a:gd name="T56" fmla="*/ 11095 w 186"/>
                <a:gd name="T57" fmla="*/ 44511 h 104"/>
                <a:gd name="T58" fmla="*/ 14646 w 186"/>
                <a:gd name="T59" fmla="*/ 46709 h 104"/>
                <a:gd name="T60" fmla="*/ 17753 w 186"/>
                <a:gd name="T61" fmla="*/ 48907 h 104"/>
                <a:gd name="T62" fmla="*/ 19972 w 186"/>
                <a:gd name="T63" fmla="*/ 51655 h 104"/>
                <a:gd name="T64" fmla="*/ 23078 w 186"/>
                <a:gd name="T65" fmla="*/ 53853 h 104"/>
                <a:gd name="T66" fmla="*/ 24854 w 186"/>
                <a:gd name="T67" fmla="*/ 54952 h 104"/>
                <a:gd name="T68" fmla="*/ 27073 w 186"/>
                <a:gd name="T69" fmla="*/ 55501 h 104"/>
                <a:gd name="T70" fmla="*/ 29292 w 186"/>
                <a:gd name="T71" fmla="*/ 56051 h 104"/>
                <a:gd name="T72" fmla="*/ 32842 w 186"/>
                <a:gd name="T73" fmla="*/ 56051 h 104"/>
                <a:gd name="T74" fmla="*/ 47488 w 186"/>
                <a:gd name="T75" fmla="*/ 56600 h 104"/>
                <a:gd name="T76" fmla="*/ 58140 w 186"/>
                <a:gd name="T77" fmla="*/ 57150 h 104"/>
                <a:gd name="T78" fmla="*/ 59915 w 186"/>
                <a:gd name="T79" fmla="*/ 56600 h 104"/>
                <a:gd name="T80" fmla="*/ 61691 w 186"/>
                <a:gd name="T81" fmla="*/ 56051 h 104"/>
                <a:gd name="T82" fmla="*/ 63022 w 186"/>
                <a:gd name="T83" fmla="*/ 54952 h 104"/>
                <a:gd name="T84" fmla="*/ 64353 w 186"/>
                <a:gd name="T85" fmla="*/ 53303 h 104"/>
                <a:gd name="T86" fmla="*/ 65241 w 186"/>
                <a:gd name="T87" fmla="*/ 51655 h 104"/>
                <a:gd name="T88" fmla="*/ 66573 w 186"/>
                <a:gd name="T89" fmla="*/ 48358 h 104"/>
                <a:gd name="T90" fmla="*/ 67460 w 186"/>
                <a:gd name="T91" fmla="*/ 45610 h 104"/>
                <a:gd name="T92" fmla="*/ 67904 w 186"/>
                <a:gd name="T93" fmla="*/ 42313 h 104"/>
                <a:gd name="T94" fmla="*/ 82550 w 186"/>
                <a:gd name="T95" fmla="*/ 14837 h 104"/>
                <a:gd name="T96" fmla="*/ 67904 w 186"/>
                <a:gd name="T97" fmla="*/ 11540 h 1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86" name="Freeform 446">
              <a:extLst>
                <a:ext uri="{FF2B5EF4-FFF2-40B4-BE49-F238E27FC236}">
                  <a16:creationId xmlns:a16="http://schemas.microsoft.com/office/drawing/2014/main" xmlns="" id="{650BEAC2-0EC4-720A-DD0C-E56384F249AC}"/>
                </a:ext>
              </a:extLst>
            </p:cNvPr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4474774" y="1481864"/>
              <a:ext cx="115363" cy="70886"/>
            </a:xfrm>
            <a:custGeom>
              <a:avLst/>
              <a:gdLst>
                <a:gd name="T0" fmla="*/ 33873 w 311"/>
                <a:gd name="T1" fmla="*/ 20558 h 179"/>
                <a:gd name="T2" fmla="*/ 49309 w 311"/>
                <a:gd name="T3" fmla="*/ 14066 h 179"/>
                <a:gd name="T4" fmla="*/ 63459 w 311"/>
                <a:gd name="T5" fmla="*/ 7574 h 179"/>
                <a:gd name="T6" fmla="*/ 76323 w 311"/>
                <a:gd name="T7" fmla="*/ 2164 h 179"/>
                <a:gd name="T8" fmla="*/ 90472 w 311"/>
                <a:gd name="T9" fmla="*/ 0 h 179"/>
                <a:gd name="T10" fmla="*/ 101192 w 311"/>
                <a:gd name="T11" fmla="*/ 1082 h 179"/>
                <a:gd name="T12" fmla="*/ 109767 w 311"/>
                <a:gd name="T13" fmla="*/ 3246 h 179"/>
                <a:gd name="T14" fmla="*/ 125203 w 311"/>
                <a:gd name="T15" fmla="*/ 6492 h 179"/>
                <a:gd name="T16" fmla="*/ 123059 w 311"/>
                <a:gd name="T17" fmla="*/ 15148 h 179"/>
                <a:gd name="T18" fmla="*/ 119200 w 311"/>
                <a:gd name="T19" fmla="*/ 22722 h 179"/>
                <a:gd name="T20" fmla="*/ 115341 w 311"/>
                <a:gd name="T21" fmla="*/ 28673 h 179"/>
                <a:gd name="T22" fmla="*/ 113626 w 311"/>
                <a:gd name="T23" fmla="*/ 33542 h 179"/>
                <a:gd name="T24" fmla="*/ 114055 w 311"/>
                <a:gd name="T25" fmla="*/ 35706 h 179"/>
                <a:gd name="T26" fmla="*/ 116199 w 311"/>
                <a:gd name="T27" fmla="*/ 38411 h 179"/>
                <a:gd name="T28" fmla="*/ 122202 w 311"/>
                <a:gd name="T29" fmla="*/ 42739 h 179"/>
                <a:gd name="T30" fmla="*/ 133350 w 311"/>
                <a:gd name="T31" fmla="*/ 50312 h 179"/>
                <a:gd name="T32" fmla="*/ 123059 w 311"/>
                <a:gd name="T33" fmla="*/ 57886 h 179"/>
                <a:gd name="T34" fmla="*/ 120487 w 311"/>
                <a:gd name="T35" fmla="*/ 62214 h 179"/>
                <a:gd name="T36" fmla="*/ 119200 w 311"/>
                <a:gd name="T37" fmla="*/ 69788 h 179"/>
                <a:gd name="T38" fmla="*/ 108052 w 311"/>
                <a:gd name="T39" fmla="*/ 73575 h 179"/>
                <a:gd name="T40" fmla="*/ 90472 w 311"/>
                <a:gd name="T41" fmla="*/ 80067 h 179"/>
                <a:gd name="T42" fmla="*/ 81897 w 311"/>
                <a:gd name="T43" fmla="*/ 90887 h 179"/>
                <a:gd name="T44" fmla="*/ 76323 w 311"/>
                <a:gd name="T45" fmla="*/ 95215 h 179"/>
                <a:gd name="T46" fmla="*/ 70748 w 311"/>
                <a:gd name="T47" fmla="*/ 96838 h 179"/>
                <a:gd name="T48" fmla="*/ 64745 w 311"/>
                <a:gd name="T49" fmla="*/ 94674 h 179"/>
                <a:gd name="T50" fmla="*/ 58743 w 311"/>
                <a:gd name="T51" fmla="*/ 90346 h 179"/>
                <a:gd name="T52" fmla="*/ 51453 w 311"/>
                <a:gd name="T53" fmla="*/ 85477 h 179"/>
                <a:gd name="T54" fmla="*/ 42020 w 311"/>
                <a:gd name="T55" fmla="*/ 83854 h 179"/>
                <a:gd name="T56" fmla="*/ 28299 w 311"/>
                <a:gd name="T57" fmla="*/ 83854 h 179"/>
                <a:gd name="T58" fmla="*/ 21868 w 311"/>
                <a:gd name="T59" fmla="*/ 84936 h 179"/>
                <a:gd name="T60" fmla="*/ 16722 w 311"/>
                <a:gd name="T61" fmla="*/ 87100 h 179"/>
                <a:gd name="T62" fmla="*/ 15436 w 311"/>
                <a:gd name="T63" fmla="*/ 76821 h 179"/>
                <a:gd name="T64" fmla="*/ 13721 w 311"/>
                <a:gd name="T65" fmla="*/ 66542 h 179"/>
                <a:gd name="T66" fmla="*/ 9004 w 311"/>
                <a:gd name="T67" fmla="*/ 69247 h 179"/>
                <a:gd name="T68" fmla="*/ 5574 w 311"/>
                <a:gd name="T69" fmla="*/ 69788 h 179"/>
                <a:gd name="T70" fmla="*/ 3001 w 311"/>
                <a:gd name="T71" fmla="*/ 68165 h 179"/>
                <a:gd name="T72" fmla="*/ 1286 w 311"/>
                <a:gd name="T73" fmla="*/ 65460 h 179"/>
                <a:gd name="T74" fmla="*/ 0 w 311"/>
                <a:gd name="T75" fmla="*/ 56804 h 179"/>
                <a:gd name="T76" fmla="*/ 0 w 311"/>
                <a:gd name="T77" fmla="*/ 47067 h 179"/>
                <a:gd name="T78" fmla="*/ 1286 w 311"/>
                <a:gd name="T79" fmla="*/ 44362 h 179"/>
                <a:gd name="T80" fmla="*/ 5574 w 311"/>
                <a:gd name="T81" fmla="*/ 42198 h 179"/>
                <a:gd name="T82" fmla="*/ 9004 w 311"/>
                <a:gd name="T83" fmla="*/ 38952 h 179"/>
                <a:gd name="T84" fmla="*/ 10719 w 311"/>
                <a:gd name="T85" fmla="*/ 36788 h 179"/>
                <a:gd name="T86" fmla="*/ 11148 w 311"/>
                <a:gd name="T87" fmla="*/ 33542 h 179"/>
                <a:gd name="T88" fmla="*/ 10291 w 311"/>
                <a:gd name="T89" fmla="*/ 27591 h 179"/>
                <a:gd name="T90" fmla="*/ 8147 w 311"/>
                <a:gd name="T91" fmla="*/ 23263 h 179"/>
                <a:gd name="T92" fmla="*/ 3430 w 311"/>
                <a:gd name="T93" fmla="*/ 15689 h 179"/>
                <a:gd name="T94" fmla="*/ 429 w 311"/>
                <a:gd name="T95" fmla="*/ 9738 h 179"/>
                <a:gd name="T96" fmla="*/ 429 w 311"/>
                <a:gd name="T97" fmla="*/ 7033 h 179"/>
                <a:gd name="T98" fmla="*/ 2573 w 311"/>
                <a:gd name="T99" fmla="*/ 3246 h 179"/>
                <a:gd name="T100" fmla="*/ 0 w 311"/>
                <a:gd name="T101" fmla="*/ 3246 h 17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87" name="Freeform 447">
              <a:extLst>
                <a:ext uri="{FF2B5EF4-FFF2-40B4-BE49-F238E27FC236}">
                  <a16:creationId xmlns:a16="http://schemas.microsoft.com/office/drawing/2014/main" xmlns="" id="{F7BD727A-3BE7-7684-760D-D28218D7B1D6}"/>
                </a:ext>
              </a:extLst>
            </p:cNvPr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3917184" y="2160505"/>
              <a:ext cx="153818" cy="120854"/>
            </a:xfrm>
            <a:custGeom>
              <a:avLst/>
              <a:gdLst>
                <a:gd name="T0" fmla="*/ 2634 w 405"/>
                <a:gd name="T1" fmla="*/ 136707 h 314"/>
                <a:gd name="T2" fmla="*/ 5707 w 405"/>
                <a:gd name="T3" fmla="*/ 124614 h 314"/>
                <a:gd name="T4" fmla="*/ 7463 w 405"/>
                <a:gd name="T5" fmla="*/ 106211 h 314"/>
                <a:gd name="T6" fmla="*/ 10097 w 405"/>
                <a:gd name="T7" fmla="*/ 90963 h 314"/>
                <a:gd name="T8" fmla="*/ 14048 w 405"/>
                <a:gd name="T9" fmla="*/ 85179 h 314"/>
                <a:gd name="T10" fmla="*/ 21073 w 405"/>
                <a:gd name="T11" fmla="*/ 78869 h 314"/>
                <a:gd name="T12" fmla="*/ 31609 w 405"/>
                <a:gd name="T13" fmla="*/ 74137 h 314"/>
                <a:gd name="T14" fmla="*/ 40828 w 405"/>
                <a:gd name="T15" fmla="*/ 70457 h 314"/>
                <a:gd name="T16" fmla="*/ 45657 w 405"/>
                <a:gd name="T17" fmla="*/ 65725 h 314"/>
                <a:gd name="T18" fmla="*/ 49608 w 405"/>
                <a:gd name="T19" fmla="*/ 59941 h 314"/>
                <a:gd name="T20" fmla="*/ 53999 w 405"/>
                <a:gd name="T21" fmla="*/ 48899 h 314"/>
                <a:gd name="T22" fmla="*/ 59706 w 405"/>
                <a:gd name="T23" fmla="*/ 36280 h 314"/>
                <a:gd name="T24" fmla="*/ 64535 w 405"/>
                <a:gd name="T25" fmla="*/ 28919 h 314"/>
                <a:gd name="T26" fmla="*/ 68047 w 405"/>
                <a:gd name="T27" fmla="*/ 26816 h 314"/>
                <a:gd name="T28" fmla="*/ 74632 w 405"/>
                <a:gd name="T29" fmla="*/ 26816 h 314"/>
                <a:gd name="T30" fmla="*/ 82973 w 405"/>
                <a:gd name="T31" fmla="*/ 25238 h 314"/>
                <a:gd name="T32" fmla="*/ 93510 w 405"/>
                <a:gd name="T33" fmla="*/ 18403 h 314"/>
                <a:gd name="T34" fmla="*/ 104046 w 405"/>
                <a:gd name="T35" fmla="*/ 10516 h 314"/>
                <a:gd name="T36" fmla="*/ 112826 w 405"/>
                <a:gd name="T37" fmla="*/ 5784 h 314"/>
                <a:gd name="T38" fmla="*/ 123801 w 405"/>
                <a:gd name="T39" fmla="*/ 2103 h 314"/>
                <a:gd name="T40" fmla="*/ 137850 w 405"/>
                <a:gd name="T41" fmla="*/ 0 h 314"/>
                <a:gd name="T42" fmla="*/ 145752 w 405"/>
                <a:gd name="T43" fmla="*/ 7361 h 314"/>
                <a:gd name="T44" fmla="*/ 147947 w 405"/>
                <a:gd name="T45" fmla="*/ 17877 h 314"/>
                <a:gd name="T46" fmla="*/ 150581 w 405"/>
                <a:gd name="T47" fmla="*/ 26290 h 314"/>
                <a:gd name="T48" fmla="*/ 154532 w 405"/>
                <a:gd name="T49" fmla="*/ 32599 h 314"/>
                <a:gd name="T50" fmla="*/ 161557 w 405"/>
                <a:gd name="T51" fmla="*/ 38909 h 314"/>
                <a:gd name="T52" fmla="*/ 167703 w 405"/>
                <a:gd name="T53" fmla="*/ 44693 h 314"/>
                <a:gd name="T54" fmla="*/ 171215 w 405"/>
                <a:gd name="T55" fmla="*/ 48899 h 314"/>
                <a:gd name="T56" fmla="*/ 173849 w 405"/>
                <a:gd name="T57" fmla="*/ 60467 h 314"/>
                <a:gd name="T58" fmla="*/ 174727 w 405"/>
                <a:gd name="T59" fmla="*/ 75189 h 314"/>
                <a:gd name="T60" fmla="*/ 174727 w 405"/>
                <a:gd name="T61" fmla="*/ 89385 h 314"/>
                <a:gd name="T62" fmla="*/ 176483 w 405"/>
                <a:gd name="T63" fmla="*/ 103056 h 314"/>
                <a:gd name="T64" fmla="*/ 174727 w 405"/>
                <a:gd name="T65" fmla="*/ 114098 h 314"/>
                <a:gd name="T66" fmla="*/ 167703 w 405"/>
                <a:gd name="T67" fmla="*/ 118830 h 314"/>
                <a:gd name="T68" fmla="*/ 160240 w 405"/>
                <a:gd name="T69" fmla="*/ 126717 h 314"/>
                <a:gd name="T70" fmla="*/ 159361 w 405"/>
                <a:gd name="T71" fmla="*/ 124614 h 314"/>
                <a:gd name="T72" fmla="*/ 157166 w 405"/>
                <a:gd name="T73" fmla="*/ 122511 h 314"/>
                <a:gd name="T74" fmla="*/ 150142 w 405"/>
                <a:gd name="T75" fmla="*/ 119356 h 314"/>
                <a:gd name="T76" fmla="*/ 140045 w 405"/>
                <a:gd name="T77" fmla="*/ 117253 h 314"/>
                <a:gd name="T78" fmla="*/ 66730 w 405"/>
                <a:gd name="T79" fmla="*/ 126717 h 314"/>
                <a:gd name="T80" fmla="*/ 65852 w 405"/>
                <a:gd name="T81" fmla="*/ 135130 h 314"/>
                <a:gd name="T82" fmla="*/ 65852 w 405"/>
                <a:gd name="T83" fmla="*/ 144068 h 314"/>
                <a:gd name="T84" fmla="*/ 66730 w 405"/>
                <a:gd name="T85" fmla="*/ 165100 h 314"/>
                <a:gd name="T86" fmla="*/ 61023 w 405"/>
                <a:gd name="T87" fmla="*/ 164048 h 314"/>
                <a:gd name="T88" fmla="*/ 55316 w 405"/>
                <a:gd name="T89" fmla="*/ 160368 h 314"/>
                <a:gd name="T90" fmla="*/ 43901 w 405"/>
                <a:gd name="T91" fmla="*/ 152481 h 314"/>
                <a:gd name="T92" fmla="*/ 39072 w 405"/>
                <a:gd name="T93" fmla="*/ 161419 h 314"/>
                <a:gd name="T94" fmla="*/ 35999 w 405"/>
                <a:gd name="T95" fmla="*/ 164048 h 314"/>
                <a:gd name="T96" fmla="*/ 32048 w 405"/>
                <a:gd name="T97" fmla="*/ 165100 h 314"/>
                <a:gd name="T98" fmla="*/ 26341 w 405"/>
                <a:gd name="T99" fmla="*/ 163523 h 314"/>
                <a:gd name="T100" fmla="*/ 20634 w 405"/>
                <a:gd name="T101" fmla="*/ 158790 h 314"/>
                <a:gd name="T102" fmla="*/ 12292 w 405"/>
                <a:gd name="T103" fmla="*/ 153007 h 314"/>
                <a:gd name="T104" fmla="*/ 0 w 405"/>
                <a:gd name="T105" fmla="*/ 149326 h 31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88" name="Freeform 448">
              <a:extLst>
                <a:ext uri="{FF2B5EF4-FFF2-40B4-BE49-F238E27FC236}">
                  <a16:creationId xmlns:a16="http://schemas.microsoft.com/office/drawing/2014/main" xmlns="" id="{42CB45B2-7207-3722-D7F6-64A6F35C14AF}"/>
                </a:ext>
              </a:extLst>
            </p:cNvPr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4217953" y="2210474"/>
              <a:ext cx="167552" cy="255653"/>
            </a:xfrm>
            <a:custGeom>
              <a:avLst/>
              <a:gdLst>
                <a:gd name="T0" fmla="*/ 143225 w 453"/>
                <a:gd name="T1" fmla="*/ 19021 h 661"/>
                <a:gd name="T2" fmla="*/ 137240 w 453"/>
                <a:gd name="T3" fmla="*/ 51780 h 661"/>
                <a:gd name="T4" fmla="*/ 118428 w 453"/>
                <a:gd name="T5" fmla="*/ 85595 h 661"/>
                <a:gd name="T6" fmla="*/ 108167 w 453"/>
                <a:gd name="T7" fmla="*/ 115712 h 661"/>
                <a:gd name="T8" fmla="*/ 99189 w 453"/>
                <a:gd name="T9" fmla="*/ 143716 h 661"/>
                <a:gd name="T10" fmla="*/ 89356 w 453"/>
                <a:gd name="T11" fmla="*/ 173832 h 661"/>
                <a:gd name="T12" fmla="*/ 83798 w 453"/>
                <a:gd name="T13" fmla="*/ 191269 h 661"/>
                <a:gd name="T14" fmla="*/ 76957 w 453"/>
                <a:gd name="T15" fmla="*/ 200779 h 661"/>
                <a:gd name="T16" fmla="*/ 71399 w 453"/>
                <a:gd name="T17" fmla="*/ 206063 h 661"/>
                <a:gd name="T18" fmla="*/ 60283 w 453"/>
                <a:gd name="T19" fmla="*/ 201836 h 661"/>
                <a:gd name="T20" fmla="*/ 51732 w 453"/>
                <a:gd name="T21" fmla="*/ 195495 h 661"/>
                <a:gd name="T22" fmla="*/ 40189 w 453"/>
                <a:gd name="T23" fmla="*/ 193910 h 661"/>
                <a:gd name="T24" fmla="*/ 27362 w 453"/>
                <a:gd name="T25" fmla="*/ 200779 h 661"/>
                <a:gd name="T26" fmla="*/ 18812 w 453"/>
                <a:gd name="T27" fmla="*/ 212932 h 661"/>
                <a:gd name="T28" fmla="*/ 8978 w 453"/>
                <a:gd name="T29" fmla="*/ 239878 h 661"/>
                <a:gd name="T30" fmla="*/ 2993 w 453"/>
                <a:gd name="T31" fmla="*/ 254672 h 661"/>
                <a:gd name="T32" fmla="*/ 428 w 453"/>
                <a:gd name="T33" fmla="*/ 264183 h 661"/>
                <a:gd name="T34" fmla="*/ 3420 w 453"/>
                <a:gd name="T35" fmla="*/ 273165 h 661"/>
                <a:gd name="T36" fmla="*/ 8551 w 453"/>
                <a:gd name="T37" fmla="*/ 277921 h 661"/>
                <a:gd name="T38" fmla="*/ 23515 w 453"/>
                <a:gd name="T39" fmla="*/ 277921 h 661"/>
                <a:gd name="T40" fmla="*/ 30355 w 453"/>
                <a:gd name="T41" fmla="*/ 289545 h 661"/>
                <a:gd name="T42" fmla="*/ 31210 w 453"/>
                <a:gd name="T43" fmla="*/ 311736 h 661"/>
                <a:gd name="T44" fmla="*/ 28645 w 453"/>
                <a:gd name="T45" fmla="*/ 332871 h 661"/>
                <a:gd name="T46" fmla="*/ 185124 w 453"/>
                <a:gd name="T47" fmla="*/ 349250 h 661"/>
                <a:gd name="T48" fmla="*/ 188972 w 453"/>
                <a:gd name="T49" fmla="*/ 307509 h 661"/>
                <a:gd name="T50" fmla="*/ 177429 w 453"/>
                <a:gd name="T51" fmla="*/ 300112 h 661"/>
                <a:gd name="T52" fmla="*/ 159472 w 453"/>
                <a:gd name="T53" fmla="*/ 294300 h 661"/>
                <a:gd name="T54" fmla="*/ 150921 w 453"/>
                <a:gd name="T55" fmla="*/ 290073 h 661"/>
                <a:gd name="T56" fmla="*/ 145363 w 453"/>
                <a:gd name="T57" fmla="*/ 283733 h 661"/>
                <a:gd name="T58" fmla="*/ 142370 w 453"/>
                <a:gd name="T59" fmla="*/ 272109 h 661"/>
                <a:gd name="T60" fmla="*/ 142370 w 453"/>
                <a:gd name="T61" fmla="*/ 245162 h 661"/>
                <a:gd name="T62" fmla="*/ 144081 w 453"/>
                <a:gd name="T63" fmla="*/ 226141 h 661"/>
                <a:gd name="T64" fmla="*/ 150066 w 453"/>
                <a:gd name="T65" fmla="*/ 209761 h 661"/>
                <a:gd name="T66" fmla="*/ 159472 w 453"/>
                <a:gd name="T67" fmla="*/ 192325 h 661"/>
                <a:gd name="T68" fmla="*/ 167595 w 453"/>
                <a:gd name="T69" fmla="*/ 174361 h 661"/>
                <a:gd name="T70" fmla="*/ 170588 w 453"/>
                <a:gd name="T71" fmla="*/ 156925 h 661"/>
                <a:gd name="T72" fmla="*/ 166313 w 453"/>
                <a:gd name="T73" fmla="*/ 141074 h 661"/>
                <a:gd name="T74" fmla="*/ 159472 w 453"/>
                <a:gd name="T75" fmla="*/ 129978 h 661"/>
                <a:gd name="T76" fmla="*/ 146646 w 453"/>
                <a:gd name="T77" fmla="*/ 114655 h 661"/>
                <a:gd name="T78" fmla="*/ 142370 w 453"/>
                <a:gd name="T79" fmla="*/ 101446 h 661"/>
                <a:gd name="T80" fmla="*/ 143225 w 453"/>
                <a:gd name="T81" fmla="*/ 91407 h 661"/>
                <a:gd name="T82" fmla="*/ 150921 w 453"/>
                <a:gd name="T83" fmla="*/ 86652 h 661"/>
                <a:gd name="T84" fmla="*/ 173581 w 453"/>
                <a:gd name="T85" fmla="*/ 85595 h 661"/>
                <a:gd name="T86" fmla="*/ 168878 w 453"/>
                <a:gd name="T87" fmla="*/ 79783 h 661"/>
                <a:gd name="T88" fmla="*/ 162037 w 453"/>
                <a:gd name="T89" fmla="*/ 61819 h 661"/>
                <a:gd name="T90" fmla="*/ 158617 w 453"/>
                <a:gd name="T91" fmla="*/ 38571 h 661"/>
                <a:gd name="T92" fmla="*/ 159472 w 453"/>
                <a:gd name="T93" fmla="*/ 23776 h 661"/>
                <a:gd name="T94" fmla="*/ 156907 w 453"/>
                <a:gd name="T95" fmla="*/ 5812 h 661"/>
                <a:gd name="T96" fmla="*/ 148356 w 453"/>
                <a:gd name="T97" fmla="*/ 0 h 66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89" name="Freeform 449">
              <a:extLst>
                <a:ext uri="{FF2B5EF4-FFF2-40B4-BE49-F238E27FC236}">
                  <a16:creationId xmlns:a16="http://schemas.microsoft.com/office/drawing/2014/main" xmlns="" id="{73D06D68-A6B6-A9FB-8BD4-AD2989E03980}"/>
                </a:ext>
              </a:extLst>
            </p:cNvPr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6338444" y="2033841"/>
              <a:ext cx="48069" cy="41835"/>
            </a:xfrm>
            <a:custGeom>
              <a:avLst/>
              <a:gdLst>
                <a:gd name="T0" fmla="*/ 0 w 126"/>
                <a:gd name="T1" fmla="*/ 30480 h 105"/>
                <a:gd name="T2" fmla="*/ 1764 w 126"/>
                <a:gd name="T3" fmla="*/ 26670 h 105"/>
                <a:gd name="T4" fmla="*/ 4410 w 126"/>
                <a:gd name="T5" fmla="*/ 22316 h 105"/>
                <a:gd name="T6" fmla="*/ 7056 w 126"/>
                <a:gd name="T7" fmla="*/ 17961 h 105"/>
                <a:gd name="T8" fmla="*/ 10583 w 126"/>
                <a:gd name="T9" fmla="*/ 13607 h 105"/>
                <a:gd name="T10" fmla="*/ 16316 w 126"/>
                <a:gd name="T11" fmla="*/ 5987 h 105"/>
                <a:gd name="T12" fmla="*/ 20726 w 126"/>
                <a:gd name="T13" fmla="*/ 0 h 105"/>
                <a:gd name="T14" fmla="*/ 49830 w 126"/>
                <a:gd name="T15" fmla="*/ 0 h 105"/>
                <a:gd name="T16" fmla="*/ 50271 w 126"/>
                <a:gd name="T17" fmla="*/ 2177 h 105"/>
                <a:gd name="T18" fmla="*/ 50712 w 126"/>
                <a:gd name="T19" fmla="*/ 4354 h 105"/>
                <a:gd name="T20" fmla="*/ 51594 w 126"/>
                <a:gd name="T21" fmla="*/ 6531 h 105"/>
                <a:gd name="T22" fmla="*/ 52476 w 126"/>
                <a:gd name="T23" fmla="*/ 7620 h 105"/>
                <a:gd name="T24" fmla="*/ 54681 w 126"/>
                <a:gd name="T25" fmla="*/ 10886 h 105"/>
                <a:gd name="T26" fmla="*/ 55563 w 126"/>
                <a:gd name="T27" fmla="*/ 13063 h 105"/>
                <a:gd name="T28" fmla="*/ 55563 w 126"/>
                <a:gd name="T29" fmla="*/ 17417 h 105"/>
                <a:gd name="T30" fmla="*/ 55122 w 126"/>
                <a:gd name="T31" fmla="*/ 22316 h 105"/>
                <a:gd name="T32" fmla="*/ 54681 w 126"/>
                <a:gd name="T33" fmla="*/ 26126 h 105"/>
                <a:gd name="T34" fmla="*/ 53799 w 126"/>
                <a:gd name="T35" fmla="*/ 29936 h 105"/>
                <a:gd name="T36" fmla="*/ 52476 w 126"/>
                <a:gd name="T37" fmla="*/ 33746 h 105"/>
                <a:gd name="T38" fmla="*/ 51153 w 126"/>
                <a:gd name="T39" fmla="*/ 37556 h 105"/>
                <a:gd name="T40" fmla="*/ 49389 w 126"/>
                <a:gd name="T41" fmla="*/ 40821 h 105"/>
                <a:gd name="T42" fmla="*/ 47625 w 126"/>
                <a:gd name="T43" fmla="*/ 44087 h 105"/>
                <a:gd name="T44" fmla="*/ 45862 w 126"/>
                <a:gd name="T45" fmla="*/ 46809 h 105"/>
                <a:gd name="T46" fmla="*/ 43657 w 126"/>
                <a:gd name="T47" fmla="*/ 48986 h 105"/>
                <a:gd name="T48" fmla="*/ 41011 w 126"/>
                <a:gd name="T49" fmla="*/ 51163 h 105"/>
                <a:gd name="T50" fmla="*/ 38806 w 126"/>
                <a:gd name="T51" fmla="*/ 53884 h 105"/>
                <a:gd name="T52" fmla="*/ 35719 w 126"/>
                <a:gd name="T53" fmla="*/ 54973 h 105"/>
                <a:gd name="T54" fmla="*/ 32632 w 126"/>
                <a:gd name="T55" fmla="*/ 56061 h 105"/>
                <a:gd name="T56" fmla="*/ 29545 w 126"/>
                <a:gd name="T57" fmla="*/ 57150 h 105"/>
                <a:gd name="T58" fmla="*/ 26459 w 126"/>
                <a:gd name="T59" fmla="*/ 57150 h 105"/>
                <a:gd name="T60" fmla="*/ 21167 w 126"/>
                <a:gd name="T61" fmla="*/ 56606 h 105"/>
                <a:gd name="T62" fmla="*/ 16757 w 126"/>
                <a:gd name="T63" fmla="*/ 55517 h 105"/>
                <a:gd name="T64" fmla="*/ 13670 w 126"/>
                <a:gd name="T65" fmla="*/ 53340 h 105"/>
                <a:gd name="T66" fmla="*/ 10583 w 126"/>
                <a:gd name="T67" fmla="*/ 50074 h 105"/>
                <a:gd name="T68" fmla="*/ 8820 w 126"/>
                <a:gd name="T69" fmla="*/ 46809 h 105"/>
                <a:gd name="T70" fmla="*/ 7056 w 126"/>
                <a:gd name="T71" fmla="*/ 42454 h 105"/>
                <a:gd name="T72" fmla="*/ 6174 w 126"/>
                <a:gd name="T73" fmla="*/ 38100 h 105"/>
                <a:gd name="T74" fmla="*/ 5733 w 126"/>
                <a:gd name="T75" fmla="*/ 33746 h 105"/>
                <a:gd name="T76" fmla="*/ 0 w 126"/>
                <a:gd name="T77" fmla="*/ 30480 h 10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90" name="Freeform 450">
              <a:extLst>
                <a:ext uri="{FF2B5EF4-FFF2-40B4-BE49-F238E27FC236}">
                  <a16:creationId xmlns:a16="http://schemas.microsoft.com/office/drawing/2014/main" xmlns="" id="{BC21325F-DDE8-F4F0-90F7-0CD3F227B8EC}"/>
                </a:ext>
              </a:extLst>
            </p:cNvPr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2319948" y="2226744"/>
              <a:ext cx="258194" cy="383479"/>
            </a:xfrm>
            <a:custGeom>
              <a:avLst/>
              <a:gdLst>
                <a:gd name="T0" fmla="*/ 292778 w 684"/>
                <a:gd name="T1" fmla="*/ 300782 h 998"/>
                <a:gd name="T2" fmla="*/ 296705 w 684"/>
                <a:gd name="T3" fmla="*/ 288709 h 998"/>
                <a:gd name="T4" fmla="*/ 292778 w 684"/>
                <a:gd name="T5" fmla="*/ 257738 h 998"/>
                <a:gd name="T6" fmla="*/ 287542 w 684"/>
                <a:gd name="T7" fmla="*/ 222043 h 998"/>
                <a:gd name="T8" fmla="*/ 295832 w 684"/>
                <a:gd name="T9" fmla="*/ 204196 h 998"/>
                <a:gd name="T10" fmla="*/ 243036 w 684"/>
                <a:gd name="T11" fmla="*/ 189498 h 998"/>
                <a:gd name="T12" fmla="*/ 232564 w 684"/>
                <a:gd name="T13" fmla="*/ 171126 h 998"/>
                <a:gd name="T14" fmla="*/ 201585 w 684"/>
                <a:gd name="T15" fmla="*/ 162727 h 998"/>
                <a:gd name="T16" fmla="*/ 175405 w 684"/>
                <a:gd name="T17" fmla="*/ 141730 h 998"/>
                <a:gd name="T18" fmla="*/ 163624 w 684"/>
                <a:gd name="T19" fmla="*/ 105510 h 998"/>
                <a:gd name="T20" fmla="*/ 163624 w 684"/>
                <a:gd name="T21" fmla="*/ 69815 h 998"/>
                <a:gd name="T22" fmla="*/ 172351 w 684"/>
                <a:gd name="T23" fmla="*/ 44094 h 998"/>
                <a:gd name="T24" fmla="*/ 189804 w 684"/>
                <a:gd name="T25" fmla="*/ 25196 h 998"/>
                <a:gd name="T26" fmla="*/ 202021 w 684"/>
                <a:gd name="T27" fmla="*/ 5774 h 998"/>
                <a:gd name="T28" fmla="*/ 169733 w 684"/>
                <a:gd name="T29" fmla="*/ 20472 h 998"/>
                <a:gd name="T30" fmla="*/ 146171 w 684"/>
                <a:gd name="T31" fmla="*/ 35695 h 998"/>
                <a:gd name="T32" fmla="*/ 132644 w 684"/>
                <a:gd name="T33" fmla="*/ 40944 h 998"/>
                <a:gd name="T34" fmla="*/ 121300 w 684"/>
                <a:gd name="T35" fmla="*/ 44094 h 998"/>
                <a:gd name="T36" fmla="*/ 105156 w 684"/>
                <a:gd name="T37" fmla="*/ 42519 h 998"/>
                <a:gd name="T38" fmla="*/ 94684 w 684"/>
                <a:gd name="T39" fmla="*/ 56692 h 998"/>
                <a:gd name="T40" fmla="*/ 85521 w 684"/>
                <a:gd name="T41" fmla="*/ 91862 h 998"/>
                <a:gd name="T42" fmla="*/ 68504 w 684"/>
                <a:gd name="T43" fmla="*/ 119158 h 998"/>
                <a:gd name="T44" fmla="*/ 46687 w 684"/>
                <a:gd name="T45" fmla="*/ 149079 h 998"/>
                <a:gd name="T46" fmla="*/ 39270 w 684"/>
                <a:gd name="T47" fmla="*/ 166401 h 998"/>
                <a:gd name="T48" fmla="*/ 37524 w 684"/>
                <a:gd name="T49" fmla="*/ 186873 h 998"/>
                <a:gd name="T50" fmla="*/ 42324 w 684"/>
                <a:gd name="T51" fmla="*/ 200521 h 998"/>
                <a:gd name="T52" fmla="*/ 42324 w 684"/>
                <a:gd name="T53" fmla="*/ 236741 h 998"/>
                <a:gd name="T54" fmla="*/ 41451 w 684"/>
                <a:gd name="T55" fmla="*/ 275586 h 998"/>
                <a:gd name="T56" fmla="*/ 31416 w 684"/>
                <a:gd name="T57" fmla="*/ 295533 h 998"/>
                <a:gd name="T58" fmla="*/ 16144 w 684"/>
                <a:gd name="T59" fmla="*/ 310756 h 998"/>
                <a:gd name="T60" fmla="*/ 4800 w 684"/>
                <a:gd name="T61" fmla="*/ 321254 h 998"/>
                <a:gd name="T62" fmla="*/ 13090 w 684"/>
                <a:gd name="T63" fmla="*/ 350650 h 998"/>
                <a:gd name="T64" fmla="*/ 53669 w 684"/>
                <a:gd name="T65" fmla="*/ 380571 h 998"/>
                <a:gd name="T66" fmla="*/ 76358 w 684"/>
                <a:gd name="T67" fmla="*/ 382145 h 998"/>
                <a:gd name="T68" fmla="*/ 102101 w 684"/>
                <a:gd name="T69" fmla="*/ 391594 h 998"/>
                <a:gd name="T70" fmla="*/ 130463 w 684"/>
                <a:gd name="T71" fmla="*/ 417315 h 998"/>
                <a:gd name="T72" fmla="*/ 147043 w 684"/>
                <a:gd name="T73" fmla="*/ 446186 h 998"/>
                <a:gd name="T74" fmla="*/ 160133 w 684"/>
                <a:gd name="T75" fmla="*/ 462459 h 998"/>
                <a:gd name="T76" fmla="*/ 179768 w 684"/>
                <a:gd name="T77" fmla="*/ 465083 h 998"/>
                <a:gd name="T78" fmla="*/ 201585 w 684"/>
                <a:gd name="T79" fmla="*/ 459834 h 998"/>
                <a:gd name="T80" fmla="*/ 214675 w 684"/>
                <a:gd name="T81" fmla="*/ 460884 h 998"/>
                <a:gd name="T82" fmla="*/ 224710 w 684"/>
                <a:gd name="T83" fmla="*/ 474532 h 998"/>
                <a:gd name="T84" fmla="*/ 223838 w 684"/>
                <a:gd name="T85" fmla="*/ 483981 h 998"/>
                <a:gd name="T86" fmla="*/ 212929 w 684"/>
                <a:gd name="T87" fmla="*/ 491855 h 998"/>
                <a:gd name="T88" fmla="*/ 212929 w 684"/>
                <a:gd name="T89" fmla="*/ 505503 h 998"/>
                <a:gd name="T90" fmla="*/ 222965 w 684"/>
                <a:gd name="T91" fmla="*/ 521775 h 998"/>
                <a:gd name="T92" fmla="*/ 236491 w 684"/>
                <a:gd name="T93" fmla="*/ 504978 h 998"/>
                <a:gd name="T94" fmla="*/ 246963 w 684"/>
                <a:gd name="T95" fmla="*/ 451960 h 998"/>
                <a:gd name="T96" fmla="*/ 249145 w 684"/>
                <a:gd name="T97" fmla="*/ 421515 h 998"/>
                <a:gd name="T98" fmla="*/ 242163 w 684"/>
                <a:gd name="T99" fmla="*/ 404717 h 998"/>
                <a:gd name="T100" fmla="*/ 228201 w 684"/>
                <a:gd name="T101" fmla="*/ 393169 h 998"/>
                <a:gd name="T102" fmla="*/ 227328 w 684"/>
                <a:gd name="T103" fmla="*/ 379521 h 998"/>
                <a:gd name="T104" fmla="*/ 246963 w 684"/>
                <a:gd name="T105" fmla="*/ 367447 h 998"/>
                <a:gd name="T106" fmla="*/ 242600 w 684"/>
                <a:gd name="T107" fmla="*/ 349075 h 998"/>
                <a:gd name="T108" fmla="*/ 242600 w 684"/>
                <a:gd name="T109" fmla="*/ 340676 h 998"/>
                <a:gd name="T110" fmla="*/ 285796 w 684"/>
                <a:gd name="T111" fmla="*/ 329653 h 99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91" name="Freeform 451">
              <a:extLst>
                <a:ext uri="{FF2B5EF4-FFF2-40B4-BE49-F238E27FC236}">
                  <a16:creationId xmlns:a16="http://schemas.microsoft.com/office/drawing/2014/main" xmlns="" id="{45E1DD38-A37F-36C3-D5D4-1CAF925E91D2}"/>
                </a:ext>
              </a:extLst>
            </p:cNvPr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4268769" y="2423130"/>
              <a:ext cx="162058" cy="201037"/>
            </a:xfrm>
            <a:custGeom>
              <a:avLst/>
              <a:gdLst>
                <a:gd name="T0" fmla="*/ 187325 w 429"/>
                <a:gd name="T1" fmla="*/ 11531 h 524"/>
                <a:gd name="T2" fmla="*/ 186888 w 429"/>
                <a:gd name="T3" fmla="*/ 22537 h 524"/>
                <a:gd name="T4" fmla="*/ 185142 w 429"/>
                <a:gd name="T5" fmla="*/ 28302 h 524"/>
                <a:gd name="T6" fmla="*/ 181212 w 429"/>
                <a:gd name="T7" fmla="*/ 35116 h 524"/>
                <a:gd name="T8" fmla="*/ 180339 w 429"/>
                <a:gd name="T9" fmla="*/ 42454 h 524"/>
                <a:gd name="T10" fmla="*/ 180775 w 429"/>
                <a:gd name="T11" fmla="*/ 83859 h 524"/>
                <a:gd name="T12" fmla="*/ 178155 w 429"/>
                <a:gd name="T13" fmla="*/ 108492 h 524"/>
                <a:gd name="T14" fmla="*/ 172915 w 429"/>
                <a:gd name="T15" fmla="*/ 126313 h 524"/>
                <a:gd name="T16" fmla="*/ 162436 w 429"/>
                <a:gd name="T17" fmla="*/ 145705 h 524"/>
                <a:gd name="T18" fmla="*/ 147589 w 429"/>
                <a:gd name="T19" fmla="*/ 161953 h 524"/>
                <a:gd name="T20" fmla="*/ 139293 w 429"/>
                <a:gd name="T21" fmla="*/ 174531 h 524"/>
                <a:gd name="T22" fmla="*/ 136236 w 429"/>
                <a:gd name="T23" fmla="*/ 215937 h 524"/>
                <a:gd name="T24" fmla="*/ 132743 w 429"/>
                <a:gd name="T25" fmla="*/ 230088 h 524"/>
                <a:gd name="T26" fmla="*/ 126630 w 429"/>
                <a:gd name="T27" fmla="*/ 234805 h 524"/>
                <a:gd name="T28" fmla="*/ 117460 w 429"/>
                <a:gd name="T29" fmla="*/ 238474 h 524"/>
                <a:gd name="T30" fmla="*/ 110474 w 429"/>
                <a:gd name="T31" fmla="*/ 247384 h 524"/>
                <a:gd name="T32" fmla="*/ 102177 w 429"/>
                <a:gd name="T33" fmla="*/ 262059 h 524"/>
                <a:gd name="T34" fmla="*/ 97374 w 429"/>
                <a:gd name="T35" fmla="*/ 264680 h 524"/>
                <a:gd name="T36" fmla="*/ 87768 w 429"/>
                <a:gd name="T37" fmla="*/ 264156 h 524"/>
                <a:gd name="T38" fmla="*/ 82528 w 429"/>
                <a:gd name="T39" fmla="*/ 261011 h 524"/>
                <a:gd name="T40" fmla="*/ 63315 w 429"/>
                <a:gd name="T41" fmla="*/ 262059 h 524"/>
                <a:gd name="T42" fmla="*/ 53709 w 429"/>
                <a:gd name="T43" fmla="*/ 262059 h 524"/>
                <a:gd name="T44" fmla="*/ 49342 w 429"/>
                <a:gd name="T45" fmla="*/ 258914 h 524"/>
                <a:gd name="T46" fmla="*/ 41482 w 429"/>
                <a:gd name="T47" fmla="*/ 258390 h 524"/>
                <a:gd name="T48" fmla="*/ 34059 w 429"/>
                <a:gd name="T49" fmla="*/ 263107 h 524"/>
                <a:gd name="T50" fmla="*/ 27073 w 429"/>
                <a:gd name="T51" fmla="*/ 272017 h 524"/>
                <a:gd name="T52" fmla="*/ 11790 w 429"/>
                <a:gd name="T53" fmla="*/ 257342 h 524"/>
                <a:gd name="T54" fmla="*/ 2620 w 429"/>
                <a:gd name="T55" fmla="*/ 234281 h 524"/>
                <a:gd name="T56" fmla="*/ 10916 w 429"/>
                <a:gd name="T57" fmla="*/ 225371 h 524"/>
                <a:gd name="T58" fmla="*/ 18340 w 429"/>
                <a:gd name="T59" fmla="*/ 222226 h 524"/>
                <a:gd name="T60" fmla="*/ 26636 w 429"/>
                <a:gd name="T61" fmla="*/ 224323 h 524"/>
                <a:gd name="T62" fmla="*/ 25326 w 429"/>
                <a:gd name="T63" fmla="*/ 219081 h 524"/>
                <a:gd name="T64" fmla="*/ 19649 w 429"/>
                <a:gd name="T65" fmla="*/ 202310 h 524"/>
                <a:gd name="T66" fmla="*/ 20523 w 429"/>
                <a:gd name="T67" fmla="*/ 191827 h 524"/>
                <a:gd name="T68" fmla="*/ 24889 w 429"/>
                <a:gd name="T69" fmla="*/ 186586 h 524"/>
                <a:gd name="T70" fmla="*/ 31003 w 429"/>
                <a:gd name="T71" fmla="*/ 184490 h 524"/>
                <a:gd name="T72" fmla="*/ 38862 w 429"/>
                <a:gd name="T73" fmla="*/ 176628 h 524"/>
                <a:gd name="T74" fmla="*/ 45412 w 429"/>
                <a:gd name="T75" fmla="*/ 174531 h 524"/>
                <a:gd name="T76" fmla="*/ 50215 w 429"/>
                <a:gd name="T77" fmla="*/ 179248 h 524"/>
                <a:gd name="T78" fmla="*/ 58948 w 429"/>
                <a:gd name="T79" fmla="*/ 188158 h 524"/>
                <a:gd name="T80" fmla="*/ 67245 w 429"/>
                <a:gd name="T81" fmla="*/ 183966 h 524"/>
                <a:gd name="T82" fmla="*/ 79035 w 429"/>
                <a:gd name="T83" fmla="*/ 185014 h 524"/>
                <a:gd name="T84" fmla="*/ 86894 w 429"/>
                <a:gd name="T85" fmla="*/ 178200 h 524"/>
                <a:gd name="T86" fmla="*/ 91698 w 429"/>
                <a:gd name="T87" fmla="*/ 165097 h 524"/>
                <a:gd name="T88" fmla="*/ 93008 w 429"/>
                <a:gd name="T89" fmla="*/ 151994 h 524"/>
                <a:gd name="T90" fmla="*/ 93881 w 429"/>
                <a:gd name="T91" fmla="*/ 140988 h 524"/>
                <a:gd name="T92" fmla="*/ 87768 w 429"/>
                <a:gd name="T93" fmla="*/ 123692 h 524"/>
                <a:gd name="T94" fmla="*/ 82091 w 429"/>
                <a:gd name="T95" fmla="*/ 106396 h 524"/>
                <a:gd name="T96" fmla="*/ 90388 w 429"/>
                <a:gd name="T97" fmla="*/ 92769 h 524"/>
                <a:gd name="T98" fmla="*/ 91698 w 429"/>
                <a:gd name="T99" fmla="*/ 85955 h 524"/>
                <a:gd name="T100" fmla="*/ 87331 w 429"/>
                <a:gd name="T101" fmla="*/ 81238 h 524"/>
                <a:gd name="T102" fmla="*/ 86021 w 429"/>
                <a:gd name="T103" fmla="*/ 71804 h 524"/>
                <a:gd name="T104" fmla="*/ 82091 w 429"/>
                <a:gd name="T105" fmla="*/ 67611 h 524"/>
                <a:gd name="T106" fmla="*/ 70301 w 429"/>
                <a:gd name="T107" fmla="*/ 69184 h 524"/>
                <a:gd name="T108" fmla="*/ 59822 w 429"/>
                <a:gd name="T109" fmla="*/ 68660 h 524"/>
                <a:gd name="T110" fmla="*/ 54582 w 429"/>
                <a:gd name="T111" fmla="*/ 62370 h 524"/>
                <a:gd name="T112" fmla="*/ 53709 w 429"/>
                <a:gd name="T113" fmla="*/ 53984 h 524"/>
                <a:gd name="T114" fmla="*/ 57638 w 429"/>
                <a:gd name="T115" fmla="*/ 39833 h 524"/>
                <a:gd name="T116" fmla="*/ 133616 w 429"/>
                <a:gd name="T117" fmla="*/ 19916 h 524"/>
                <a:gd name="T118" fmla="*/ 141040 w 429"/>
                <a:gd name="T119" fmla="*/ 8910 h 524"/>
                <a:gd name="T120" fmla="*/ 149773 w 429"/>
                <a:gd name="T121" fmla="*/ 3669 h 524"/>
                <a:gd name="T122" fmla="*/ 163309 w 429"/>
                <a:gd name="T123" fmla="*/ 2621 h 524"/>
                <a:gd name="T124" fmla="*/ 178155 w 429"/>
                <a:gd name="T125" fmla="*/ 2096 h 52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92" name="Freeform 452">
              <a:extLst>
                <a:ext uri="{FF2B5EF4-FFF2-40B4-BE49-F238E27FC236}">
                  <a16:creationId xmlns:a16="http://schemas.microsoft.com/office/drawing/2014/main" xmlns="" id="{5451B97D-A22C-3B4D-B354-4B05C5E4479B}"/>
                </a:ext>
              </a:extLst>
            </p:cNvPr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4296235" y="1429573"/>
              <a:ext cx="109870" cy="83668"/>
            </a:xfrm>
            <a:custGeom>
              <a:avLst/>
              <a:gdLst>
                <a:gd name="T0" fmla="*/ 112647 w 292"/>
                <a:gd name="T1" fmla="*/ 47668 h 223"/>
                <a:gd name="T2" fmla="*/ 72199 w 292"/>
                <a:gd name="T3" fmla="*/ 39467 h 223"/>
                <a:gd name="T4" fmla="*/ 66110 w 292"/>
                <a:gd name="T5" fmla="*/ 40492 h 223"/>
                <a:gd name="T6" fmla="*/ 60455 w 292"/>
                <a:gd name="T7" fmla="*/ 40492 h 223"/>
                <a:gd name="T8" fmla="*/ 54801 w 292"/>
                <a:gd name="T9" fmla="*/ 39467 h 223"/>
                <a:gd name="T10" fmla="*/ 51757 w 292"/>
                <a:gd name="T11" fmla="*/ 47668 h 223"/>
                <a:gd name="T12" fmla="*/ 62630 w 292"/>
                <a:gd name="T13" fmla="*/ 67145 h 223"/>
                <a:gd name="T14" fmla="*/ 73068 w 292"/>
                <a:gd name="T15" fmla="*/ 80471 h 223"/>
                <a:gd name="T16" fmla="*/ 82202 w 292"/>
                <a:gd name="T17" fmla="*/ 94823 h 223"/>
                <a:gd name="T18" fmla="*/ 85682 w 292"/>
                <a:gd name="T19" fmla="*/ 103536 h 223"/>
                <a:gd name="T20" fmla="*/ 89161 w 292"/>
                <a:gd name="T21" fmla="*/ 113787 h 223"/>
                <a:gd name="T22" fmla="*/ 76113 w 292"/>
                <a:gd name="T23" fmla="*/ 114300 h 223"/>
                <a:gd name="T24" fmla="*/ 70024 w 292"/>
                <a:gd name="T25" fmla="*/ 113787 h 223"/>
                <a:gd name="T26" fmla="*/ 63500 w 292"/>
                <a:gd name="T27" fmla="*/ 110712 h 223"/>
                <a:gd name="T28" fmla="*/ 58281 w 292"/>
                <a:gd name="T29" fmla="*/ 107124 h 223"/>
                <a:gd name="T30" fmla="*/ 55236 w 292"/>
                <a:gd name="T31" fmla="*/ 101486 h 223"/>
                <a:gd name="T32" fmla="*/ 52627 w 292"/>
                <a:gd name="T33" fmla="*/ 95848 h 223"/>
                <a:gd name="T34" fmla="*/ 49147 w 292"/>
                <a:gd name="T35" fmla="*/ 92260 h 223"/>
                <a:gd name="T36" fmla="*/ 39579 w 292"/>
                <a:gd name="T37" fmla="*/ 74321 h 223"/>
                <a:gd name="T38" fmla="*/ 29575 w 292"/>
                <a:gd name="T39" fmla="*/ 57919 h 223"/>
                <a:gd name="T40" fmla="*/ 23921 w 292"/>
                <a:gd name="T41" fmla="*/ 50743 h 223"/>
                <a:gd name="T42" fmla="*/ 18267 w 292"/>
                <a:gd name="T43" fmla="*/ 44592 h 223"/>
                <a:gd name="T44" fmla="*/ 11743 w 292"/>
                <a:gd name="T45" fmla="*/ 40492 h 223"/>
                <a:gd name="T46" fmla="*/ 5654 w 292"/>
                <a:gd name="T47" fmla="*/ 38442 h 223"/>
                <a:gd name="T48" fmla="*/ 1740 w 292"/>
                <a:gd name="T49" fmla="*/ 33316 h 223"/>
                <a:gd name="T50" fmla="*/ 435 w 292"/>
                <a:gd name="T51" fmla="*/ 29728 h 223"/>
                <a:gd name="T52" fmla="*/ 0 w 292"/>
                <a:gd name="T53" fmla="*/ 25115 h 223"/>
                <a:gd name="T54" fmla="*/ 17397 w 292"/>
                <a:gd name="T55" fmla="*/ 28191 h 223"/>
                <a:gd name="T56" fmla="*/ 30445 w 292"/>
                <a:gd name="T57" fmla="*/ 28191 h 223"/>
                <a:gd name="T58" fmla="*/ 39579 w 292"/>
                <a:gd name="T59" fmla="*/ 25628 h 223"/>
                <a:gd name="T60" fmla="*/ 46103 w 292"/>
                <a:gd name="T61" fmla="*/ 21015 h 223"/>
                <a:gd name="T62" fmla="*/ 55236 w 292"/>
                <a:gd name="T63" fmla="*/ 10251 h 223"/>
                <a:gd name="T64" fmla="*/ 60021 w 292"/>
                <a:gd name="T65" fmla="*/ 4613 h 223"/>
                <a:gd name="T66" fmla="*/ 66110 w 292"/>
                <a:gd name="T67" fmla="*/ 0 h 223"/>
                <a:gd name="T68" fmla="*/ 74808 w 292"/>
                <a:gd name="T69" fmla="*/ 7176 h 223"/>
                <a:gd name="T70" fmla="*/ 84377 w 292"/>
                <a:gd name="T71" fmla="*/ 13326 h 223"/>
                <a:gd name="T72" fmla="*/ 94815 w 292"/>
                <a:gd name="T73" fmla="*/ 17427 h 223"/>
                <a:gd name="T74" fmla="*/ 106993 w 292"/>
                <a:gd name="T75" fmla="*/ 18965 h 223"/>
                <a:gd name="T76" fmla="*/ 113952 w 292"/>
                <a:gd name="T77" fmla="*/ 17427 h 223"/>
                <a:gd name="T78" fmla="*/ 121346 w 292"/>
                <a:gd name="T79" fmla="*/ 15889 h 223"/>
                <a:gd name="T80" fmla="*/ 123955 w 292"/>
                <a:gd name="T81" fmla="*/ 24090 h 223"/>
                <a:gd name="T82" fmla="*/ 124825 w 292"/>
                <a:gd name="T83" fmla="*/ 25115 h 223"/>
                <a:gd name="T84" fmla="*/ 127000 w 292"/>
                <a:gd name="T85" fmla="*/ 35366 h 22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93" name="Freeform 453">
              <a:extLst>
                <a:ext uri="{FF2B5EF4-FFF2-40B4-BE49-F238E27FC236}">
                  <a16:creationId xmlns:a16="http://schemas.microsoft.com/office/drawing/2014/main" xmlns="" id="{B05FC2AA-4E7C-625A-1876-F836CDCD8FCE}"/>
                </a:ext>
              </a:extLst>
            </p:cNvPr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4253661" y="1326149"/>
              <a:ext cx="145578" cy="56941"/>
            </a:xfrm>
            <a:custGeom>
              <a:avLst/>
              <a:gdLst>
                <a:gd name="T0" fmla="*/ 166499 w 379"/>
                <a:gd name="T1" fmla="*/ 49742 h 147"/>
                <a:gd name="T2" fmla="*/ 159839 w 379"/>
                <a:gd name="T3" fmla="*/ 53446 h 147"/>
                <a:gd name="T4" fmla="*/ 157175 w 379"/>
                <a:gd name="T5" fmla="*/ 57150 h 147"/>
                <a:gd name="T6" fmla="*/ 154067 w 379"/>
                <a:gd name="T7" fmla="*/ 61913 h 147"/>
                <a:gd name="T8" fmla="*/ 147851 w 379"/>
                <a:gd name="T9" fmla="*/ 67205 h 147"/>
                <a:gd name="T10" fmla="*/ 142079 w 379"/>
                <a:gd name="T11" fmla="*/ 69321 h 147"/>
                <a:gd name="T12" fmla="*/ 138083 w 379"/>
                <a:gd name="T13" fmla="*/ 69850 h 147"/>
                <a:gd name="T14" fmla="*/ 133643 w 379"/>
                <a:gd name="T15" fmla="*/ 68792 h 147"/>
                <a:gd name="T16" fmla="*/ 129203 w 379"/>
                <a:gd name="T17" fmla="*/ 66675 h 147"/>
                <a:gd name="T18" fmla="*/ 124763 w 379"/>
                <a:gd name="T19" fmla="*/ 62971 h 147"/>
                <a:gd name="T20" fmla="*/ 122099 w 379"/>
                <a:gd name="T21" fmla="*/ 61384 h 147"/>
                <a:gd name="T22" fmla="*/ 119435 w 379"/>
                <a:gd name="T23" fmla="*/ 62442 h 147"/>
                <a:gd name="T24" fmla="*/ 118547 w 379"/>
                <a:gd name="T25" fmla="*/ 65088 h 147"/>
                <a:gd name="T26" fmla="*/ 118103 w 379"/>
                <a:gd name="T27" fmla="*/ 74084 h 147"/>
                <a:gd name="T28" fmla="*/ 114107 w 379"/>
                <a:gd name="T29" fmla="*/ 76730 h 147"/>
                <a:gd name="T30" fmla="*/ 108335 w 379"/>
                <a:gd name="T31" fmla="*/ 74084 h 147"/>
                <a:gd name="T32" fmla="*/ 101675 w 379"/>
                <a:gd name="T33" fmla="*/ 69321 h 147"/>
                <a:gd name="T34" fmla="*/ 50172 w 379"/>
                <a:gd name="T35" fmla="*/ 74613 h 147"/>
                <a:gd name="T36" fmla="*/ 35520 w 379"/>
                <a:gd name="T37" fmla="*/ 65617 h 147"/>
                <a:gd name="T38" fmla="*/ 25752 w 379"/>
                <a:gd name="T39" fmla="*/ 57680 h 147"/>
                <a:gd name="T40" fmla="*/ 19980 w 379"/>
                <a:gd name="T41" fmla="*/ 49742 h 147"/>
                <a:gd name="T42" fmla="*/ 16428 w 379"/>
                <a:gd name="T43" fmla="*/ 43392 h 147"/>
                <a:gd name="T44" fmla="*/ 11544 w 379"/>
                <a:gd name="T45" fmla="*/ 31221 h 147"/>
                <a:gd name="T46" fmla="*/ 7104 w 379"/>
                <a:gd name="T47" fmla="*/ 25400 h 147"/>
                <a:gd name="T48" fmla="*/ 0 w 379"/>
                <a:gd name="T49" fmla="*/ 19050 h 147"/>
                <a:gd name="T50" fmla="*/ 12876 w 379"/>
                <a:gd name="T51" fmla="*/ 21167 h 147"/>
                <a:gd name="T52" fmla="*/ 23088 w 379"/>
                <a:gd name="T53" fmla="*/ 20108 h 147"/>
                <a:gd name="T54" fmla="*/ 31968 w 379"/>
                <a:gd name="T55" fmla="*/ 17463 h 147"/>
                <a:gd name="T56" fmla="*/ 38628 w 379"/>
                <a:gd name="T57" fmla="*/ 13229 h 147"/>
                <a:gd name="T58" fmla="*/ 52836 w 379"/>
                <a:gd name="T59" fmla="*/ 4233 h 147"/>
                <a:gd name="T60" fmla="*/ 61272 w 379"/>
                <a:gd name="T61" fmla="*/ 1058 h 147"/>
                <a:gd name="T62" fmla="*/ 70596 w 379"/>
                <a:gd name="T63" fmla="*/ 0 h 147"/>
                <a:gd name="T64" fmla="*/ 88799 w 379"/>
                <a:gd name="T65" fmla="*/ 12171 h 147"/>
                <a:gd name="T66" fmla="*/ 108335 w 379"/>
                <a:gd name="T67" fmla="*/ 23813 h 147"/>
                <a:gd name="T68" fmla="*/ 129647 w 379"/>
                <a:gd name="T69" fmla="*/ 35454 h 147"/>
                <a:gd name="T70" fmla="*/ 147851 w 379"/>
                <a:gd name="T71" fmla="*/ 42334 h 147"/>
                <a:gd name="T72" fmla="*/ 157175 w 379"/>
                <a:gd name="T73" fmla="*/ 45509 h 147"/>
                <a:gd name="T74" fmla="*/ 168275 w 379"/>
                <a:gd name="T75" fmla="*/ 48684 h 14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94" name="Freeform 454">
              <a:extLst>
                <a:ext uri="{FF2B5EF4-FFF2-40B4-BE49-F238E27FC236}">
                  <a16:creationId xmlns:a16="http://schemas.microsoft.com/office/drawing/2014/main" xmlns="" id="{17F2616B-77F4-B028-B12D-BE93085BD507}"/>
                </a:ext>
              </a:extLst>
            </p:cNvPr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4222073" y="1220402"/>
              <a:ext cx="26094" cy="44158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8103 h 67"/>
                <a:gd name="T4" fmla="*/ 0 w 61"/>
                <a:gd name="T5" fmla="*/ 16207 h 67"/>
                <a:gd name="T6" fmla="*/ 494 w 61"/>
                <a:gd name="T7" fmla="*/ 21609 h 67"/>
                <a:gd name="T8" fmla="*/ 989 w 61"/>
                <a:gd name="T9" fmla="*/ 27011 h 67"/>
                <a:gd name="T10" fmla="*/ 1483 w 61"/>
                <a:gd name="T11" fmla="*/ 32413 h 67"/>
                <a:gd name="T12" fmla="*/ 2967 w 61"/>
                <a:gd name="T13" fmla="*/ 37816 h 67"/>
                <a:gd name="T14" fmla="*/ 5934 w 61"/>
                <a:gd name="T15" fmla="*/ 49521 h 67"/>
                <a:gd name="T16" fmla="*/ 10384 w 61"/>
                <a:gd name="T17" fmla="*/ 60325 h 67"/>
                <a:gd name="T18" fmla="*/ 13845 w 61"/>
                <a:gd name="T19" fmla="*/ 58524 h 67"/>
                <a:gd name="T20" fmla="*/ 17306 w 61"/>
                <a:gd name="T21" fmla="*/ 54923 h 67"/>
                <a:gd name="T22" fmla="*/ 20767 w 61"/>
                <a:gd name="T23" fmla="*/ 52222 h 67"/>
                <a:gd name="T24" fmla="*/ 23734 w 61"/>
                <a:gd name="T25" fmla="*/ 47720 h 67"/>
                <a:gd name="T26" fmla="*/ 26206 w 61"/>
                <a:gd name="T27" fmla="*/ 42318 h 67"/>
                <a:gd name="T28" fmla="*/ 28184 w 61"/>
                <a:gd name="T29" fmla="*/ 36015 h 67"/>
                <a:gd name="T30" fmla="*/ 29173 w 61"/>
                <a:gd name="T31" fmla="*/ 28812 h 67"/>
                <a:gd name="T32" fmla="*/ 30162 w 61"/>
                <a:gd name="T33" fmla="*/ 21609 h 67"/>
                <a:gd name="T34" fmla="*/ 26206 w 61"/>
                <a:gd name="T35" fmla="*/ 12605 h 67"/>
                <a:gd name="T36" fmla="*/ 20273 w 61"/>
                <a:gd name="T37" fmla="*/ 0 h 67"/>
                <a:gd name="T38" fmla="*/ 13845 w 61"/>
                <a:gd name="T39" fmla="*/ 2701 h 67"/>
                <a:gd name="T40" fmla="*/ 8900 w 61"/>
                <a:gd name="T41" fmla="*/ 3601 h 67"/>
                <a:gd name="T42" fmla="*/ 6428 w 61"/>
                <a:gd name="T43" fmla="*/ 3601 h 67"/>
                <a:gd name="T44" fmla="*/ 4945 w 61"/>
                <a:gd name="T45" fmla="*/ 2701 h 67"/>
                <a:gd name="T46" fmla="*/ 2967 w 61"/>
                <a:gd name="T47" fmla="*/ 1801 h 67"/>
                <a:gd name="T48" fmla="*/ 0 w 61"/>
                <a:gd name="T49" fmla="*/ 0 h 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95" name="Freeform 455">
              <a:extLst>
                <a:ext uri="{FF2B5EF4-FFF2-40B4-BE49-F238E27FC236}">
                  <a16:creationId xmlns:a16="http://schemas.microsoft.com/office/drawing/2014/main" xmlns="" id="{8C6187A5-54F9-4F61-05B6-95DA0C2BB754}"/>
                </a:ext>
              </a:extLst>
            </p:cNvPr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4197352" y="1223887"/>
              <a:ext cx="21974" cy="42997"/>
            </a:xfrm>
            <a:custGeom>
              <a:avLst/>
              <a:gdLst>
                <a:gd name="T0" fmla="*/ 0 w 60"/>
                <a:gd name="T1" fmla="*/ 6408 h 55"/>
                <a:gd name="T2" fmla="*/ 0 w 60"/>
                <a:gd name="T3" fmla="*/ 25631 h 55"/>
                <a:gd name="T4" fmla="*/ 2117 w 60"/>
                <a:gd name="T5" fmla="*/ 34175 h 55"/>
                <a:gd name="T6" fmla="*/ 4233 w 60"/>
                <a:gd name="T7" fmla="*/ 42719 h 55"/>
                <a:gd name="T8" fmla="*/ 6773 w 60"/>
                <a:gd name="T9" fmla="*/ 48058 h 55"/>
                <a:gd name="T10" fmla="*/ 8890 w 60"/>
                <a:gd name="T11" fmla="*/ 52330 h 55"/>
                <a:gd name="T12" fmla="*/ 11430 w 60"/>
                <a:gd name="T13" fmla="*/ 55534 h 55"/>
                <a:gd name="T14" fmla="*/ 13970 w 60"/>
                <a:gd name="T15" fmla="*/ 57670 h 55"/>
                <a:gd name="T16" fmla="*/ 16933 w 60"/>
                <a:gd name="T17" fmla="*/ 58738 h 55"/>
                <a:gd name="T18" fmla="*/ 19473 w 60"/>
                <a:gd name="T19" fmla="*/ 58738 h 55"/>
                <a:gd name="T20" fmla="*/ 22437 w 60"/>
                <a:gd name="T21" fmla="*/ 55534 h 55"/>
                <a:gd name="T22" fmla="*/ 25400 w 60"/>
                <a:gd name="T23" fmla="*/ 52330 h 55"/>
                <a:gd name="T24" fmla="*/ 21167 w 60"/>
                <a:gd name="T25" fmla="*/ 36311 h 55"/>
                <a:gd name="T26" fmla="*/ 17780 w 60"/>
                <a:gd name="T27" fmla="*/ 23495 h 55"/>
                <a:gd name="T28" fmla="*/ 16510 w 60"/>
                <a:gd name="T29" fmla="*/ 18155 h 55"/>
                <a:gd name="T30" fmla="*/ 14817 w 60"/>
                <a:gd name="T31" fmla="*/ 12816 h 55"/>
                <a:gd name="T32" fmla="*/ 14393 w 60"/>
                <a:gd name="T33" fmla="*/ 6408 h 55"/>
                <a:gd name="T34" fmla="*/ 13970 w 60"/>
                <a:gd name="T35" fmla="*/ 0 h 55"/>
                <a:gd name="T36" fmla="*/ 9737 w 60"/>
                <a:gd name="T37" fmla="*/ 1068 h 55"/>
                <a:gd name="T38" fmla="*/ 6350 w 60"/>
                <a:gd name="T39" fmla="*/ 3204 h 55"/>
                <a:gd name="T40" fmla="*/ 2963 w 60"/>
                <a:gd name="T41" fmla="*/ 5340 h 55"/>
                <a:gd name="T42" fmla="*/ 0 w 60"/>
                <a:gd name="T43" fmla="*/ 6408 h 5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96" name="Freeform 456">
              <a:extLst>
                <a:ext uri="{FF2B5EF4-FFF2-40B4-BE49-F238E27FC236}">
                  <a16:creationId xmlns:a16="http://schemas.microsoft.com/office/drawing/2014/main" xmlns="" id="{692FF2EB-45FB-CD98-2F38-C0FB917A3350}"/>
                </a:ext>
              </a:extLst>
            </p:cNvPr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4171258" y="1184378"/>
              <a:ext cx="45322" cy="56941"/>
            </a:xfrm>
            <a:custGeom>
              <a:avLst/>
              <a:gdLst>
                <a:gd name="T0" fmla="*/ 32306 w 120"/>
                <a:gd name="T1" fmla="*/ 67802 h 148"/>
                <a:gd name="T2" fmla="*/ 30560 w 120"/>
                <a:gd name="T3" fmla="*/ 68853 h 148"/>
                <a:gd name="T4" fmla="*/ 29250 w 120"/>
                <a:gd name="T5" fmla="*/ 69378 h 148"/>
                <a:gd name="T6" fmla="*/ 27940 w 120"/>
                <a:gd name="T7" fmla="*/ 69904 h 148"/>
                <a:gd name="T8" fmla="*/ 26194 w 120"/>
                <a:gd name="T9" fmla="*/ 69904 h 148"/>
                <a:gd name="T10" fmla="*/ 24448 w 120"/>
                <a:gd name="T11" fmla="*/ 69904 h 148"/>
                <a:gd name="T12" fmla="*/ 23138 w 120"/>
                <a:gd name="T13" fmla="*/ 69378 h 148"/>
                <a:gd name="T14" fmla="*/ 21828 w 120"/>
                <a:gd name="T15" fmla="*/ 68853 h 148"/>
                <a:gd name="T16" fmla="*/ 20519 w 120"/>
                <a:gd name="T17" fmla="*/ 67802 h 148"/>
                <a:gd name="T18" fmla="*/ 17899 w 120"/>
                <a:gd name="T19" fmla="*/ 67276 h 148"/>
                <a:gd name="T20" fmla="*/ 14843 w 120"/>
                <a:gd name="T21" fmla="*/ 65699 h 148"/>
                <a:gd name="T22" fmla="*/ 11351 w 120"/>
                <a:gd name="T23" fmla="*/ 63071 h 148"/>
                <a:gd name="T24" fmla="*/ 8295 w 120"/>
                <a:gd name="T25" fmla="*/ 60443 h 148"/>
                <a:gd name="T26" fmla="*/ 4802 w 120"/>
                <a:gd name="T27" fmla="*/ 56764 h 148"/>
                <a:gd name="T28" fmla="*/ 2619 w 120"/>
                <a:gd name="T29" fmla="*/ 53085 h 148"/>
                <a:gd name="T30" fmla="*/ 1310 w 120"/>
                <a:gd name="T31" fmla="*/ 50983 h 148"/>
                <a:gd name="T32" fmla="*/ 873 w 120"/>
                <a:gd name="T33" fmla="*/ 49406 h 148"/>
                <a:gd name="T34" fmla="*/ 437 w 120"/>
                <a:gd name="T35" fmla="*/ 47304 h 148"/>
                <a:gd name="T36" fmla="*/ 0 w 120"/>
                <a:gd name="T37" fmla="*/ 45727 h 148"/>
                <a:gd name="T38" fmla="*/ 873 w 120"/>
                <a:gd name="T39" fmla="*/ 38368 h 148"/>
                <a:gd name="T40" fmla="*/ 3493 w 120"/>
                <a:gd name="T41" fmla="*/ 28908 h 148"/>
                <a:gd name="T42" fmla="*/ 6112 w 120"/>
                <a:gd name="T43" fmla="*/ 18396 h 148"/>
                <a:gd name="T44" fmla="*/ 8731 w 120"/>
                <a:gd name="T45" fmla="*/ 9461 h 148"/>
                <a:gd name="T46" fmla="*/ 13970 w 120"/>
                <a:gd name="T47" fmla="*/ 8935 h 148"/>
                <a:gd name="T48" fmla="*/ 18336 w 120"/>
                <a:gd name="T49" fmla="*/ 8410 h 148"/>
                <a:gd name="T50" fmla="*/ 22265 w 120"/>
                <a:gd name="T51" fmla="*/ 7358 h 148"/>
                <a:gd name="T52" fmla="*/ 25321 w 120"/>
                <a:gd name="T53" fmla="*/ 5782 h 148"/>
                <a:gd name="T54" fmla="*/ 30560 w 120"/>
                <a:gd name="T55" fmla="*/ 2628 h 148"/>
                <a:gd name="T56" fmla="*/ 34925 w 120"/>
                <a:gd name="T57" fmla="*/ 0 h 148"/>
                <a:gd name="T58" fmla="*/ 37108 w 120"/>
                <a:gd name="T59" fmla="*/ 1051 h 148"/>
                <a:gd name="T60" fmla="*/ 40601 w 120"/>
                <a:gd name="T61" fmla="*/ 3679 h 148"/>
                <a:gd name="T62" fmla="*/ 42784 w 120"/>
                <a:gd name="T63" fmla="*/ 5256 h 148"/>
                <a:gd name="T64" fmla="*/ 44530 w 120"/>
                <a:gd name="T65" fmla="*/ 6833 h 148"/>
                <a:gd name="T66" fmla="*/ 46276 w 120"/>
                <a:gd name="T67" fmla="*/ 8410 h 148"/>
                <a:gd name="T68" fmla="*/ 46713 w 120"/>
                <a:gd name="T69" fmla="*/ 9461 h 148"/>
                <a:gd name="T70" fmla="*/ 43657 w 120"/>
                <a:gd name="T71" fmla="*/ 14717 h 148"/>
                <a:gd name="T72" fmla="*/ 40601 w 120"/>
                <a:gd name="T73" fmla="*/ 19447 h 148"/>
                <a:gd name="T74" fmla="*/ 41474 w 120"/>
                <a:gd name="T75" fmla="*/ 22075 h 148"/>
                <a:gd name="T76" fmla="*/ 42784 w 120"/>
                <a:gd name="T77" fmla="*/ 25754 h 148"/>
                <a:gd name="T78" fmla="*/ 44530 w 120"/>
                <a:gd name="T79" fmla="*/ 29433 h 148"/>
                <a:gd name="T80" fmla="*/ 46713 w 120"/>
                <a:gd name="T81" fmla="*/ 33112 h 148"/>
                <a:gd name="T82" fmla="*/ 50205 w 120"/>
                <a:gd name="T83" fmla="*/ 39420 h 148"/>
                <a:gd name="T84" fmla="*/ 52388 w 120"/>
                <a:gd name="T85" fmla="*/ 41522 h 148"/>
                <a:gd name="T86" fmla="*/ 49332 w 120"/>
                <a:gd name="T87" fmla="*/ 42573 h 148"/>
                <a:gd name="T88" fmla="*/ 46713 w 120"/>
                <a:gd name="T89" fmla="*/ 44150 h 148"/>
                <a:gd name="T90" fmla="*/ 43657 w 120"/>
                <a:gd name="T91" fmla="*/ 45727 h 148"/>
                <a:gd name="T92" fmla="*/ 41910 w 120"/>
                <a:gd name="T93" fmla="*/ 47829 h 148"/>
                <a:gd name="T94" fmla="*/ 39291 w 120"/>
                <a:gd name="T95" fmla="*/ 49931 h 148"/>
                <a:gd name="T96" fmla="*/ 37981 w 120"/>
                <a:gd name="T97" fmla="*/ 52034 h 148"/>
                <a:gd name="T98" fmla="*/ 35798 w 120"/>
                <a:gd name="T99" fmla="*/ 54662 h 148"/>
                <a:gd name="T100" fmla="*/ 34925 w 120"/>
                <a:gd name="T101" fmla="*/ 57290 h 148"/>
                <a:gd name="T102" fmla="*/ 34052 w 120"/>
                <a:gd name="T103" fmla="*/ 59918 h 148"/>
                <a:gd name="T104" fmla="*/ 33616 w 120"/>
                <a:gd name="T105" fmla="*/ 63071 h 148"/>
                <a:gd name="T106" fmla="*/ 33179 w 120"/>
                <a:gd name="T107" fmla="*/ 65699 h 148"/>
                <a:gd name="T108" fmla="*/ 32743 w 120"/>
                <a:gd name="T109" fmla="*/ 68327 h 148"/>
                <a:gd name="T110" fmla="*/ 33179 w 120"/>
                <a:gd name="T111" fmla="*/ 70955 h 148"/>
                <a:gd name="T112" fmla="*/ 33616 w 120"/>
                <a:gd name="T113" fmla="*/ 73583 h 148"/>
                <a:gd name="T114" fmla="*/ 34052 w 120"/>
                <a:gd name="T115" fmla="*/ 75686 h 148"/>
                <a:gd name="T116" fmla="*/ 34925 w 120"/>
                <a:gd name="T117" fmla="*/ 77788 h 148"/>
                <a:gd name="T118" fmla="*/ 32306 w 120"/>
                <a:gd name="T119" fmla="*/ 67802 h 14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97" name="Freeform 457">
              <a:extLst>
                <a:ext uri="{FF2B5EF4-FFF2-40B4-BE49-F238E27FC236}">
                  <a16:creationId xmlns:a16="http://schemas.microsoft.com/office/drawing/2014/main" xmlns="" id="{D1647F4F-0C7D-ABC2-2045-3B518CF11FB6}"/>
                </a:ext>
              </a:extLst>
            </p:cNvPr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4544816" y="1773542"/>
              <a:ext cx="236220" cy="225439"/>
            </a:xfrm>
            <a:custGeom>
              <a:avLst/>
              <a:gdLst>
                <a:gd name="T0" fmla="*/ 9087 w 631"/>
                <a:gd name="T1" fmla="*/ 1040 h 592"/>
                <a:gd name="T2" fmla="*/ 13847 w 631"/>
                <a:gd name="T3" fmla="*/ 2081 h 592"/>
                <a:gd name="T4" fmla="*/ 23367 w 631"/>
                <a:gd name="T5" fmla="*/ 4162 h 592"/>
                <a:gd name="T6" fmla="*/ 33753 w 631"/>
                <a:gd name="T7" fmla="*/ 5723 h 592"/>
                <a:gd name="T8" fmla="*/ 45003 w 631"/>
                <a:gd name="T9" fmla="*/ 9884 h 592"/>
                <a:gd name="T10" fmla="*/ 56254 w 631"/>
                <a:gd name="T11" fmla="*/ 16647 h 592"/>
                <a:gd name="T12" fmla="*/ 63178 w 631"/>
                <a:gd name="T13" fmla="*/ 20809 h 592"/>
                <a:gd name="T14" fmla="*/ 68803 w 631"/>
                <a:gd name="T15" fmla="*/ 22370 h 592"/>
                <a:gd name="T16" fmla="*/ 81785 w 631"/>
                <a:gd name="T17" fmla="*/ 22370 h 592"/>
                <a:gd name="T18" fmla="*/ 98229 w 631"/>
                <a:gd name="T19" fmla="*/ 19248 h 592"/>
                <a:gd name="T20" fmla="*/ 119865 w 631"/>
                <a:gd name="T21" fmla="*/ 11965 h 592"/>
                <a:gd name="T22" fmla="*/ 172658 w 631"/>
                <a:gd name="T23" fmla="*/ 19769 h 592"/>
                <a:gd name="T24" fmla="*/ 174389 w 631"/>
                <a:gd name="T25" fmla="*/ 35896 h 592"/>
                <a:gd name="T26" fmla="*/ 177418 w 631"/>
                <a:gd name="T27" fmla="*/ 49422 h 592"/>
                <a:gd name="T28" fmla="*/ 180447 w 631"/>
                <a:gd name="T29" fmla="*/ 61907 h 592"/>
                <a:gd name="T30" fmla="*/ 184774 w 631"/>
                <a:gd name="T31" fmla="*/ 72832 h 592"/>
                <a:gd name="T32" fmla="*/ 194727 w 631"/>
                <a:gd name="T33" fmla="*/ 91040 h 592"/>
                <a:gd name="T34" fmla="*/ 204247 w 631"/>
                <a:gd name="T35" fmla="*/ 106127 h 592"/>
                <a:gd name="T36" fmla="*/ 208574 w 631"/>
                <a:gd name="T37" fmla="*/ 115491 h 592"/>
                <a:gd name="T38" fmla="*/ 209872 w 631"/>
                <a:gd name="T39" fmla="*/ 124855 h 592"/>
                <a:gd name="T40" fmla="*/ 212468 w 631"/>
                <a:gd name="T41" fmla="*/ 132658 h 592"/>
                <a:gd name="T42" fmla="*/ 214632 w 631"/>
                <a:gd name="T43" fmla="*/ 135780 h 592"/>
                <a:gd name="T44" fmla="*/ 218527 w 631"/>
                <a:gd name="T45" fmla="*/ 138381 h 592"/>
                <a:gd name="T46" fmla="*/ 221988 w 631"/>
                <a:gd name="T47" fmla="*/ 140462 h 592"/>
                <a:gd name="T48" fmla="*/ 224585 w 631"/>
                <a:gd name="T49" fmla="*/ 144623 h 592"/>
                <a:gd name="T50" fmla="*/ 230643 w 631"/>
                <a:gd name="T51" fmla="*/ 157629 h 592"/>
                <a:gd name="T52" fmla="*/ 234105 w 631"/>
                <a:gd name="T53" fmla="*/ 172195 h 592"/>
                <a:gd name="T54" fmla="*/ 235836 w 631"/>
                <a:gd name="T55" fmla="*/ 186242 h 592"/>
                <a:gd name="T56" fmla="*/ 237134 w 631"/>
                <a:gd name="T57" fmla="*/ 191444 h 592"/>
                <a:gd name="T58" fmla="*/ 241028 w 631"/>
                <a:gd name="T59" fmla="*/ 198207 h 592"/>
                <a:gd name="T60" fmla="*/ 252279 w 631"/>
                <a:gd name="T61" fmla="*/ 215895 h 592"/>
                <a:gd name="T62" fmla="*/ 264828 w 631"/>
                <a:gd name="T63" fmla="*/ 232542 h 592"/>
                <a:gd name="T64" fmla="*/ 273050 w 631"/>
                <a:gd name="T65" fmla="*/ 240866 h 592"/>
                <a:gd name="T66" fmla="*/ 264828 w 631"/>
                <a:gd name="T67" fmla="*/ 250230 h 592"/>
                <a:gd name="T68" fmla="*/ 270021 w 631"/>
                <a:gd name="T69" fmla="*/ 258033 h 592"/>
                <a:gd name="T70" fmla="*/ 270886 w 631"/>
                <a:gd name="T71" fmla="*/ 263756 h 592"/>
                <a:gd name="T72" fmla="*/ 270886 w 631"/>
                <a:gd name="T73" fmla="*/ 268438 h 592"/>
                <a:gd name="T74" fmla="*/ 273050 w 631"/>
                <a:gd name="T75" fmla="*/ 276241 h 592"/>
                <a:gd name="T76" fmla="*/ 270886 w 631"/>
                <a:gd name="T77" fmla="*/ 280403 h 592"/>
                <a:gd name="T78" fmla="*/ 266992 w 631"/>
                <a:gd name="T79" fmla="*/ 285085 h 592"/>
                <a:gd name="T80" fmla="*/ 256174 w 631"/>
                <a:gd name="T81" fmla="*/ 296010 h 592"/>
                <a:gd name="T82" fmla="*/ 241461 w 631"/>
                <a:gd name="T83" fmla="*/ 307975 h 592"/>
                <a:gd name="T84" fmla="*/ 19905 w 631"/>
                <a:gd name="T85" fmla="*/ 90520 h 592"/>
                <a:gd name="T86" fmla="*/ 10818 w 631"/>
                <a:gd name="T87" fmla="*/ 81676 h 592"/>
                <a:gd name="T88" fmla="*/ 4760 w 631"/>
                <a:gd name="T89" fmla="*/ 71791 h 592"/>
                <a:gd name="T90" fmla="*/ 865 w 631"/>
                <a:gd name="T91" fmla="*/ 60867 h 592"/>
                <a:gd name="T92" fmla="*/ 0 w 631"/>
                <a:gd name="T93" fmla="*/ 48381 h 592"/>
                <a:gd name="T94" fmla="*/ 1298 w 631"/>
                <a:gd name="T95" fmla="*/ 46300 h 592"/>
                <a:gd name="T96" fmla="*/ 4327 w 631"/>
                <a:gd name="T97" fmla="*/ 43179 h 592"/>
                <a:gd name="T98" fmla="*/ 7356 w 631"/>
                <a:gd name="T99" fmla="*/ 40058 h 592"/>
                <a:gd name="T100" fmla="*/ 8655 w 631"/>
                <a:gd name="T101" fmla="*/ 35896 h 592"/>
                <a:gd name="T102" fmla="*/ 7789 w 631"/>
                <a:gd name="T103" fmla="*/ 27572 h 592"/>
                <a:gd name="T104" fmla="*/ 5625 w 631"/>
                <a:gd name="T105" fmla="*/ 21850 h 592"/>
                <a:gd name="T106" fmla="*/ 3895 w 631"/>
                <a:gd name="T107" fmla="*/ 17688 h 592"/>
                <a:gd name="T108" fmla="*/ 3029 w 631"/>
                <a:gd name="T109" fmla="*/ 13526 h 592"/>
                <a:gd name="T110" fmla="*/ 5625 w 631"/>
                <a:gd name="T111" fmla="*/ 0 h 59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98" name="Freeform 458">
              <a:extLst>
                <a:ext uri="{FF2B5EF4-FFF2-40B4-BE49-F238E27FC236}">
                  <a16:creationId xmlns:a16="http://schemas.microsoft.com/office/drawing/2014/main" xmlns="" id="{BD86ECEB-B9CC-D5FF-AEB9-31BA4172768E}"/>
                </a:ext>
              </a:extLst>
            </p:cNvPr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4194606" y="1506267"/>
              <a:ext cx="15107" cy="41835"/>
            </a:xfrm>
            <a:custGeom>
              <a:avLst/>
              <a:gdLst>
                <a:gd name="T0" fmla="*/ 3056 w 40"/>
                <a:gd name="T1" fmla="*/ 19050 h 93"/>
                <a:gd name="T2" fmla="*/ 4366 w 40"/>
                <a:gd name="T3" fmla="*/ 18435 h 93"/>
                <a:gd name="T4" fmla="*/ 6112 w 40"/>
                <a:gd name="T5" fmla="*/ 15977 h 93"/>
                <a:gd name="T6" fmla="*/ 8731 w 40"/>
                <a:gd name="T7" fmla="*/ 12290 h 93"/>
                <a:gd name="T8" fmla="*/ 10914 w 40"/>
                <a:gd name="T9" fmla="*/ 9218 h 93"/>
                <a:gd name="T10" fmla="*/ 15279 w 40"/>
                <a:gd name="T11" fmla="*/ 2458 h 93"/>
                <a:gd name="T12" fmla="*/ 17462 w 40"/>
                <a:gd name="T13" fmla="*/ 0 h 93"/>
                <a:gd name="T14" fmla="*/ 16152 w 40"/>
                <a:gd name="T15" fmla="*/ 15977 h 93"/>
                <a:gd name="T16" fmla="*/ 15279 w 40"/>
                <a:gd name="T17" fmla="*/ 32569 h 93"/>
                <a:gd name="T18" fmla="*/ 14843 w 40"/>
                <a:gd name="T19" fmla="*/ 39944 h 93"/>
                <a:gd name="T20" fmla="*/ 14843 w 40"/>
                <a:gd name="T21" fmla="*/ 47318 h 93"/>
                <a:gd name="T22" fmla="*/ 15279 w 40"/>
                <a:gd name="T23" fmla="*/ 50390 h 93"/>
                <a:gd name="T24" fmla="*/ 15716 w 40"/>
                <a:gd name="T25" fmla="*/ 52848 h 93"/>
                <a:gd name="T26" fmla="*/ 16152 w 40"/>
                <a:gd name="T27" fmla="*/ 55306 h 93"/>
                <a:gd name="T28" fmla="*/ 17462 w 40"/>
                <a:gd name="T29" fmla="*/ 57150 h 93"/>
                <a:gd name="T30" fmla="*/ 11350 w 40"/>
                <a:gd name="T31" fmla="*/ 57150 h 93"/>
                <a:gd name="T32" fmla="*/ 5675 w 40"/>
                <a:gd name="T33" fmla="*/ 57150 h 93"/>
                <a:gd name="T34" fmla="*/ 4802 w 40"/>
                <a:gd name="T35" fmla="*/ 56535 h 93"/>
                <a:gd name="T36" fmla="*/ 3492 w 40"/>
                <a:gd name="T37" fmla="*/ 55921 h 93"/>
                <a:gd name="T38" fmla="*/ 2619 w 40"/>
                <a:gd name="T39" fmla="*/ 54077 h 93"/>
                <a:gd name="T40" fmla="*/ 1746 w 40"/>
                <a:gd name="T41" fmla="*/ 52848 h 93"/>
                <a:gd name="T42" fmla="*/ 437 w 40"/>
                <a:gd name="T43" fmla="*/ 49161 h 93"/>
                <a:gd name="T44" fmla="*/ 0 w 40"/>
                <a:gd name="T45" fmla="*/ 44860 h 93"/>
                <a:gd name="T46" fmla="*/ 437 w 40"/>
                <a:gd name="T47" fmla="*/ 39329 h 93"/>
                <a:gd name="T48" fmla="*/ 1310 w 40"/>
                <a:gd name="T49" fmla="*/ 30726 h 93"/>
                <a:gd name="T50" fmla="*/ 2619 w 40"/>
                <a:gd name="T51" fmla="*/ 22737 h 93"/>
                <a:gd name="T52" fmla="*/ 3056 w 40"/>
                <a:gd name="T53" fmla="*/ 19050 h 9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chemeClr val="accent6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299" name="Freeform 459">
              <a:extLst>
                <a:ext uri="{FF2B5EF4-FFF2-40B4-BE49-F238E27FC236}">
                  <a16:creationId xmlns:a16="http://schemas.microsoft.com/office/drawing/2014/main" xmlns="" id="{739154F1-E929-9B76-3C6D-EA7278CD45B9}"/>
                </a:ext>
              </a:extLst>
            </p:cNvPr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3937785" y="1323742"/>
              <a:ext cx="255448" cy="199874"/>
            </a:xfrm>
            <a:custGeom>
              <a:avLst/>
              <a:gdLst>
                <a:gd name="T0" fmla="*/ 66259 w 664"/>
                <a:gd name="T1" fmla="*/ 234570 h 518"/>
                <a:gd name="T2" fmla="*/ 67148 w 664"/>
                <a:gd name="T3" fmla="*/ 227190 h 518"/>
                <a:gd name="T4" fmla="*/ 64925 w 664"/>
                <a:gd name="T5" fmla="*/ 210849 h 518"/>
                <a:gd name="T6" fmla="*/ 67148 w 664"/>
                <a:gd name="T7" fmla="*/ 186075 h 518"/>
                <a:gd name="T8" fmla="*/ 64925 w 664"/>
                <a:gd name="T9" fmla="*/ 157083 h 518"/>
                <a:gd name="T10" fmla="*/ 59589 w 664"/>
                <a:gd name="T11" fmla="*/ 132308 h 518"/>
                <a:gd name="T12" fmla="*/ 48471 w 664"/>
                <a:gd name="T13" fmla="*/ 127037 h 518"/>
                <a:gd name="T14" fmla="*/ 8894 w 664"/>
                <a:gd name="T15" fmla="*/ 101208 h 518"/>
                <a:gd name="T16" fmla="*/ 10673 w 664"/>
                <a:gd name="T17" fmla="*/ 90138 h 518"/>
                <a:gd name="T18" fmla="*/ 16009 w 664"/>
                <a:gd name="T19" fmla="*/ 83813 h 518"/>
                <a:gd name="T20" fmla="*/ 21345 w 664"/>
                <a:gd name="T21" fmla="*/ 78014 h 518"/>
                <a:gd name="T22" fmla="*/ 44469 w 664"/>
                <a:gd name="T23" fmla="*/ 81704 h 518"/>
                <a:gd name="T24" fmla="*/ 55586 w 664"/>
                <a:gd name="T25" fmla="*/ 80123 h 518"/>
                <a:gd name="T26" fmla="*/ 65370 w 664"/>
                <a:gd name="T27" fmla="*/ 82758 h 518"/>
                <a:gd name="T28" fmla="*/ 73374 w 664"/>
                <a:gd name="T29" fmla="*/ 49550 h 518"/>
                <a:gd name="T30" fmla="*/ 82268 w 664"/>
                <a:gd name="T31" fmla="*/ 57456 h 518"/>
                <a:gd name="T32" fmla="*/ 92051 w 664"/>
                <a:gd name="T33" fmla="*/ 57984 h 518"/>
                <a:gd name="T34" fmla="*/ 104947 w 664"/>
                <a:gd name="T35" fmla="*/ 52185 h 518"/>
                <a:gd name="T36" fmla="*/ 117398 w 664"/>
                <a:gd name="T37" fmla="*/ 42170 h 518"/>
                <a:gd name="T38" fmla="*/ 128516 w 664"/>
                <a:gd name="T39" fmla="*/ 30046 h 518"/>
                <a:gd name="T40" fmla="*/ 136965 w 664"/>
                <a:gd name="T41" fmla="*/ 16868 h 518"/>
                <a:gd name="T42" fmla="*/ 141412 w 664"/>
                <a:gd name="T43" fmla="*/ 6325 h 518"/>
                <a:gd name="T44" fmla="*/ 164536 w 664"/>
                <a:gd name="T45" fmla="*/ 2108 h 518"/>
                <a:gd name="T46" fmla="*/ 179655 w 664"/>
                <a:gd name="T47" fmla="*/ 16868 h 518"/>
                <a:gd name="T48" fmla="*/ 203224 w 664"/>
                <a:gd name="T49" fmla="*/ 32155 h 518"/>
                <a:gd name="T50" fmla="*/ 227237 w 664"/>
                <a:gd name="T51" fmla="*/ 47441 h 518"/>
                <a:gd name="T52" fmla="*/ 245470 w 664"/>
                <a:gd name="T53" fmla="*/ 56402 h 518"/>
                <a:gd name="T54" fmla="*/ 257032 w 664"/>
                <a:gd name="T55" fmla="*/ 61146 h 518"/>
                <a:gd name="T56" fmla="*/ 277043 w 664"/>
                <a:gd name="T57" fmla="*/ 63782 h 518"/>
                <a:gd name="T58" fmla="*/ 292607 w 664"/>
                <a:gd name="T59" fmla="*/ 71689 h 518"/>
                <a:gd name="T60" fmla="*/ 286826 w 664"/>
                <a:gd name="T61" fmla="*/ 87503 h 518"/>
                <a:gd name="T62" fmla="*/ 275709 w 664"/>
                <a:gd name="T63" fmla="*/ 124401 h 518"/>
                <a:gd name="T64" fmla="*/ 265925 w 664"/>
                <a:gd name="T65" fmla="*/ 143378 h 518"/>
                <a:gd name="T66" fmla="*/ 260144 w 664"/>
                <a:gd name="T67" fmla="*/ 150757 h 518"/>
                <a:gd name="T68" fmla="*/ 266370 w 664"/>
                <a:gd name="T69" fmla="*/ 157083 h 518"/>
                <a:gd name="T70" fmla="*/ 274819 w 664"/>
                <a:gd name="T71" fmla="*/ 161827 h 518"/>
                <a:gd name="T72" fmla="*/ 277043 w 664"/>
                <a:gd name="T73" fmla="*/ 176059 h 518"/>
                <a:gd name="T74" fmla="*/ 275709 w 664"/>
                <a:gd name="T75" fmla="*/ 182912 h 518"/>
                <a:gd name="T76" fmla="*/ 274819 w 664"/>
                <a:gd name="T77" fmla="*/ 196090 h 518"/>
                <a:gd name="T78" fmla="*/ 276598 w 664"/>
                <a:gd name="T79" fmla="*/ 210322 h 518"/>
                <a:gd name="T80" fmla="*/ 281045 w 664"/>
                <a:gd name="T81" fmla="*/ 222973 h 518"/>
                <a:gd name="T82" fmla="*/ 270372 w 664"/>
                <a:gd name="T83" fmla="*/ 240895 h 518"/>
                <a:gd name="T84" fmla="*/ 253029 w 664"/>
                <a:gd name="T85" fmla="*/ 255128 h 518"/>
                <a:gd name="T86" fmla="*/ 241023 w 664"/>
                <a:gd name="T87" fmla="*/ 257763 h 518"/>
                <a:gd name="T88" fmla="*/ 226348 w 664"/>
                <a:gd name="T89" fmla="*/ 253546 h 518"/>
                <a:gd name="T90" fmla="*/ 212118 w 664"/>
                <a:gd name="T91" fmla="*/ 242477 h 518"/>
                <a:gd name="T92" fmla="*/ 205892 w 664"/>
                <a:gd name="T93" fmla="*/ 240368 h 518"/>
                <a:gd name="T94" fmla="*/ 196998 w 664"/>
                <a:gd name="T95" fmla="*/ 240895 h 518"/>
                <a:gd name="T96" fmla="*/ 188104 w 664"/>
                <a:gd name="T97" fmla="*/ 245112 h 518"/>
                <a:gd name="T98" fmla="*/ 180545 w 664"/>
                <a:gd name="T99" fmla="*/ 251438 h 518"/>
                <a:gd name="T100" fmla="*/ 172540 w 664"/>
                <a:gd name="T101" fmla="*/ 265143 h 518"/>
                <a:gd name="T102" fmla="*/ 171206 w 664"/>
                <a:gd name="T103" fmla="*/ 272523 h 518"/>
                <a:gd name="T104" fmla="*/ 148082 w 664"/>
                <a:gd name="T105" fmla="*/ 271469 h 518"/>
                <a:gd name="T106" fmla="*/ 140967 w 664"/>
                <a:gd name="T107" fmla="*/ 267252 h 518"/>
                <a:gd name="T108" fmla="*/ 136520 w 664"/>
                <a:gd name="T109" fmla="*/ 263562 h 518"/>
                <a:gd name="T110" fmla="*/ 131629 w 664"/>
                <a:gd name="T111" fmla="*/ 267779 h 518"/>
                <a:gd name="T112" fmla="*/ 127626 w 664"/>
                <a:gd name="T113" fmla="*/ 271996 h 518"/>
                <a:gd name="T114" fmla="*/ 119177 w 664"/>
                <a:gd name="T115" fmla="*/ 271996 h 518"/>
                <a:gd name="T116" fmla="*/ 100945 w 664"/>
                <a:gd name="T117" fmla="*/ 266725 h 518"/>
                <a:gd name="T118" fmla="*/ 82268 w 664"/>
                <a:gd name="T119" fmla="*/ 256709 h 518"/>
                <a:gd name="T120" fmla="*/ 71151 w 664"/>
                <a:gd name="T121" fmla="*/ 247221 h 518"/>
                <a:gd name="T122" fmla="*/ 64925 w 664"/>
                <a:gd name="T123" fmla="*/ 237206 h 51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00" name="Freeform 460">
              <a:extLst>
                <a:ext uri="{FF2B5EF4-FFF2-40B4-BE49-F238E27FC236}">
                  <a16:creationId xmlns:a16="http://schemas.microsoft.com/office/drawing/2014/main" xmlns="" id="{79B65981-CC87-DB62-44B1-942C44175ACF}"/>
                </a:ext>
              </a:extLst>
            </p:cNvPr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4818118" y="1495809"/>
              <a:ext cx="130470" cy="60427"/>
            </a:xfrm>
            <a:custGeom>
              <a:avLst/>
              <a:gdLst>
                <a:gd name="T0" fmla="*/ 142243 w 352"/>
                <a:gd name="T1" fmla="*/ 49098 h 153"/>
                <a:gd name="T2" fmla="*/ 150812 w 352"/>
                <a:gd name="T3" fmla="*/ 82550 h 153"/>
                <a:gd name="T4" fmla="*/ 139672 w 352"/>
                <a:gd name="T5" fmla="*/ 76075 h 153"/>
                <a:gd name="T6" fmla="*/ 128105 w 352"/>
                <a:gd name="T7" fmla="*/ 69601 h 153"/>
                <a:gd name="T8" fmla="*/ 113966 w 352"/>
                <a:gd name="T9" fmla="*/ 76075 h 153"/>
                <a:gd name="T10" fmla="*/ 99399 w 352"/>
                <a:gd name="T11" fmla="*/ 76075 h 153"/>
                <a:gd name="T12" fmla="*/ 97257 w 352"/>
                <a:gd name="T13" fmla="*/ 72838 h 153"/>
                <a:gd name="T14" fmla="*/ 96828 w 352"/>
                <a:gd name="T15" fmla="*/ 72838 h 153"/>
                <a:gd name="T16" fmla="*/ 93829 w 352"/>
                <a:gd name="T17" fmla="*/ 69601 h 153"/>
                <a:gd name="T18" fmla="*/ 91258 w 352"/>
                <a:gd name="T19" fmla="*/ 67443 h 153"/>
                <a:gd name="T20" fmla="*/ 87831 w 352"/>
                <a:gd name="T21" fmla="*/ 65285 h 153"/>
                <a:gd name="T22" fmla="*/ 84403 w 352"/>
                <a:gd name="T23" fmla="*/ 63666 h 153"/>
                <a:gd name="T24" fmla="*/ 77548 w 352"/>
                <a:gd name="T25" fmla="*/ 60968 h 153"/>
                <a:gd name="T26" fmla="*/ 69836 w 352"/>
                <a:gd name="T27" fmla="*/ 59350 h 153"/>
                <a:gd name="T28" fmla="*/ 53984 w 352"/>
                <a:gd name="T29" fmla="*/ 57731 h 153"/>
                <a:gd name="T30" fmla="*/ 36846 w 352"/>
                <a:gd name="T31" fmla="*/ 56112 h 153"/>
                <a:gd name="T32" fmla="*/ 36418 w 352"/>
                <a:gd name="T33" fmla="*/ 50717 h 153"/>
                <a:gd name="T34" fmla="*/ 35132 w 352"/>
                <a:gd name="T35" fmla="*/ 45322 h 153"/>
                <a:gd name="T36" fmla="*/ 34275 w 352"/>
                <a:gd name="T37" fmla="*/ 40466 h 153"/>
                <a:gd name="T38" fmla="*/ 32133 w 352"/>
                <a:gd name="T39" fmla="*/ 36149 h 153"/>
                <a:gd name="T40" fmla="*/ 30419 w 352"/>
                <a:gd name="T41" fmla="*/ 31833 h 153"/>
                <a:gd name="T42" fmla="*/ 28706 w 352"/>
                <a:gd name="T43" fmla="*/ 28056 h 153"/>
                <a:gd name="T44" fmla="*/ 26135 w 352"/>
                <a:gd name="T45" fmla="*/ 23740 h 153"/>
                <a:gd name="T46" fmla="*/ 23993 w 352"/>
                <a:gd name="T47" fmla="*/ 19963 h 153"/>
                <a:gd name="T48" fmla="*/ 18852 w 352"/>
                <a:gd name="T49" fmla="*/ 14028 h 153"/>
                <a:gd name="T50" fmla="*/ 12425 w 352"/>
                <a:gd name="T51" fmla="*/ 8633 h 153"/>
                <a:gd name="T52" fmla="*/ 6427 w 352"/>
                <a:gd name="T53" fmla="*/ 3777 h 153"/>
                <a:gd name="T54" fmla="*/ 0 w 352"/>
                <a:gd name="T55" fmla="*/ 0 h 153"/>
                <a:gd name="T56" fmla="*/ 2999 w 352"/>
                <a:gd name="T57" fmla="*/ 0 h 153"/>
                <a:gd name="T58" fmla="*/ 25707 w 352"/>
                <a:gd name="T59" fmla="*/ 9712 h 153"/>
                <a:gd name="T60" fmla="*/ 45415 w 352"/>
                <a:gd name="T61" fmla="*/ 16186 h 153"/>
                <a:gd name="T62" fmla="*/ 57411 w 352"/>
                <a:gd name="T63" fmla="*/ 9712 h 153"/>
                <a:gd name="T64" fmla="*/ 77120 w 352"/>
                <a:gd name="T65" fmla="*/ 19424 h 153"/>
                <a:gd name="T66" fmla="*/ 88259 w 352"/>
                <a:gd name="T67" fmla="*/ 29675 h 153"/>
                <a:gd name="T68" fmla="*/ 105397 w 352"/>
                <a:gd name="T69" fmla="*/ 26438 h 153"/>
                <a:gd name="T70" fmla="*/ 122535 w 352"/>
                <a:gd name="T71" fmla="*/ 32912 h 153"/>
                <a:gd name="T72" fmla="*/ 134103 w 352"/>
                <a:gd name="T73" fmla="*/ 42624 h 153"/>
                <a:gd name="T74" fmla="*/ 142243 w 352"/>
                <a:gd name="T75" fmla="*/ 49098 h 15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01" name="Freeform 461">
              <a:extLst>
                <a:ext uri="{FF2B5EF4-FFF2-40B4-BE49-F238E27FC236}">
                  <a16:creationId xmlns:a16="http://schemas.microsoft.com/office/drawing/2014/main" xmlns="" id="{46E5235E-C02A-30C8-0E50-0F8FA38E7FAB}"/>
                </a:ext>
              </a:extLst>
            </p:cNvPr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4428080" y="1539967"/>
              <a:ext cx="127723" cy="126665"/>
            </a:xfrm>
            <a:custGeom>
              <a:avLst/>
              <a:gdLst>
                <a:gd name="T0" fmla="*/ 102588 w 331"/>
                <a:gd name="T1" fmla="*/ 21167 h 327"/>
                <a:gd name="T2" fmla="*/ 86084 w 331"/>
                <a:gd name="T3" fmla="*/ 29633 h 327"/>
                <a:gd name="T4" fmla="*/ 81178 w 331"/>
                <a:gd name="T5" fmla="*/ 35454 h 327"/>
                <a:gd name="T6" fmla="*/ 80732 w 331"/>
                <a:gd name="T7" fmla="*/ 42863 h 327"/>
                <a:gd name="T8" fmla="*/ 82070 w 331"/>
                <a:gd name="T9" fmla="*/ 49742 h 327"/>
                <a:gd name="T10" fmla="*/ 78948 w 331"/>
                <a:gd name="T11" fmla="*/ 53975 h 327"/>
                <a:gd name="T12" fmla="*/ 74934 w 331"/>
                <a:gd name="T13" fmla="*/ 55563 h 327"/>
                <a:gd name="T14" fmla="*/ 71365 w 331"/>
                <a:gd name="T15" fmla="*/ 51858 h 327"/>
                <a:gd name="T16" fmla="*/ 66459 w 331"/>
                <a:gd name="T17" fmla="*/ 44979 h 327"/>
                <a:gd name="T18" fmla="*/ 56200 w 331"/>
                <a:gd name="T19" fmla="*/ 39158 h 327"/>
                <a:gd name="T20" fmla="*/ 56646 w 331"/>
                <a:gd name="T21" fmla="*/ 50800 h 327"/>
                <a:gd name="T22" fmla="*/ 61999 w 331"/>
                <a:gd name="T23" fmla="*/ 61384 h 327"/>
                <a:gd name="T24" fmla="*/ 68689 w 331"/>
                <a:gd name="T25" fmla="*/ 68263 h 327"/>
                <a:gd name="T26" fmla="*/ 70919 w 331"/>
                <a:gd name="T27" fmla="*/ 68792 h 327"/>
                <a:gd name="T28" fmla="*/ 70919 w 331"/>
                <a:gd name="T29" fmla="*/ 93663 h 327"/>
                <a:gd name="T30" fmla="*/ 70919 w 331"/>
                <a:gd name="T31" fmla="*/ 125413 h 327"/>
                <a:gd name="T32" fmla="*/ 69581 w 331"/>
                <a:gd name="T33" fmla="*/ 132821 h 327"/>
                <a:gd name="T34" fmla="*/ 65567 w 331"/>
                <a:gd name="T35" fmla="*/ 137055 h 327"/>
                <a:gd name="T36" fmla="*/ 64675 w 331"/>
                <a:gd name="T37" fmla="*/ 139700 h 327"/>
                <a:gd name="T38" fmla="*/ 72257 w 331"/>
                <a:gd name="T39" fmla="*/ 146050 h 327"/>
                <a:gd name="T40" fmla="*/ 74488 w 331"/>
                <a:gd name="T41" fmla="*/ 151342 h 327"/>
                <a:gd name="T42" fmla="*/ 69135 w 331"/>
                <a:gd name="T43" fmla="*/ 156105 h 327"/>
                <a:gd name="T44" fmla="*/ 62445 w 331"/>
                <a:gd name="T45" fmla="*/ 157163 h 327"/>
                <a:gd name="T46" fmla="*/ 57984 w 331"/>
                <a:gd name="T47" fmla="*/ 162455 h 327"/>
                <a:gd name="T48" fmla="*/ 56200 w 331"/>
                <a:gd name="T49" fmla="*/ 169863 h 327"/>
                <a:gd name="T50" fmla="*/ 53970 w 331"/>
                <a:gd name="T51" fmla="*/ 158750 h 327"/>
                <a:gd name="T52" fmla="*/ 55308 w 331"/>
                <a:gd name="T53" fmla="*/ 152400 h 327"/>
                <a:gd name="T54" fmla="*/ 48618 w 331"/>
                <a:gd name="T55" fmla="*/ 151342 h 327"/>
                <a:gd name="T56" fmla="*/ 41481 w 331"/>
                <a:gd name="T57" fmla="*/ 154517 h 327"/>
                <a:gd name="T58" fmla="*/ 35237 w 331"/>
                <a:gd name="T59" fmla="*/ 156634 h 327"/>
                <a:gd name="T60" fmla="*/ 32560 w 331"/>
                <a:gd name="T61" fmla="*/ 128059 h 327"/>
                <a:gd name="T62" fmla="*/ 35237 w 331"/>
                <a:gd name="T63" fmla="*/ 114300 h 327"/>
                <a:gd name="T64" fmla="*/ 21410 w 331"/>
                <a:gd name="T65" fmla="*/ 111654 h 327"/>
                <a:gd name="T66" fmla="*/ 12489 w 331"/>
                <a:gd name="T67" fmla="*/ 104775 h 327"/>
                <a:gd name="T68" fmla="*/ 5798 w 331"/>
                <a:gd name="T69" fmla="*/ 91546 h 327"/>
                <a:gd name="T70" fmla="*/ 0 w 331"/>
                <a:gd name="T71" fmla="*/ 68792 h 327"/>
                <a:gd name="T72" fmla="*/ 12489 w 331"/>
                <a:gd name="T73" fmla="*/ 58738 h 327"/>
                <a:gd name="T74" fmla="*/ 22302 w 331"/>
                <a:gd name="T75" fmla="*/ 42863 h 327"/>
                <a:gd name="T76" fmla="*/ 32560 w 331"/>
                <a:gd name="T77" fmla="*/ 29104 h 327"/>
                <a:gd name="T78" fmla="*/ 51294 w 331"/>
                <a:gd name="T79" fmla="*/ 21696 h 327"/>
                <a:gd name="T80" fmla="*/ 80286 w 331"/>
                <a:gd name="T81" fmla="*/ 7408 h 327"/>
                <a:gd name="T82" fmla="*/ 97235 w 331"/>
                <a:gd name="T83" fmla="*/ 3704 h 327"/>
                <a:gd name="T84" fmla="*/ 111062 w 331"/>
                <a:gd name="T85" fmla="*/ 7408 h 327"/>
                <a:gd name="T86" fmla="*/ 120875 w 331"/>
                <a:gd name="T87" fmla="*/ 14288 h 327"/>
                <a:gd name="T88" fmla="*/ 130242 w 331"/>
                <a:gd name="T89" fmla="*/ 15875 h 327"/>
                <a:gd name="T90" fmla="*/ 136932 w 331"/>
                <a:gd name="T91" fmla="*/ 10583 h 327"/>
                <a:gd name="T92" fmla="*/ 145853 w 331"/>
                <a:gd name="T93" fmla="*/ 3175 h 327"/>
                <a:gd name="T94" fmla="*/ 147191 w 331"/>
                <a:gd name="T95" fmla="*/ 16933 h 3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02" name="Freeform 462">
              <a:extLst>
                <a:ext uri="{FF2B5EF4-FFF2-40B4-BE49-F238E27FC236}">
                  <a16:creationId xmlns:a16="http://schemas.microsoft.com/office/drawing/2014/main" xmlns="" id="{5DD7FC30-03E6-5A22-5ADA-13D4FD4574E5}"/>
                </a:ext>
              </a:extLst>
            </p:cNvPr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4500868" y="1680576"/>
              <a:ext cx="60428" cy="41835"/>
            </a:xfrm>
            <a:custGeom>
              <a:avLst/>
              <a:gdLst>
                <a:gd name="T0" fmla="*/ 0 w 153"/>
                <a:gd name="T1" fmla="*/ 0 h 49"/>
                <a:gd name="T2" fmla="*/ 20088 w 153"/>
                <a:gd name="T3" fmla="*/ 2333 h 49"/>
                <a:gd name="T4" fmla="*/ 37892 w 153"/>
                <a:gd name="T5" fmla="*/ 6998 h 49"/>
                <a:gd name="T6" fmla="*/ 47023 w 153"/>
                <a:gd name="T7" fmla="*/ 9331 h 49"/>
                <a:gd name="T8" fmla="*/ 55241 w 153"/>
                <a:gd name="T9" fmla="*/ 8164 h 49"/>
                <a:gd name="T10" fmla="*/ 59350 w 153"/>
                <a:gd name="T11" fmla="*/ 6998 h 49"/>
                <a:gd name="T12" fmla="*/ 62545 w 153"/>
                <a:gd name="T13" fmla="*/ 5832 h 49"/>
                <a:gd name="T14" fmla="*/ 66198 w 153"/>
                <a:gd name="T15" fmla="*/ 3499 h 49"/>
                <a:gd name="T16" fmla="*/ 69850 w 153"/>
                <a:gd name="T17" fmla="*/ 0 h 49"/>
                <a:gd name="T18" fmla="*/ 69850 w 153"/>
                <a:gd name="T19" fmla="*/ 10497 h 49"/>
                <a:gd name="T20" fmla="*/ 69850 w 153"/>
                <a:gd name="T21" fmla="*/ 29158 h 49"/>
                <a:gd name="T22" fmla="*/ 65285 w 153"/>
                <a:gd name="T23" fmla="*/ 36156 h 49"/>
                <a:gd name="T24" fmla="*/ 60719 w 153"/>
                <a:gd name="T25" fmla="*/ 41988 h 49"/>
                <a:gd name="T26" fmla="*/ 56610 w 153"/>
                <a:gd name="T27" fmla="*/ 46653 h 49"/>
                <a:gd name="T28" fmla="*/ 52045 w 153"/>
                <a:gd name="T29" fmla="*/ 51318 h 49"/>
                <a:gd name="T30" fmla="*/ 48393 w 153"/>
                <a:gd name="T31" fmla="*/ 53651 h 49"/>
                <a:gd name="T32" fmla="*/ 45197 w 153"/>
                <a:gd name="T33" fmla="*/ 55984 h 49"/>
                <a:gd name="T34" fmla="*/ 42001 w 153"/>
                <a:gd name="T35" fmla="*/ 57150 h 49"/>
                <a:gd name="T36" fmla="*/ 39719 w 153"/>
                <a:gd name="T37" fmla="*/ 57150 h 49"/>
                <a:gd name="T38" fmla="*/ 32871 w 153"/>
                <a:gd name="T39" fmla="*/ 55984 h 49"/>
                <a:gd name="T40" fmla="*/ 27392 w 153"/>
                <a:gd name="T41" fmla="*/ 53651 h 49"/>
                <a:gd name="T42" fmla="*/ 22827 w 153"/>
                <a:gd name="T43" fmla="*/ 50152 h 49"/>
                <a:gd name="T44" fmla="*/ 18718 w 153"/>
                <a:gd name="T45" fmla="*/ 44320 h 49"/>
                <a:gd name="T46" fmla="*/ 10044 w 153"/>
                <a:gd name="T47" fmla="*/ 33823 h 49"/>
                <a:gd name="T48" fmla="*/ 0 w 153"/>
                <a:gd name="T49" fmla="*/ 22160 h 49"/>
                <a:gd name="T50" fmla="*/ 0 w 153"/>
                <a:gd name="T51" fmla="*/ 0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03" name="Freeform 463">
              <a:extLst>
                <a:ext uri="{FF2B5EF4-FFF2-40B4-BE49-F238E27FC236}">
                  <a16:creationId xmlns:a16="http://schemas.microsoft.com/office/drawing/2014/main" xmlns="" id="{018CAA1D-E170-AA06-82AA-AD9B40047E21}"/>
                </a:ext>
              </a:extLst>
            </p:cNvPr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3704311" y="2216284"/>
              <a:ext cx="162058" cy="116206"/>
            </a:xfrm>
            <a:custGeom>
              <a:avLst/>
              <a:gdLst>
                <a:gd name="T0" fmla="*/ 85308 w 426"/>
                <a:gd name="T1" fmla="*/ 8495 h 299"/>
                <a:gd name="T2" fmla="*/ 94982 w 426"/>
                <a:gd name="T3" fmla="*/ 11681 h 299"/>
                <a:gd name="T4" fmla="*/ 101138 w 426"/>
                <a:gd name="T5" fmla="*/ 15397 h 299"/>
                <a:gd name="T6" fmla="*/ 111252 w 426"/>
                <a:gd name="T7" fmla="*/ 18583 h 299"/>
                <a:gd name="T8" fmla="*/ 122685 w 426"/>
                <a:gd name="T9" fmla="*/ 19645 h 299"/>
                <a:gd name="T10" fmla="*/ 131919 w 426"/>
                <a:gd name="T11" fmla="*/ 19645 h 299"/>
                <a:gd name="T12" fmla="*/ 140274 w 426"/>
                <a:gd name="T13" fmla="*/ 18052 h 299"/>
                <a:gd name="T14" fmla="*/ 144671 w 426"/>
                <a:gd name="T15" fmla="*/ 15397 h 299"/>
                <a:gd name="T16" fmla="*/ 160501 w 426"/>
                <a:gd name="T17" fmla="*/ 13273 h 299"/>
                <a:gd name="T18" fmla="*/ 163580 w 426"/>
                <a:gd name="T19" fmla="*/ 26016 h 299"/>
                <a:gd name="T20" fmla="*/ 168417 w 426"/>
                <a:gd name="T21" fmla="*/ 39289 h 299"/>
                <a:gd name="T22" fmla="*/ 171934 w 426"/>
                <a:gd name="T23" fmla="*/ 44599 h 299"/>
                <a:gd name="T24" fmla="*/ 175892 w 426"/>
                <a:gd name="T25" fmla="*/ 48846 h 299"/>
                <a:gd name="T26" fmla="*/ 181169 w 426"/>
                <a:gd name="T27" fmla="*/ 51501 h 299"/>
                <a:gd name="T28" fmla="*/ 186885 w 426"/>
                <a:gd name="T29" fmla="*/ 52563 h 299"/>
                <a:gd name="T30" fmla="*/ 186885 w 426"/>
                <a:gd name="T31" fmla="*/ 63712 h 299"/>
                <a:gd name="T32" fmla="*/ 186885 w 426"/>
                <a:gd name="T33" fmla="*/ 75393 h 299"/>
                <a:gd name="T34" fmla="*/ 182928 w 426"/>
                <a:gd name="T35" fmla="*/ 83888 h 299"/>
                <a:gd name="T36" fmla="*/ 181169 w 426"/>
                <a:gd name="T37" fmla="*/ 90259 h 299"/>
                <a:gd name="T38" fmla="*/ 181169 w 426"/>
                <a:gd name="T39" fmla="*/ 96099 h 299"/>
                <a:gd name="T40" fmla="*/ 182488 w 426"/>
                <a:gd name="T41" fmla="*/ 100878 h 299"/>
                <a:gd name="T42" fmla="*/ 186006 w 426"/>
                <a:gd name="T43" fmla="*/ 112028 h 299"/>
                <a:gd name="T44" fmla="*/ 187325 w 426"/>
                <a:gd name="T45" fmla="*/ 119992 h 299"/>
                <a:gd name="T46" fmla="*/ 186885 w 426"/>
                <a:gd name="T47" fmla="*/ 131141 h 299"/>
                <a:gd name="T48" fmla="*/ 187325 w 426"/>
                <a:gd name="T49" fmla="*/ 145477 h 299"/>
                <a:gd name="T50" fmla="*/ 186006 w 426"/>
                <a:gd name="T51" fmla="*/ 151317 h 299"/>
                <a:gd name="T52" fmla="*/ 181169 w 426"/>
                <a:gd name="T53" fmla="*/ 157157 h 299"/>
                <a:gd name="T54" fmla="*/ 167097 w 426"/>
                <a:gd name="T55" fmla="*/ 158219 h 299"/>
                <a:gd name="T56" fmla="*/ 162700 w 426"/>
                <a:gd name="T57" fmla="*/ 158750 h 299"/>
                <a:gd name="T58" fmla="*/ 158303 w 426"/>
                <a:gd name="T59" fmla="*/ 157157 h 299"/>
                <a:gd name="T60" fmla="*/ 154345 w 426"/>
                <a:gd name="T61" fmla="*/ 153972 h 299"/>
                <a:gd name="T62" fmla="*/ 148629 w 426"/>
                <a:gd name="T63" fmla="*/ 147600 h 299"/>
                <a:gd name="T64" fmla="*/ 142473 w 426"/>
                <a:gd name="T65" fmla="*/ 138574 h 299"/>
                <a:gd name="T66" fmla="*/ 136756 w 426"/>
                <a:gd name="T67" fmla="*/ 134327 h 299"/>
                <a:gd name="T68" fmla="*/ 129281 w 426"/>
                <a:gd name="T69" fmla="*/ 133265 h 299"/>
                <a:gd name="T70" fmla="*/ 122245 w 426"/>
                <a:gd name="T71" fmla="*/ 123177 h 299"/>
                <a:gd name="T72" fmla="*/ 120486 w 426"/>
                <a:gd name="T73" fmla="*/ 111497 h 299"/>
                <a:gd name="T74" fmla="*/ 118287 w 426"/>
                <a:gd name="T75" fmla="*/ 104594 h 299"/>
                <a:gd name="T76" fmla="*/ 114770 w 426"/>
                <a:gd name="T77" fmla="*/ 97692 h 299"/>
                <a:gd name="T78" fmla="*/ 110372 w 426"/>
                <a:gd name="T79" fmla="*/ 91852 h 299"/>
                <a:gd name="T80" fmla="*/ 104656 w 426"/>
                <a:gd name="T81" fmla="*/ 87605 h 299"/>
                <a:gd name="T82" fmla="*/ 97620 w 426"/>
                <a:gd name="T83" fmla="*/ 85481 h 299"/>
                <a:gd name="T84" fmla="*/ 89705 w 426"/>
                <a:gd name="T85" fmla="*/ 85481 h 299"/>
                <a:gd name="T86" fmla="*/ 82669 w 426"/>
                <a:gd name="T87" fmla="*/ 86543 h 299"/>
                <a:gd name="T88" fmla="*/ 76073 w 426"/>
                <a:gd name="T89" fmla="*/ 89197 h 299"/>
                <a:gd name="T90" fmla="*/ 70357 w 426"/>
                <a:gd name="T91" fmla="*/ 93445 h 299"/>
                <a:gd name="T92" fmla="*/ 62002 w 426"/>
                <a:gd name="T93" fmla="*/ 101409 h 299"/>
                <a:gd name="T94" fmla="*/ 51888 w 426"/>
                <a:gd name="T95" fmla="*/ 114151 h 299"/>
                <a:gd name="T96" fmla="*/ 46172 w 426"/>
                <a:gd name="T97" fmla="*/ 115744 h 299"/>
                <a:gd name="T98" fmla="*/ 43973 w 426"/>
                <a:gd name="T99" fmla="*/ 106718 h 299"/>
                <a:gd name="T100" fmla="*/ 39576 w 426"/>
                <a:gd name="T101" fmla="*/ 98754 h 299"/>
                <a:gd name="T102" fmla="*/ 33419 w 426"/>
                <a:gd name="T103" fmla="*/ 90790 h 299"/>
                <a:gd name="T104" fmla="*/ 21987 w 426"/>
                <a:gd name="T105" fmla="*/ 81233 h 299"/>
                <a:gd name="T106" fmla="*/ 10554 w 426"/>
                <a:gd name="T107" fmla="*/ 71145 h 299"/>
                <a:gd name="T108" fmla="*/ 3518 w 426"/>
                <a:gd name="T109" fmla="*/ 63181 h 299"/>
                <a:gd name="T110" fmla="*/ 6596 w 426"/>
                <a:gd name="T111" fmla="*/ 53625 h 299"/>
                <a:gd name="T112" fmla="*/ 20228 w 426"/>
                <a:gd name="T113" fmla="*/ 40882 h 299"/>
                <a:gd name="T114" fmla="*/ 32980 w 426"/>
                <a:gd name="T115" fmla="*/ 25485 h 299"/>
                <a:gd name="T116" fmla="*/ 43094 w 426"/>
                <a:gd name="T117" fmla="*/ 9026 h 299"/>
                <a:gd name="T118" fmla="*/ 78712 w 426"/>
                <a:gd name="T119" fmla="*/ 6902 h 29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04" name="Freeform 464">
              <a:extLst>
                <a:ext uri="{FF2B5EF4-FFF2-40B4-BE49-F238E27FC236}">
                  <a16:creationId xmlns:a16="http://schemas.microsoft.com/office/drawing/2014/main" xmlns="" id="{E5B472CC-1489-CBD3-7B9F-A0ECE355D08D}"/>
                </a:ext>
              </a:extLst>
            </p:cNvPr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5473217" y="1677091"/>
              <a:ext cx="598791" cy="640294"/>
            </a:xfrm>
            <a:custGeom>
              <a:avLst/>
              <a:gdLst>
                <a:gd name="T0" fmla="*/ 207124 w 1594"/>
                <a:gd name="T1" fmla="*/ 56044 h 1670"/>
                <a:gd name="T2" fmla="*/ 210598 w 1594"/>
                <a:gd name="T3" fmla="*/ 96899 h 1670"/>
                <a:gd name="T4" fmla="*/ 250980 w 1594"/>
                <a:gd name="T5" fmla="*/ 150325 h 1670"/>
                <a:gd name="T6" fmla="*/ 304390 w 1594"/>
                <a:gd name="T7" fmla="*/ 240415 h 1670"/>
                <a:gd name="T8" fmla="*/ 345207 w 1594"/>
                <a:gd name="T9" fmla="*/ 261366 h 1670"/>
                <a:gd name="T10" fmla="*/ 380813 w 1594"/>
                <a:gd name="T11" fmla="*/ 258224 h 1670"/>
                <a:gd name="T12" fmla="*/ 403827 w 1594"/>
                <a:gd name="T13" fmla="*/ 281270 h 1670"/>
                <a:gd name="T14" fmla="*/ 478513 w 1594"/>
                <a:gd name="T15" fmla="*/ 296983 h 1670"/>
                <a:gd name="T16" fmla="*/ 486763 w 1594"/>
                <a:gd name="T17" fmla="*/ 241463 h 1670"/>
                <a:gd name="T18" fmla="*/ 511948 w 1594"/>
                <a:gd name="T19" fmla="*/ 282318 h 1670"/>
                <a:gd name="T20" fmla="*/ 539738 w 1594"/>
                <a:gd name="T21" fmla="*/ 293841 h 1670"/>
                <a:gd name="T22" fmla="*/ 564054 w 1594"/>
                <a:gd name="T23" fmla="*/ 260843 h 1670"/>
                <a:gd name="T24" fmla="*/ 609648 w 1594"/>
                <a:gd name="T25" fmla="*/ 214226 h 1670"/>
                <a:gd name="T26" fmla="*/ 672610 w 1594"/>
                <a:gd name="T27" fmla="*/ 224178 h 1670"/>
                <a:gd name="T28" fmla="*/ 685637 w 1594"/>
                <a:gd name="T29" fmla="*/ 260843 h 1670"/>
                <a:gd name="T30" fmla="*/ 653070 w 1594"/>
                <a:gd name="T31" fmla="*/ 283889 h 1670"/>
                <a:gd name="T32" fmla="*/ 644820 w 1594"/>
                <a:gd name="T33" fmla="*/ 355647 h 1670"/>
                <a:gd name="T34" fmla="*/ 620503 w 1594"/>
                <a:gd name="T35" fmla="*/ 368741 h 1670"/>
                <a:gd name="T36" fmla="*/ 611385 w 1594"/>
                <a:gd name="T37" fmla="*/ 426357 h 1670"/>
                <a:gd name="T38" fmla="*/ 573607 w 1594"/>
                <a:gd name="T39" fmla="*/ 394930 h 1670"/>
                <a:gd name="T40" fmla="*/ 574476 w 1594"/>
                <a:gd name="T41" fmla="*/ 365599 h 1670"/>
                <a:gd name="T42" fmla="*/ 531922 w 1594"/>
                <a:gd name="T43" fmla="*/ 334172 h 1670"/>
                <a:gd name="T44" fmla="*/ 515422 w 1594"/>
                <a:gd name="T45" fmla="*/ 307983 h 1670"/>
                <a:gd name="T46" fmla="*/ 491105 w 1594"/>
                <a:gd name="T47" fmla="*/ 301174 h 1670"/>
                <a:gd name="T48" fmla="*/ 489368 w 1594"/>
                <a:gd name="T49" fmla="*/ 327363 h 1670"/>
                <a:gd name="T50" fmla="*/ 485026 w 1594"/>
                <a:gd name="T51" fmla="*/ 357742 h 1670"/>
                <a:gd name="T52" fmla="*/ 503698 w 1594"/>
                <a:gd name="T53" fmla="*/ 384978 h 1670"/>
                <a:gd name="T54" fmla="*/ 498921 w 1594"/>
                <a:gd name="T55" fmla="*/ 441547 h 1670"/>
                <a:gd name="T56" fmla="*/ 466789 w 1594"/>
                <a:gd name="T57" fmla="*/ 452546 h 1670"/>
                <a:gd name="T58" fmla="*/ 455499 w 1594"/>
                <a:gd name="T59" fmla="*/ 490782 h 1670"/>
                <a:gd name="T60" fmla="*/ 414248 w 1594"/>
                <a:gd name="T61" fmla="*/ 524304 h 1670"/>
                <a:gd name="T62" fmla="*/ 396011 w 1594"/>
                <a:gd name="T63" fmla="*/ 549969 h 1670"/>
                <a:gd name="T64" fmla="*/ 338693 w 1594"/>
                <a:gd name="T65" fmla="*/ 622251 h 1670"/>
                <a:gd name="T66" fmla="*/ 313943 w 1594"/>
                <a:gd name="T67" fmla="*/ 645821 h 1670"/>
                <a:gd name="T68" fmla="*/ 323061 w 1594"/>
                <a:gd name="T69" fmla="*/ 703961 h 1670"/>
                <a:gd name="T70" fmla="*/ 309166 w 1594"/>
                <a:gd name="T71" fmla="*/ 756862 h 1670"/>
                <a:gd name="T72" fmla="*/ 313508 w 1594"/>
                <a:gd name="T73" fmla="*/ 798241 h 1670"/>
                <a:gd name="T74" fmla="*/ 300916 w 1594"/>
                <a:gd name="T75" fmla="*/ 825478 h 1670"/>
                <a:gd name="T76" fmla="*/ 258362 w 1594"/>
                <a:gd name="T77" fmla="*/ 871047 h 1670"/>
                <a:gd name="T78" fmla="*/ 224059 w 1594"/>
                <a:gd name="T79" fmla="*/ 800860 h 1670"/>
                <a:gd name="T80" fmla="*/ 181939 w 1594"/>
                <a:gd name="T81" fmla="*/ 698723 h 1670"/>
                <a:gd name="T82" fmla="*/ 130701 w 1594"/>
                <a:gd name="T83" fmla="*/ 583491 h 1670"/>
                <a:gd name="T84" fmla="*/ 112464 w 1594"/>
                <a:gd name="T85" fmla="*/ 450975 h 1670"/>
                <a:gd name="T86" fmla="*/ 99871 w 1594"/>
                <a:gd name="T87" fmla="*/ 426357 h 1670"/>
                <a:gd name="T88" fmla="*/ 71212 w 1594"/>
                <a:gd name="T89" fmla="*/ 471402 h 1670"/>
                <a:gd name="T90" fmla="*/ 39080 w 1594"/>
                <a:gd name="T91" fmla="*/ 458831 h 1670"/>
                <a:gd name="T92" fmla="*/ 22145 w 1594"/>
                <a:gd name="T93" fmla="*/ 417977 h 1670"/>
                <a:gd name="T94" fmla="*/ 13027 w 1594"/>
                <a:gd name="T95" fmla="*/ 403835 h 1670"/>
                <a:gd name="T96" fmla="*/ 13895 w 1594"/>
                <a:gd name="T97" fmla="*/ 370836 h 1670"/>
                <a:gd name="T98" fmla="*/ 69041 w 1594"/>
                <a:gd name="T99" fmla="*/ 345171 h 1670"/>
                <a:gd name="T100" fmla="*/ 39948 w 1594"/>
                <a:gd name="T101" fmla="*/ 298031 h 1670"/>
                <a:gd name="T102" fmla="*/ 25619 w 1594"/>
                <a:gd name="T103" fmla="*/ 261890 h 1670"/>
                <a:gd name="T104" fmla="*/ 70344 w 1594"/>
                <a:gd name="T105" fmla="*/ 240415 h 1670"/>
                <a:gd name="T106" fmla="*/ 117240 w 1594"/>
                <a:gd name="T107" fmla="*/ 153991 h 1670"/>
                <a:gd name="T108" fmla="*/ 118977 w 1594"/>
                <a:gd name="T109" fmla="*/ 120469 h 1670"/>
                <a:gd name="T110" fmla="*/ 98568 w 1594"/>
                <a:gd name="T111" fmla="*/ 74377 h 1670"/>
                <a:gd name="T112" fmla="*/ 139820 w 1594"/>
                <a:gd name="T113" fmla="*/ 28284 h 16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05" name="Freeform 465">
              <a:extLst>
                <a:ext uri="{FF2B5EF4-FFF2-40B4-BE49-F238E27FC236}">
                  <a16:creationId xmlns:a16="http://schemas.microsoft.com/office/drawing/2014/main" xmlns="" id="{A8F6DE8E-210C-EAD5-600F-B35D786B823F}"/>
                </a:ext>
              </a:extLst>
            </p:cNvPr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3848515" y="2259281"/>
              <a:ext cx="137337" cy="151067"/>
            </a:xfrm>
            <a:custGeom>
              <a:avLst/>
              <a:gdLst>
                <a:gd name="T0" fmla="*/ 23437 w 359"/>
                <a:gd name="T1" fmla="*/ 200089 h 394"/>
                <a:gd name="T2" fmla="*/ 23437 w 359"/>
                <a:gd name="T3" fmla="*/ 187518 h 394"/>
                <a:gd name="T4" fmla="*/ 23437 w 359"/>
                <a:gd name="T5" fmla="*/ 174424 h 394"/>
                <a:gd name="T6" fmla="*/ 22110 w 359"/>
                <a:gd name="T7" fmla="*/ 163424 h 394"/>
                <a:gd name="T8" fmla="*/ 19015 w 359"/>
                <a:gd name="T9" fmla="*/ 153472 h 394"/>
                <a:gd name="T10" fmla="*/ 15477 w 359"/>
                <a:gd name="T11" fmla="*/ 145091 h 394"/>
                <a:gd name="T12" fmla="*/ 5749 w 359"/>
                <a:gd name="T13" fmla="*/ 128330 h 394"/>
                <a:gd name="T14" fmla="*/ 0 w 359"/>
                <a:gd name="T15" fmla="*/ 96902 h 394"/>
                <a:gd name="T16" fmla="*/ 14593 w 359"/>
                <a:gd name="T17" fmla="*/ 94807 h 394"/>
                <a:gd name="T18" fmla="*/ 17688 w 359"/>
                <a:gd name="T19" fmla="*/ 88521 h 394"/>
                <a:gd name="T20" fmla="*/ 18130 w 359"/>
                <a:gd name="T21" fmla="*/ 78569 h 394"/>
                <a:gd name="T22" fmla="*/ 16804 w 359"/>
                <a:gd name="T23" fmla="*/ 56046 h 394"/>
                <a:gd name="T24" fmla="*/ 13708 w 359"/>
                <a:gd name="T25" fmla="*/ 34047 h 394"/>
                <a:gd name="T26" fmla="*/ 14150 w 359"/>
                <a:gd name="T27" fmla="*/ 24618 h 394"/>
                <a:gd name="T28" fmla="*/ 15919 w 359"/>
                <a:gd name="T29" fmla="*/ 18857 h 394"/>
                <a:gd name="T30" fmla="*/ 53064 w 359"/>
                <a:gd name="T31" fmla="*/ 16238 h 394"/>
                <a:gd name="T32" fmla="*/ 53948 w 359"/>
                <a:gd name="T33" fmla="*/ 11523 h 394"/>
                <a:gd name="T34" fmla="*/ 56602 w 359"/>
                <a:gd name="T35" fmla="*/ 7333 h 394"/>
                <a:gd name="T36" fmla="*/ 61908 w 359"/>
                <a:gd name="T37" fmla="*/ 0 h 394"/>
                <a:gd name="T38" fmla="*/ 62792 w 359"/>
                <a:gd name="T39" fmla="*/ 9428 h 394"/>
                <a:gd name="T40" fmla="*/ 62792 w 359"/>
                <a:gd name="T41" fmla="*/ 13619 h 394"/>
                <a:gd name="T42" fmla="*/ 61908 w 359"/>
                <a:gd name="T43" fmla="*/ 16238 h 394"/>
                <a:gd name="T44" fmla="*/ 74290 w 359"/>
                <a:gd name="T45" fmla="*/ 16238 h 394"/>
                <a:gd name="T46" fmla="*/ 82249 w 359"/>
                <a:gd name="T47" fmla="*/ 16238 h 394"/>
                <a:gd name="T48" fmla="*/ 94631 w 359"/>
                <a:gd name="T49" fmla="*/ 19904 h 394"/>
                <a:gd name="T50" fmla="*/ 103033 w 359"/>
                <a:gd name="T51" fmla="*/ 25666 h 394"/>
                <a:gd name="T52" fmla="*/ 108781 w 359"/>
                <a:gd name="T53" fmla="*/ 30380 h 394"/>
                <a:gd name="T54" fmla="*/ 114530 w 359"/>
                <a:gd name="T55" fmla="*/ 31951 h 394"/>
                <a:gd name="T56" fmla="*/ 118510 w 359"/>
                <a:gd name="T57" fmla="*/ 30904 h 394"/>
                <a:gd name="T58" fmla="*/ 121605 w 359"/>
                <a:gd name="T59" fmla="*/ 28285 h 394"/>
                <a:gd name="T60" fmla="*/ 126469 w 359"/>
                <a:gd name="T61" fmla="*/ 19380 h 394"/>
                <a:gd name="T62" fmla="*/ 137967 w 359"/>
                <a:gd name="T63" fmla="*/ 27237 h 394"/>
                <a:gd name="T64" fmla="*/ 143715 w 359"/>
                <a:gd name="T65" fmla="*/ 30904 h 394"/>
                <a:gd name="T66" fmla="*/ 149464 w 359"/>
                <a:gd name="T67" fmla="*/ 31951 h 394"/>
                <a:gd name="T68" fmla="*/ 156097 w 359"/>
                <a:gd name="T69" fmla="*/ 84331 h 394"/>
                <a:gd name="T70" fmla="*/ 149464 w 359"/>
                <a:gd name="T71" fmla="*/ 96902 h 394"/>
                <a:gd name="T72" fmla="*/ 142831 w 359"/>
                <a:gd name="T73" fmla="*/ 107902 h 394"/>
                <a:gd name="T74" fmla="*/ 139293 w 359"/>
                <a:gd name="T75" fmla="*/ 117330 h 394"/>
                <a:gd name="T76" fmla="*/ 138409 w 359"/>
                <a:gd name="T77" fmla="*/ 125187 h 394"/>
                <a:gd name="T78" fmla="*/ 138409 w 359"/>
                <a:gd name="T79" fmla="*/ 133568 h 394"/>
                <a:gd name="T80" fmla="*/ 141946 w 359"/>
                <a:gd name="T81" fmla="*/ 142996 h 394"/>
                <a:gd name="T82" fmla="*/ 146368 w 359"/>
                <a:gd name="T83" fmla="*/ 153472 h 394"/>
                <a:gd name="T84" fmla="*/ 149022 w 359"/>
                <a:gd name="T85" fmla="*/ 161852 h 394"/>
                <a:gd name="T86" fmla="*/ 149022 w 359"/>
                <a:gd name="T87" fmla="*/ 168138 h 394"/>
                <a:gd name="T88" fmla="*/ 145926 w 359"/>
                <a:gd name="T89" fmla="*/ 176519 h 394"/>
                <a:gd name="T90" fmla="*/ 144157 w 359"/>
                <a:gd name="T91" fmla="*/ 183852 h 394"/>
                <a:gd name="T92" fmla="*/ 141062 w 359"/>
                <a:gd name="T93" fmla="*/ 187518 h 394"/>
                <a:gd name="T94" fmla="*/ 136198 w 359"/>
                <a:gd name="T95" fmla="*/ 186471 h 394"/>
                <a:gd name="T96" fmla="*/ 131776 w 359"/>
                <a:gd name="T97" fmla="*/ 183328 h 394"/>
                <a:gd name="T98" fmla="*/ 126912 w 359"/>
                <a:gd name="T99" fmla="*/ 178090 h 394"/>
                <a:gd name="T100" fmla="*/ 122490 w 359"/>
                <a:gd name="T101" fmla="*/ 175471 h 394"/>
                <a:gd name="T102" fmla="*/ 117625 w 359"/>
                <a:gd name="T103" fmla="*/ 174424 h 394"/>
                <a:gd name="T104" fmla="*/ 108781 w 359"/>
                <a:gd name="T105" fmla="*/ 174424 h 394"/>
                <a:gd name="T106" fmla="*/ 97726 w 359"/>
                <a:gd name="T107" fmla="*/ 175995 h 394"/>
                <a:gd name="T108" fmla="*/ 80038 w 359"/>
                <a:gd name="T109" fmla="*/ 179661 h 394"/>
                <a:gd name="T110" fmla="*/ 57928 w 359"/>
                <a:gd name="T111" fmla="*/ 188042 h 394"/>
                <a:gd name="T112" fmla="*/ 38029 w 359"/>
                <a:gd name="T113" fmla="*/ 196423 h 394"/>
                <a:gd name="T114" fmla="*/ 23437 w 359"/>
                <a:gd name="T115" fmla="*/ 206375 h 39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06" name="Freeform 466">
              <a:extLst>
                <a:ext uri="{FF2B5EF4-FFF2-40B4-BE49-F238E27FC236}">
                  <a16:creationId xmlns:a16="http://schemas.microsoft.com/office/drawing/2014/main" xmlns="" id="{86E63D84-D5C4-8F3E-A8DC-CFA9D8250F31}"/>
                </a:ext>
              </a:extLst>
            </p:cNvPr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4772796" y="2402214"/>
              <a:ext cx="166179" cy="198712"/>
            </a:xfrm>
            <a:custGeom>
              <a:avLst/>
              <a:gdLst>
                <a:gd name="T0" fmla="*/ 175403 w 449"/>
                <a:gd name="T1" fmla="*/ 54500 h 523"/>
                <a:gd name="T2" fmla="*/ 173264 w 449"/>
                <a:gd name="T3" fmla="*/ 50867 h 523"/>
                <a:gd name="T4" fmla="*/ 174548 w 449"/>
                <a:gd name="T5" fmla="*/ 47753 h 523"/>
                <a:gd name="T6" fmla="*/ 180537 w 449"/>
                <a:gd name="T7" fmla="*/ 39967 h 523"/>
                <a:gd name="T8" fmla="*/ 188665 w 449"/>
                <a:gd name="T9" fmla="*/ 31143 h 523"/>
                <a:gd name="T10" fmla="*/ 191232 w 449"/>
                <a:gd name="T11" fmla="*/ 25952 h 523"/>
                <a:gd name="T12" fmla="*/ 192088 w 449"/>
                <a:gd name="T13" fmla="*/ 19205 h 523"/>
                <a:gd name="T14" fmla="*/ 184815 w 449"/>
                <a:gd name="T15" fmla="*/ 17648 h 523"/>
                <a:gd name="T16" fmla="*/ 180537 w 449"/>
                <a:gd name="T17" fmla="*/ 14014 h 523"/>
                <a:gd name="T18" fmla="*/ 175831 w 449"/>
                <a:gd name="T19" fmla="*/ 10900 h 523"/>
                <a:gd name="T20" fmla="*/ 166847 w 449"/>
                <a:gd name="T21" fmla="*/ 9343 h 523"/>
                <a:gd name="T22" fmla="*/ 161285 w 449"/>
                <a:gd name="T23" fmla="*/ 10381 h 523"/>
                <a:gd name="T24" fmla="*/ 157435 w 449"/>
                <a:gd name="T25" fmla="*/ 12457 h 523"/>
                <a:gd name="T26" fmla="*/ 151874 w 449"/>
                <a:gd name="T27" fmla="*/ 19205 h 523"/>
                <a:gd name="T28" fmla="*/ 145456 w 449"/>
                <a:gd name="T29" fmla="*/ 25952 h 523"/>
                <a:gd name="T30" fmla="*/ 139467 w 449"/>
                <a:gd name="T31" fmla="*/ 28029 h 523"/>
                <a:gd name="T32" fmla="*/ 132622 w 449"/>
                <a:gd name="T33" fmla="*/ 28548 h 523"/>
                <a:gd name="T34" fmla="*/ 122782 w 449"/>
                <a:gd name="T35" fmla="*/ 28029 h 523"/>
                <a:gd name="T36" fmla="*/ 114226 w 449"/>
                <a:gd name="T37" fmla="*/ 25952 h 523"/>
                <a:gd name="T38" fmla="*/ 100536 w 449"/>
                <a:gd name="T39" fmla="*/ 18686 h 523"/>
                <a:gd name="T40" fmla="*/ 88129 w 449"/>
                <a:gd name="T41" fmla="*/ 9862 h 523"/>
                <a:gd name="T42" fmla="*/ 80857 w 449"/>
                <a:gd name="T43" fmla="*/ 6229 h 523"/>
                <a:gd name="T44" fmla="*/ 72728 w 449"/>
                <a:gd name="T45" fmla="*/ 3114 h 523"/>
                <a:gd name="T46" fmla="*/ 57327 w 449"/>
                <a:gd name="T47" fmla="*/ 4152 h 523"/>
                <a:gd name="T48" fmla="*/ 50910 w 449"/>
                <a:gd name="T49" fmla="*/ 3114 h 523"/>
                <a:gd name="T50" fmla="*/ 44065 w 449"/>
                <a:gd name="T51" fmla="*/ 0 h 523"/>
                <a:gd name="T52" fmla="*/ 22246 w 449"/>
                <a:gd name="T53" fmla="*/ 0 h 523"/>
                <a:gd name="T54" fmla="*/ 2139 w 449"/>
                <a:gd name="T55" fmla="*/ 0 h 523"/>
                <a:gd name="T56" fmla="*/ 2139 w 449"/>
                <a:gd name="T57" fmla="*/ 9343 h 523"/>
                <a:gd name="T58" fmla="*/ 2139 w 449"/>
                <a:gd name="T59" fmla="*/ 19205 h 523"/>
                <a:gd name="T60" fmla="*/ 6417 w 449"/>
                <a:gd name="T61" fmla="*/ 31143 h 523"/>
                <a:gd name="T62" fmla="*/ 9840 w 449"/>
                <a:gd name="T63" fmla="*/ 47234 h 523"/>
                <a:gd name="T64" fmla="*/ 13262 w 449"/>
                <a:gd name="T65" fmla="*/ 66438 h 523"/>
                <a:gd name="T66" fmla="*/ 16257 w 449"/>
                <a:gd name="T67" fmla="*/ 89277 h 523"/>
                <a:gd name="T68" fmla="*/ 15829 w 449"/>
                <a:gd name="T69" fmla="*/ 106924 h 523"/>
                <a:gd name="T70" fmla="*/ 12407 w 449"/>
                <a:gd name="T71" fmla="*/ 119381 h 523"/>
                <a:gd name="T72" fmla="*/ 2995 w 449"/>
                <a:gd name="T73" fmla="*/ 139624 h 523"/>
                <a:gd name="T74" fmla="*/ 4278 w 449"/>
                <a:gd name="T75" fmla="*/ 166615 h 523"/>
                <a:gd name="T76" fmla="*/ 11979 w 449"/>
                <a:gd name="T77" fmla="*/ 175958 h 523"/>
                <a:gd name="T78" fmla="*/ 35936 w 449"/>
                <a:gd name="T79" fmla="*/ 190491 h 523"/>
                <a:gd name="T80" fmla="*/ 58183 w 449"/>
                <a:gd name="T81" fmla="*/ 205544 h 523"/>
                <a:gd name="T82" fmla="*/ 72728 w 449"/>
                <a:gd name="T83" fmla="*/ 218001 h 523"/>
                <a:gd name="T84" fmla="*/ 80857 w 449"/>
                <a:gd name="T85" fmla="*/ 226306 h 523"/>
                <a:gd name="T86" fmla="*/ 84707 w 449"/>
                <a:gd name="T87" fmla="*/ 234091 h 523"/>
                <a:gd name="T88" fmla="*/ 85990 w 449"/>
                <a:gd name="T89" fmla="*/ 240839 h 523"/>
                <a:gd name="T90" fmla="*/ 89413 w 449"/>
                <a:gd name="T91" fmla="*/ 248625 h 523"/>
                <a:gd name="T92" fmla="*/ 94119 w 449"/>
                <a:gd name="T93" fmla="*/ 255372 h 523"/>
                <a:gd name="T94" fmla="*/ 99680 w 449"/>
                <a:gd name="T95" fmla="*/ 261082 h 523"/>
                <a:gd name="T96" fmla="*/ 105670 w 449"/>
                <a:gd name="T97" fmla="*/ 265753 h 523"/>
                <a:gd name="T98" fmla="*/ 112943 w 449"/>
                <a:gd name="T99" fmla="*/ 269387 h 523"/>
                <a:gd name="T100" fmla="*/ 120215 w 449"/>
                <a:gd name="T101" fmla="*/ 271463 h 523"/>
                <a:gd name="T102" fmla="*/ 130055 w 449"/>
                <a:gd name="T103" fmla="*/ 260563 h 523"/>
                <a:gd name="T104" fmla="*/ 143317 w 449"/>
                <a:gd name="T105" fmla="*/ 239801 h 523"/>
                <a:gd name="T106" fmla="*/ 156152 w 449"/>
                <a:gd name="T107" fmla="*/ 221634 h 523"/>
                <a:gd name="T108" fmla="*/ 168558 w 449"/>
                <a:gd name="T109" fmla="*/ 202429 h 52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07" name="Freeform 467">
              <a:extLst>
                <a:ext uri="{FF2B5EF4-FFF2-40B4-BE49-F238E27FC236}">
                  <a16:creationId xmlns:a16="http://schemas.microsoft.com/office/drawing/2014/main" xmlns="" id="{9117406F-97A6-A014-8BF4-8D043FAEB886}"/>
                </a:ext>
              </a:extLst>
            </p:cNvPr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4757689" y="1732869"/>
              <a:ext cx="87896" cy="95288"/>
            </a:xfrm>
            <a:custGeom>
              <a:avLst/>
              <a:gdLst>
                <a:gd name="T0" fmla="*/ 5395 w 226"/>
                <a:gd name="T1" fmla="*/ 120650 h 246"/>
                <a:gd name="T2" fmla="*/ 16184 w 226"/>
                <a:gd name="T3" fmla="*/ 127000 h 246"/>
                <a:gd name="T4" fmla="*/ 23827 w 226"/>
                <a:gd name="T5" fmla="*/ 129646 h 246"/>
                <a:gd name="T6" fmla="*/ 30570 w 226"/>
                <a:gd name="T7" fmla="*/ 129646 h 246"/>
                <a:gd name="T8" fmla="*/ 38212 w 226"/>
                <a:gd name="T9" fmla="*/ 127529 h 246"/>
                <a:gd name="T10" fmla="*/ 49451 w 226"/>
                <a:gd name="T11" fmla="*/ 120650 h 246"/>
                <a:gd name="T12" fmla="*/ 63388 w 226"/>
                <a:gd name="T13" fmla="*/ 108479 h 246"/>
                <a:gd name="T14" fmla="*/ 72379 w 226"/>
                <a:gd name="T15" fmla="*/ 97367 h 246"/>
                <a:gd name="T16" fmla="*/ 71480 w 226"/>
                <a:gd name="T17" fmla="*/ 91546 h 246"/>
                <a:gd name="T18" fmla="*/ 66984 w 226"/>
                <a:gd name="T19" fmla="*/ 84667 h 246"/>
                <a:gd name="T20" fmla="*/ 64287 w 226"/>
                <a:gd name="T21" fmla="*/ 76729 h 246"/>
                <a:gd name="T22" fmla="*/ 63388 w 226"/>
                <a:gd name="T23" fmla="*/ 68792 h 246"/>
                <a:gd name="T24" fmla="*/ 63388 w 226"/>
                <a:gd name="T25" fmla="*/ 61383 h 246"/>
                <a:gd name="T26" fmla="*/ 65635 w 226"/>
                <a:gd name="T27" fmla="*/ 55562 h 246"/>
                <a:gd name="T28" fmla="*/ 70131 w 226"/>
                <a:gd name="T29" fmla="*/ 49742 h 246"/>
                <a:gd name="T30" fmla="*/ 75526 w 226"/>
                <a:gd name="T31" fmla="*/ 45508 h 246"/>
                <a:gd name="T32" fmla="*/ 91710 w 226"/>
                <a:gd name="T33" fmla="*/ 37571 h 246"/>
                <a:gd name="T34" fmla="*/ 101150 w 226"/>
                <a:gd name="T35" fmla="*/ 25929 h 246"/>
                <a:gd name="T36" fmla="*/ 99352 w 226"/>
                <a:gd name="T37" fmla="*/ 15875 h 246"/>
                <a:gd name="T38" fmla="*/ 96205 w 226"/>
                <a:gd name="T39" fmla="*/ 8996 h 246"/>
                <a:gd name="T40" fmla="*/ 95306 w 226"/>
                <a:gd name="T41" fmla="*/ 3175 h 246"/>
                <a:gd name="T42" fmla="*/ 90811 w 226"/>
                <a:gd name="T43" fmla="*/ 529 h 246"/>
                <a:gd name="T44" fmla="*/ 81370 w 226"/>
                <a:gd name="T45" fmla="*/ 3704 h 246"/>
                <a:gd name="T46" fmla="*/ 69232 w 226"/>
                <a:gd name="T47" fmla="*/ 10583 h 246"/>
                <a:gd name="T48" fmla="*/ 54396 w 226"/>
                <a:gd name="T49" fmla="*/ 20108 h 246"/>
                <a:gd name="T50" fmla="*/ 44956 w 226"/>
                <a:gd name="T51" fmla="*/ 26987 h 246"/>
                <a:gd name="T52" fmla="*/ 39112 w 226"/>
                <a:gd name="T53" fmla="*/ 29104 h 246"/>
                <a:gd name="T54" fmla="*/ 33717 w 226"/>
                <a:gd name="T55" fmla="*/ 28575 h 246"/>
                <a:gd name="T56" fmla="*/ 26524 w 226"/>
                <a:gd name="T57" fmla="*/ 24871 h 246"/>
                <a:gd name="T58" fmla="*/ 16184 w 226"/>
                <a:gd name="T59" fmla="*/ 16404 h 246"/>
                <a:gd name="T60" fmla="*/ 10789 w 226"/>
                <a:gd name="T61" fmla="*/ 20638 h 246"/>
                <a:gd name="T62" fmla="*/ 8092 w 226"/>
                <a:gd name="T63" fmla="*/ 50271 h 246"/>
                <a:gd name="T64" fmla="*/ 4496 w 226"/>
                <a:gd name="T65" fmla="*/ 86254 h 246"/>
                <a:gd name="T66" fmla="*/ 1349 w 226"/>
                <a:gd name="T67" fmla="*/ 112183 h 24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08" name="Freeform 468">
              <a:extLst>
                <a:ext uri="{FF2B5EF4-FFF2-40B4-BE49-F238E27FC236}">
                  <a16:creationId xmlns:a16="http://schemas.microsoft.com/office/drawing/2014/main" xmlns="" id="{C5A4107E-EA25-90FF-512F-52E54F102823}"/>
                </a:ext>
              </a:extLst>
            </p:cNvPr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5015885" y="1808403"/>
              <a:ext cx="19227" cy="40672"/>
            </a:xfrm>
            <a:custGeom>
              <a:avLst/>
              <a:gdLst>
                <a:gd name="T0" fmla="*/ 10001 w 60"/>
                <a:gd name="T1" fmla="*/ 0 h 81"/>
                <a:gd name="T2" fmla="*/ 10742 w 60"/>
                <a:gd name="T3" fmla="*/ 1372 h 81"/>
                <a:gd name="T4" fmla="*/ 11853 w 60"/>
                <a:gd name="T5" fmla="*/ 2058 h 81"/>
                <a:gd name="T6" fmla="*/ 13335 w 60"/>
                <a:gd name="T7" fmla="*/ 2058 h 81"/>
                <a:gd name="T8" fmla="*/ 14817 w 60"/>
                <a:gd name="T9" fmla="*/ 1372 h 81"/>
                <a:gd name="T10" fmla="*/ 17410 w 60"/>
                <a:gd name="T11" fmla="*/ 686 h 81"/>
                <a:gd name="T12" fmla="*/ 19632 w 60"/>
                <a:gd name="T13" fmla="*/ 0 h 81"/>
                <a:gd name="T14" fmla="*/ 19632 w 60"/>
                <a:gd name="T15" fmla="*/ 17835 h 81"/>
                <a:gd name="T16" fmla="*/ 20003 w 60"/>
                <a:gd name="T17" fmla="*/ 32240 h 81"/>
                <a:gd name="T18" fmla="*/ 20003 w 60"/>
                <a:gd name="T19" fmla="*/ 39099 h 81"/>
                <a:gd name="T20" fmla="*/ 20743 w 60"/>
                <a:gd name="T21" fmla="*/ 44587 h 81"/>
                <a:gd name="T22" fmla="*/ 21484 w 60"/>
                <a:gd name="T23" fmla="*/ 50074 h 81"/>
                <a:gd name="T24" fmla="*/ 22225 w 60"/>
                <a:gd name="T25" fmla="*/ 55562 h 81"/>
                <a:gd name="T26" fmla="*/ 7408 w 60"/>
                <a:gd name="T27" fmla="*/ 55562 h 81"/>
                <a:gd name="T28" fmla="*/ 5186 w 60"/>
                <a:gd name="T29" fmla="*/ 54876 h 81"/>
                <a:gd name="T30" fmla="*/ 2593 w 60"/>
                <a:gd name="T31" fmla="*/ 52818 h 81"/>
                <a:gd name="T32" fmla="*/ 1852 w 60"/>
                <a:gd name="T33" fmla="*/ 50760 h 81"/>
                <a:gd name="T34" fmla="*/ 741 w 60"/>
                <a:gd name="T35" fmla="*/ 49388 h 81"/>
                <a:gd name="T36" fmla="*/ 370 w 60"/>
                <a:gd name="T37" fmla="*/ 48017 h 81"/>
                <a:gd name="T38" fmla="*/ 0 w 60"/>
                <a:gd name="T39" fmla="*/ 46645 h 81"/>
                <a:gd name="T40" fmla="*/ 2593 w 60"/>
                <a:gd name="T41" fmla="*/ 8231 h 81"/>
                <a:gd name="T42" fmla="*/ 7408 w 60"/>
                <a:gd name="T43" fmla="*/ 4116 h 81"/>
                <a:gd name="T44" fmla="*/ 12594 w 60"/>
                <a:gd name="T45" fmla="*/ 0 h 81"/>
                <a:gd name="T46" fmla="*/ 10001 w 60"/>
                <a:gd name="T47" fmla="*/ 0 h 8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09" name="Freeform 469">
              <a:extLst>
                <a:ext uri="{FF2B5EF4-FFF2-40B4-BE49-F238E27FC236}">
                  <a16:creationId xmlns:a16="http://schemas.microsoft.com/office/drawing/2014/main" xmlns="" id="{66CBFCAA-98CE-9ABA-ED72-3F9FC676FF2B}"/>
                </a:ext>
              </a:extLst>
            </p:cNvPr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4399239" y="1175082"/>
              <a:ext cx="140084" cy="48806"/>
            </a:xfrm>
            <a:custGeom>
              <a:avLst/>
              <a:gdLst>
                <a:gd name="T0" fmla="*/ 109409 w 370"/>
                <a:gd name="T1" fmla="*/ 60473 h 129"/>
                <a:gd name="T2" fmla="*/ 112910 w 370"/>
                <a:gd name="T3" fmla="*/ 61506 h 129"/>
                <a:gd name="T4" fmla="*/ 121225 w 370"/>
                <a:gd name="T5" fmla="*/ 63574 h 129"/>
                <a:gd name="T6" fmla="*/ 129102 w 370"/>
                <a:gd name="T7" fmla="*/ 65641 h 129"/>
                <a:gd name="T8" fmla="*/ 132603 w 370"/>
                <a:gd name="T9" fmla="*/ 66675 h 129"/>
                <a:gd name="T10" fmla="*/ 161925 w 370"/>
                <a:gd name="T11" fmla="*/ 50135 h 129"/>
                <a:gd name="T12" fmla="*/ 156673 w 370"/>
                <a:gd name="T13" fmla="*/ 38765 h 129"/>
                <a:gd name="T14" fmla="*/ 150984 w 370"/>
                <a:gd name="T15" fmla="*/ 24809 h 129"/>
                <a:gd name="T16" fmla="*/ 146608 w 370"/>
                <a:gd name="T17" fmla="*/ 13955 h 129"/>
                <a:gd name="T18" fmla="*/ 144420 w 370"/>
                <a:gd name="T19" fmla="*/ 9303 h 129"/>
                <a:gd name="T20" fmla="*/ 131291 w 370"/>
                <a:gd name="T21" fmla="*/ 7753 h 129"/>
                <a:gd name="T22" fmla="*/ 112472 w 370"/>
                <a:gd name="T23" fmla="*/ 4652 h 129"/>
                <a:gd name="T24" fmla="*/ 93654 w 370"/>
                <a:gd name="T25" fmla="*/ 1034 h 129"/>
                <a:gd name="T26" fmla="*/ 80087 w 370"/>
                <a:gd name="T27" fmla="*/ 0 h 129"/>
                <a:gd name="T28" fmla="*/ 78337 w 370"/>
                <a:gd name="T29" fmla="*/ 0 h 129"/>
                <a:gd name="T30" fmla="*/ 77024 w 370"/>
                <a:gd name="T31" fmla="*/ 517 h 129"/>
                <a:gd name="T32" fmla="*/ 75273 w 370"/>
                <a:gd name="T33" fmla="*/ 1034 h 129"/>
                <a:gd name="T34" fmla="*/ 74398 w 370"/>
                <a:gd name="T35" fmla="*/ 1551 h 129"/>
                <a:gd name="T36" fmla="*/ 70897 w 370"/>
                <a:gd name="T37" fmla="*/ 3618 h 129"/>
                <a:gd name="T38" fmla="*/ 65645 w 370"/>
                <a:gd name="T39" fmla="*/ 6202 h 129"/>
                <a:gd name="T40" fmla="*/ 64332 w 370"/>
                <a:gd name="T41" fmla="*/ 10854 h 129"/>
                <a:gd name="T42" fmla="*/ 61269 w 370"/>
                <a:gd name="T43" fmla="*/ 18090 h 129"/>
                <a:gd name="T44" fmla="*/ 58643 w 370"/>
                <a:gd name="T45" fmla="*/ 24809 h 129"/>
                <a:gd name="T46" fmla="*/ 57330 w 370"/>
                <a:gd name="T47" fmla="*/ 28427 h 129"/>
                <a:gd name="T48" fmla="*/ 53391 w 370"/>
                <a:gd name="T49" fmla="*/ 27910 h 129"/>
                <a:gd name="T50" fmla="*/ 48578 w 370"/>
                <a:gd name="T51" fmla="*/ 25326 h 129"/>
                <a:gd name="T52" fmla="*/ 42888 w 370"/>
                <a:gd name="T53" fmla="*/ 22742 h 129"/>
                <a:gd name="T54" fmla="*/ 36761 w 370"/>
                <a:gd name="T55" fmla="*/ 19641 h 129"/>
                <a:gd name="T56" fmla="*/ 26258 w 370"/>
                <a:gd name="T57" fmla="*/ 13438 h 129"/>
                <a:gd name="T58" fmla="*/ 19256 w 370"/>
                <a:gd name="T59" fmla="*/ 9303 h 129"/>
                <a:gd name="T60" fmla="*/ 14004 w 370"/>
                <a:gd name="T61" fmla="*/ 12922 h 129"/>
                <a:gd name="T62" fmla="*/ 9190 w 370"/>
                <a:gd name="T63" fmla="*/ 17056 h 129"/>
                <a:gd name="T64" fmla="*/ 7002 w 370"/>
                <a:gd name="T65" fmla="*/ 19124 h 129"/>
                <a:gd name="T66" fmla="*/ 5252 w 370"/>
                <a:gd name="T67" fmla="*/ 21191 h 129"/>
                <a:gd name="T68" fmla="*/ 3939 w 370"/>
                <a:gd name="T69" fmla="*/ 23776 h 129"/>
                <a:gd name="T70" fmla="*/ 2188 w 370"/>
                <a:gd name="T71" fmla="*/ 26877 h 129"/>
                <a:gd name="T72" fmla="*/ 1313 w 370"/>
                <a:gd name="T73" fmla="*/ 29461 h 129"/>
                <a:gd name="T74" fmla="*/ 438 w 370"/>
                <a:gd name="T75" fmla="*/ 32562 h 129"/>
                <a:gd name="T76" fmla="*/ 0 w 370"/>
                <a:gd name="T77" fmla="*/ 35663 h 129"/>
                <a:gd name="T78" fmla="*/ 0 w 370"/>
                <a:gd name="T79" fmla="*/ 38765 h 129"/>
                <a:gd name="T80" fmla="*/ 438 w 370"/>
                <a:gd name="T81" fmla="*/ 42383 h 129"/>
                <a:gd name="T82" fmla="*/ 1313 w 370"/>
                <a:gd name="T83" fmla="*/ 45484 h 129"/>
                <a:gd name="T84" fmla="*/ 2626 w 370"/>
                <a:gd name="T85" fmla="*/ 49619 h 129"/>
                <a:gd name="T86" fmla="*/ 4814 w 370"/>
                <a:gd name="T87" fmla="*/ 53237 h 129"/>
                <a:gd name="T88" fmla="*/ 8753 w 370"/>
                <a:gd name="T89" fmla="*/ 52203 h 129"/>
                <a:gd name="T90" fmla="*/ 14442 w 370"/>
                <a:gd name="T91" fmla="*/ 51169 h 129"/>
                <a:gd name="T92" fmla="*/ 21882 w 370"/>
                <a:gd name="T93" fmla="*/ 50135 h 129"/>
                <a:gd name="T94" fmla="*/ 30197 w 370"/>
                <a:gd name="T95" fmla="*/ 49102 h 129"/>
                <a:gd name="T96" fmla="*/ 44639 w 370"/>
                <a:gd name="T97" fmla="*/ 47551 h 129"/>
                <a:gd name="T98" fmla="*/ 51203 w 370"/>
                <a:gd name="T99" fmla="*/ 47034 h 129"/>
                <a:gd name="T100" fmla="*/ 59956 w 370"/>
                <a:gd name="T101" fmla="*/ 47551 h 129"/>
                <a:gd name="T102" fmla="*/ 66521 w 370"/>
                <a:gd name="T103" fmla="*/ 48585 h 129"/>
                <a:gd name="T104" fmla="*/ 72647 w 370"/>
                <a:gd name="T105" fmla="*/ 50135 h 129"/>
                <a:gd name="T106" fmla="*/ 77461 w 370"/>
                <a:gd name="T107" fmla="*/ 51686 h 129"/>
                <a:gd name="T108" fmla="*/ 82713 w 370"/>
                <a:gd name="T109" fmla="*/ 53753 h 129"/>
                <a:gd name="T110" fmla="*/ 87965 w 370"/>
                <a:gd name="T111" fmla="*/ 55821 h 129"/>
                <a:gd name="T112" fmla="*/ 94967 w 370"/>
                <a:gd name="T113" fmla="*/ 56855 h 129"/>
                <a:gd name="T114" fmla="*/ 103720 w 370"/>
                <a:gd name="T115" fmla="*/ 57372 h 129"/>
                <a:gd name="T116" fmla="*/ 103720 w 370"/>
                <a:gd name="T117" fmla="*/ 60473 h 129"/>
                <a:gd name="T118" fmla="*/ 109409 w 370"/>
                <a:gd name="T119" fmla="*/ 60473 h 12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10" name="Freeform 470">
              <a:extLst>
                <a:ext uri="{FF2B5EF4-FFF2-40B4-BE49-F238E27FC236}">
                  <a16:creationId xmlns:a16="http://schemas.microsoft.com/office/drawing/2014/main" xmlns="" id="{A22EA1A1-CA06-72CF-3CAE-1B23886E6F84}"/>
                </a:ext>
              </a:extLst>
            </p:cNvPr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4754943" y="1702655"/>
              <a:ext cx="26094" cy="41835"/>
            </a:xfrm>
            <a:custGeom>
              <a:avLst/>
              <a:gdLst>
                <a:gd name="T0" fmla="*/ 10180 w 80"/>
                <a:gd name="T1" fmla="*/ 608 h 94"/>
                <a:gd name="T2" fmla="*/ 12819 w 80"/>
                <a:gd name="T3" fmla="*/ 0 h 94"/>
                <a:gd name="T4" fmla="*/ 15458 w 80"/>
                <a:gd name="T5" fmla="*/ 0 h 94"/>
                <a:gd name="T6" fmla="*/ 17720 w 80"/>
                <a:gd name="T7" fmla="*/ 1216 h 94"/>
                <a:gd name="T8" fmla="*/ 20359 w 80"/>
                <a:gd name="T9" fmla="*/ 2432 h 94"/>
                <a:gd name="T10" fmla="*/ 22622 w 80"/>
                <a:gd name="T11" fmla="*/ 3648 h 94"/>
                <a:gd name="T12" fmla="*/ 24884 w 80"/>
                <a:gd name="T13" fmla="*/ 4864 h 94"/>
                <a:gd name="T14" fmla="*/ 27523 w 80"/>
                <a:gd name="T15" fmla="*/ 4864 h 94"/>
                <a:gd name="T16" fmla="*/ 30162 w 80"/>
                <a:gd name="T17" fmla="*/ 4256 h 94"/>
                <a:gd name="T18" fmla="*/ 30162 w 80"/>
                <a:gd name="T19" fmla="*/ 23103 h 94"/>
                <a:gd name="T20" fmla="*/ 28277 w 80"/>
                <a:gd name="T21" fmla="*/ 26751 h 94"/>
                <a:gd name="T22" fmla="*/ 26015 w 80"/>
                <a:gd name="T23" fmla="*/ 31007 h 94"/>
                <a:gd name="T24" fmla="*/ 24130 w 80"/>
                <a:gd name="T25" fmla="*/ 35871 h 94"/>
                <a:gd name="T26" fmla="*/ 21867 w 80"/>
                <a:gd name="T27" fmla="*/ 41343 h 94"/>
                <a:gd name="T28" fmla="*/ 19228 w 80"/>
                <a:gd name="T29" fmla="*/ 51070 h 94"/>
                <a:gd name="T30" fmla="*/ 17720 w 80"/>
                <a:gd name="T31" fmla="*/ 57150 h 94"/>
                <a:gd name="T32" fmla="*/ 16212 w 80"/>
                <a:gd name="T33" fmla="*/ 56542 h 94"/>
                <a:gd name="T34" fmla="*/ 15081 w 80"/>
                <a:gd name="T35" fmla="*/ 55934 h 94"/>
                <a:gd name="T36" fmla="*/ 13950 w 80"/>
                <a:gd name="T37" fmla="*/ 55326 h 94"/>
                <a:gd name="T38" fmla="*/ 12819 w 80"/>
                <a:gd name="T39" fmla="*/ 54110 h 94"/>
                <a:gd name="T40" fmla="*/ 10934 w 80"/>
                <a:gd name="T41" fmla="*/ 51070 h 94"/>
                <a:gd name="T42" fmla="*/ 8672 w 80"/>
                <a:gd name="T43" fmla="*/ 47422 h 94"/>
                <a:gd name="T44" fmla="*/ 7163 w 80"/>
                <a:gd name="T45" fmla="*/ 43774 h 94"/>
                <a:gd name="T46" fmla="*/ 4901 w 80"/>
                <a:gd name="T47" fmla="*/ 39519 h 94"/>
                <a:gd name="T48" fmla="*/ 2639 w 80"/>
                <a:gd name="T49" fmla="*/ 36479 h 94"/>
                <a:gd name="T50" fmla="*/ 0 w 80"/>
                <a:gd name="T51" fmla="*/ 34047 h 94"/>
                <a:gd name="T52" fmla="*/ 3016 w 80"/>
                <a:gd name="T53" fmla="*/ 24927 h 94"/>
                <a:gd name="T54" fmla="*/ 4901 w 80"/>
                <a:gd name="T55" fmla="*/ 17631 h 94"/>
                <a:gd name="T56" fmla="*/ 7163 w 80"/>
                <a:gd name="T57" fmla="*/ 10336 h 94"/>
                <a:gd name="T58" fmla="*/ 10180 w 80"/>
                <a:gd name="T59" fmla="*/ 608 h 9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11" name="Freeform 471">
              <a:extLst>
                <a:ext uri="{FF2B5EF4-FFF2-40B4-BE49-F238E27FC236}">
                  <a16:creationId xmlns:a16="http://schemas.microsoft.com/office/drawing/2014/main" xmlns="" id="{394CF07D-6560-8FAC-E18D-0F8AF289A1A9}"/>
                </a:ext>
              </a:extLst>
            </p:cNvPr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4595631" y="3174981"/>
              <a:ext cx="53561" cy="41835"/>
            </a:xfrm>
            <a:custGeom>
              <a:avLst/>
              <a:gdLst>
                <a:gd name="T0" fmla="*/ 1376 w 135"/>
                <a:gd name="T1" fmla="*/ 32074 h 98"/>
                <a:gd name="T2" fmla="*/ 5045 w 135"/>
                <a:gd name="T3" fmla="*/ 31491 h 98"/>
                <a:gd name="T4" fmla="*/ 8255 w 135"/>
                <a:gd name="T5" fmla="*/ 30908 h 98"/>
                <a:gd name="T6" fmla="*/ 11007 w 135"/>
                <a:gd name="T7" fmla="*/ 29158 h 98"/>
                <a:gd name="T8" fmla="*/ 14217 w 135"/>
                <a:gd name="T9" fmla="*/ 27409 h 98"/>
                <a:gd name="T10" fmla="*/ 19262 w 135"/>
                <a:gd name="T11" fmla="*/ 22160 h 98"/>
                <a:gd name="T12" fmla="*/ 23848 w 135"/>
                <a:gd name="T13" fmla="*/ 16329 h 98"/>
                <a:gd name="T14" fmla="*/ 27975 w 135"/>
                <a:gd name="T15" fmla="*/ 10497 h 98"/>
                <a:gd name="T16" fmla="*/ 32561 w 135"/>
                <a:gd name="T17" fmla="*/ 4665 h 98"/>
                <a:gd name="T18" fmla="*/ 34854 w 135"/>
                <a:gd name="T19" fmla="*/ 2916 h 98"/>
                <a:gd name="T20" fmla="*/ 37606 w 135"/>
                <a:gd name="T21" fmla="*/ 1166 h 98"/>
                <a:gd name="T22" fmla="*/ 40357 w 135"/>
                <a:gd name="T23" fmla="*/ 0 h 98"/>
                <a:gd name="T24" fmla="*/ 44026 w 135"/>
                <a:gd name="T25" fmla="*/ 0 h 98"/>
                <a:gd name="T26" fmla="*/ 46778 w 135"/>
                <a:gd name="T27" fmla="*/ 0 h 98"/>
                <a:gd name="T28" fmla="*/ 50447 w 135"/>
                <a:gd name="T29" fmla="*/ 1749 h 98"/>
                <a:gd name="T30" fmla="*/ 53657 w 135"/>
                <a:gd name="T31" fmla="*/ 3499 h 98"/>
                <a:gd name="T32" fmla="*/ 56409 w 135"/>
                <a:gd name="T33" fmla="*/ 6415 h 98"/>
                <a:gd name="T34" fmla="*/ 58702 w 135"/>
                <a:gd name="T35" fmla="*/ 9331 h 98"/>
                <a:gd name="T36" fmla="*/ 60536 w 135"/>
                <a:gd name="T37" fmla="*/ 13996 h 98"/>
                <a:gd name="T38" fmla="*/ 61453 w 135"/>
                <a:gd name="T39" fmla="*/ 17495 h 98"/>
                <a:gd name="T40" fmla="*/ 61912 w 135"/>
                <a:gd name="T41" fmla="*/ 21577 h 98"/>
                <a:gd name="T42" fmla="*/ 61453 w 135"/>
                <a:gd name="T43" fmla="*/ 23327 h 98"/>
                <a:gd name="T44" fmla="*/ 60536 w 135"/>
                <a:gd name="T45" fmla="*/ 25076 h 98"/>
                <a:gd name="T46" fmla="*/ 59160 w 135"/>
                <a:gd name="T47" fmla="*/ 27409 h 98"/>
                <a:gd name="T48" fmla="*/ 56867 w 135"/>
                <a:gd name="T49" fmla="*/ 29741 h 98"/>
                <a:gd name="T50" fmla="*/ 51823 w 135"/>
                <a:gd name="T51" fmla="*/ 35573 h 98"/>
                <a:gd name="T52" fmla="*/ 45861 w 135"/>
                <a:gd name="T53" fmla="*/ 41988 h 98"/>
                <a:gd name="T54" fmla="*/ 39899 w 135"/>
                <a:gd name="T55" fmla="*/ 47819 h 98"/>
                <a:gd name="T56" fmla="*/ 33937 w 135"/>
                <a:gd name="T57" fmla="*/ 53068 h 98"/>
                <a:gd name="T58" fmla="*/ 28892 w 135"/>
                <a:gd name="T59" fmla="*/ 55984 h 98"/>
                <a:gd name="T60" fmla="*/ 25223 w 135"/>
                <a:gd name="T61" fmla="*/ 57150 h 98"/>
                <a:gd name="T62" fmla="*/ 23389 w 135"/>
                <a:gd name="T63" fmla="*/ 56567 h 98"/>
                <a:gd name="T64" fmla="*/ 19720 w 135"/>
                <a:gd name="T65" fmla="*/ 53651 h 98"/>
                <a:gd name="T66" fmla="*/ 14675 w 135"/>
                <a:gd name="T67" fmla="*/ 49569 h 98"/>
                <a:gd name="T68" fmla="*/ 9631 w 135"/>
                <a:gd name="T69" fmla="*/ 44904 h 98"/>
                <a:gd name="T70" fmla="*/ 5045 w 135"/>
                <a:gd name="T71" fmla="*/ 39655 h 98"/>
                <a:gd name="T72" fmla="*/ 2293 w 135"/>
                <a:gd name="T73" fmla="*/ 36156 h 98"/>
                <a:gd name="T74" fmla="*/ 459 w 135"/>
                <a:gd name="T75" fmla="*/ 34407 h 98"/>
                <a:gd name="T76" fmla="*/ 0 w 135"/>
                <a:gd name="T77" fmla="*/ 33240 h 98"/>
                <a:gd name="T78" fmla="*/ 0 w 135"/>
                <a:gd name="T79" fmla="*/ 32657 h 98"/>
                <a:gd name="T80" fmla="*/ 1376 w 135"/>
                <a:gd name="T81" fmla="*/ 32074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12" name="Freeform 472">
              <a:extLst>
                <a:ext uri="{FF2B5EF4-FFF2-40B4-BE49-F238E27FC236}">
                  <a16:creationId xmlns:a16="http://schemas.microsoft.com/office/drawing/2014/main" xmlns="" id="{9E2477A3-6E04-7B54-25F9-11F13BE0766F}"/>
                </a:ext>
              </a:extLst>
            </p:cNvPr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4397865" y="1209943"/>
              <a:ext cx="113990" cy="61590"/>
            </a:xfrm>
            <a:custGeom>
              <a:avLst/>
              <a:gdLst>
                <a:gd name="T0" fmla="*/ 81084 w 312"/>
                <a:gd name="T1" fmla="*/ 84138 h 155"/>
                <a:gd name="T2" fmla="*/ 81929 w 312"/>
                <a:gd name="T3" fmla="*/ 81967 h 155"/>
                <a:gd name="T4" fmla="*/ 83196 w 312"/>
                <a:gd name="T5" fmla="*/ 80338 h 155"/>
                <a:gd name="T6" fmla="*/ 84463 w 312"/>
                <a:gd name="T7" fmla="*/ 78710 h 155"/>
                <a:gd name="T8" fmla="*/ 85730 w 312"/>
                <a:gd name="T9" fmla="*/ 77081 h 155"/>
                <a:gd name="T10" fmla="*/ 89108 w 312"/>
                <a:gd name="T11" fmla="*/ 74367 h 155"/>
                <a:gd name="T12" fmla="*/ 92909 w 312"/>
                <a:gd name="T13" fmla="*/ 71653 h 155"/>
                <a:gd name="T14" fmla="*/ 100511 w 312"/>
                <a:gd name="T15" fmla="*/ 66768 h 155"/>
                <a:gd name="T16" fmla="*/ 106845 w 312"/>
                <a:gd name="T17" fmla="*/ 63511 h 155"/>
                <a:gd name="T18" fmla="*/ 107690 w 312"/>
                <a:gd name="T19" fmla="*/ 59168 h 155"/>
                <a:gd name="T20" fmla="*/ 109802 w 312"/>
                <a:gd name="T21" fmla="*/ 52654 h 155"/>
                <a:gd name="T22" fmla="*/ 111491 w 312"/>
                <a:gd name="T23" fmla="*/ 49397 h 155"/>
                <a:gd name="T24" fmla="*/ 112758 w 312"/>
                <a:gd name="T25" fmla="*/ 46683 h 155"/>
                <a:gd name="T26" fmla="*/ 113602 w 312"/>
                <a:gd name="T27" fmla="*/ 44512 h 155"/>
                <a:gd name="T28" fmla="*/ 114869 w 312"/>
                <a:gd name="T29" fmla="*/ 43969 h 155"/>
                <a:gd name="T30" fmla="*/ 131762 w 312"/>
                <a:gd name="T31" fmla="*/ 23884 h 155"/>
                <a:gd name="T32" fmla="*/ 131762 w 312"/>
                <a:gd name="T33" fmla="*/ 21170 h 155"/>
                <a:gd name="T34" fmla="*/ 130917 w 312"/>
                <a:gd name="T35" fmla="*/ 18999 h 155"/>
                <a:gd name="T36" fmla="*/ 129228 w 312"/>
                <a:gd name="T37" fmla="*/ 17370 h 155"/>
                <a:gd name="T38" fmla="*/ 127539 w 312"/>
                <a:gd name="T39" fmla="*/ 16285 h 155"/>
                <a:gd name="T40" fmla="*/ 122893 w 312"/>
                <a:gd name="T41" fmla="*/ 15199 h 155"/>
                <a:gd name="T42" fmla="*/ 118248 w 312"/>
                <a:gd name="T43" fmla="*/ 14656 h 155"/>
                <a:gd name="T44" fmla="*/ 113180 w 312"/>
                <a:gd name="T45" fmla="*/ 14656 h 155"/>
                <a:gd name="T46" fmla="*/ 109379 w 312"/>
                <a:gd name="T47" fmla="*/ 14656 h 155"/>
                <a:gd name="T48" fmla="*/ 108112 w 312"/>
                <a:gd name="T49" fmla="*/ 14113 h 155"/>
                <a:gd name="T50" fmla="*/ 106845 w 312"/>
                <a:gd name="T51" fmla="*/ 13571 h 155"/>
                <a:gd name="T52" fmla="*/ 106423 w 312"/>
                <a:gd name="T53" fmla="*/ 12485 h 155"/>
                <a:gd name="T54" fmla="*/ 106845 w 312"/>
                <a:gd name="T55" fmla="*/ 10857 h 155"/>
                <a:gd name="T56" fmla="*/ 97977 w 312"/>
                <a:gd name="T57" fmla="*/ 10314 h 155"/>
                <a:gd name="T58" fmla="*/ 91220 w 312"/>
                <a:gd name="T59" fmla="*/ 9228 h 155"/>
                <a:gd name="T60" fmla="*/ 85307 w 312"/>
                <a:gd name="T61" fmla="*/ 7057 h 155"/>
                <a:gd name="T62" fmla="*/ 79817 w 312"/>
                <a:gd name="T63" fmla="*/ 4885 h 155"/>
                <a:gd name="T64" fmla="*/ 74750 w 312"/>
                <a:gd name="T65" fmla="*/ 3257 h 155"/>
                <a:gd name="T66" fmla="*/ 68837 w 312"/>
                <a:gd name="T67" fmla="*/ 1628 h 155"/>
                <a:gd name="T68" fmla="*/ 61658 w 312"/>
                <a:gd name="T69" fmla="*/ 543 h 155"/>
                <a:gd name="T70" fmla="*/ 53212 w 312"/>
                <a:gd name="T71" fmla="*/ 0 h 155"/>
                <a:gd name="T72" fmla="*/ 46455 w 312"/>
                <a:gd name="T73" fmla="*/ 543 h 155"/>
                <a:gd name="T74" fmla="*/ 31251 w 312"/>
                <a:gd name="T75" fmla="*/ 2171 h 155"/>
                <a:gd name="T76" fmla="*/ 22383 w 312"/>
                <a:gd name="T77" fmla="*/ 3257 h 155"/>
                <a:gd name="T78" fmla="*/ 14359 w 312"/>
                <a:gd name="T79" fmla="*/ 4343 h 155"/>
                <a:gd name="T80" fmla="*/ 7602 w 312"/>
                <a:gd name="T81" fmla="*/ 5428 h 155"/>
                <a:gd name="T82" fmla="*/ 2956 w 312"/>
                <a:gd name="T83" fmla="*/ 6514 h 155"/>
                <a:gd name="T84" fmla="*/ 3801 w 312"/>
                <a:gd name="T85" fmla="*/ 9228 h 155"/>
                <a:gd name="T86" fmla="*/ 4645 w 312"/>
                <a:gd name="T87" fmla="*/ 10314 h 155"/>
                <a:gd name="T88" fmla="*/ 5490 w 312"/>
                <a:gd name="T89" fmla="*/ 10314 h 155"/>
                <a:gd name="T90" fmla="*/ 6335 w 312"/>
                <a:gd name="T91" fmla="*/ 10857 h 155"/>
                <a:gd name="T92" fmla="*/ 7602 w 312"/>
                <a:gd name="T93" fmla="*/ 10857 h 155"/>
                <a:gd name="T94" fmla="*/ 8024 w 312"/>
                <a:gd name="T95" fmla="*/ 10857 h 155"/>
                <a:gd name="T96" fmla="*/ 8446 w 312"/>
                <a:gd name="T97" fmla="*/ 11942 h 155"/>
                <a:gd name="T98" fmla="*/ 8446 w 312"/>
                <a:gd name="T99" fmla="*/ 14113 h 155"/>
                <a:gd name="T100" fmla="*/ 8446 w 312"/>
                <a:gd name="T101" fmla="*/ 16285 h 155"/>
                <a:gd name="T102" fmla="*/ 8024 w 312"/>
                <a:gd name="T103" fmla="*/ 18999 h 155"/>
                <a:gd name="T104" fmla="*/ 7602 w 312"/>
                <a:gd name="T105" fmla="*/ 21170 h 155"/>
                <a:gd name="T106" fmla="*/ 6335 w 312"/>
                <a:gd name="T107" fmla="*/ 22799 h 155"/>
                <a:gd name="T108" fmla="*/ 5068 w 312"/>
                <a:gd name="T109" fmla="*/ 24427 h 155"/>
                <a:gd name="T110" fmla="*/ 3801 w 312"/>
                <a:gd name="T111" fmla="*/ 26056 h 155"/>
                <a:gd name="T112" fmla="*/ 1689 w 312"/>
                <a:gd name="T113" fmla="*/ 26598 h 155"/>
                <a:gd name="T114" fmla="*/ 0 w 312"/>
                <a:gd name="T115" fmla="*/ 27141 h 155"/>
                <a:gd name="T116" fmla="*/ 31251 w 312"/>
                <a:gd name="T117" fmla="*/ 36912 h 155"/>
                <a:gd name="T118" fmla="*/ 36741 w 312"/>
                <a:gd name="T119" fmla="*/ 60254 h 155"/>
                <a:gd name="T120" fmla="*/ 70104 w 312"/>
                <a:gd name="T121" fmla="*/ 66768 h 155"/>
                <a:gd name="T122" fmla="*/ 81084 w 312"/>
                <a:gd name="T123" fmla="*/ 84138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13" name="Freeform 473">
              <a:extLst>
                <a:ext uri="{FF2B5EF4-FFF2-40B4-BE49-F238E27FC236}">
                  <a16:creationId xmlns:a16="http://schemas.microsoft.com/office/drawing/2014/main" xmlns="" id="{2D6F413C-F1F4-664D-D86F-AA93083E7F64}"/>
                </a:ext>
              </a:extLst>
            </p:cNvPr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4143790" y="1345905"/>
              <a:ext cx="16480" cy="44158"/>
            </a:xfrm>
            <a:custGeom>
              <a:avLst/>
              <a:gdLst>
                <a:gd name="T0" fmla="*/ 0 w 46"/>
                <a:gd name="T1" fmla="*/ 30163 h 50"/>
                <a:gd name="T2" fmla="*/ 828 w 46"/>
                <a:gd name="T3" fmla="*/ 21717 h 50"/>
                <a:gd name="T4" fmla="*/ 414 w 46"/>
                <a:gd name="T5" fmla="*/ 16891 h 50"/>
                <a:gd name="T6" fmla="*/ 828 w 46"/>
                <a:gd name="T7" fmla="*/ 15685 h 50"/>
                <a:gd name="T8" fmla="*/ 1242 w 46"/>
                <a:gd name="T9" fmla="*/ 15685 h 50"/>
                <a:gd name="T10" fmla="*/ 2485 w 46"/>
                <a:gd name="T11" fmla="*/ 14478 h 50"/>
                <a:gd name="T12" fmla="*/ 5384 w 46"/>
                <a:gd name="T13" fmla="*/ 14478 h 50"/>
                <a:gd name="T14" fmla="*/ 19050 w 46"/>
                <a:gd name="T15" fmla="*/ 0 h 50"/>
                <a:gd name="T16" fmla="*/ 19050 w 46"/>
                <a:gd name="T17" fmla="*/ 60325 h 50"/>
                <a:gd name="T18" fmla="*/ 16565 w 46"/>
                <a:gd name="T19" fmla="*/ 59119 h 50"/>
                <a:gd name="T20" fmla="*/ 13666 w 46"/>
                <a:gd name="T21" fmla="*/ 54293 h 50"/>
                <a:gd name="T22" fmla="*/ 10353 w 46"/>
                <a:gd name="T23" fmla="*/ 49467 h 50"/>
                <a:gd name="T24" fmla="*/ 7040 w 46"/>
                <a:gd name="T25" fmla="*/ 44641 h 50"/>
                <a:gd name="T26" fmla="*/ 2071 w 46"/>
                <a:gd name="T27" fmla="*/ 33782 h 50"/>
                <a:gd name="T28" fmla="*/ 0 w 46"/>
                <a:gd name="T29" fmla="*/ 30163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14" name="Freeform 474">
              <a:extLst>
                <a:ext uri="{FF2B5EF4-FFF2-40B4-BE49-F238E27FC236}">
                  <a16:creationId xmlns:a16="http://schemas.microsoft.com/office/drawing/2014/main" xmlns="" id="{DA3DD358-64E4-CA5E-BBF0-D1A1BE94A9FD}"/>
                </a:ext>
              </a:extLst>
            </p:cNvPr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4746702" y="2725265"/>
              <a:ext cx="60428" cy="176633"/>
            </a:xfrm>
            <a:custGeom>
              <a:avLst/>
              <a:gdLst>
                <a:gd name="T0" fmla="*/ 4208 w 166"/>
                <a:gd name="T1" fmla="*/ 149225 h 456"/>
                <a:gd name="T2" fmla="*/ 7995 w 166"/>
                <a:gd name="T3" fmla="*/ 153458 h 456"/>
                <a:gd name="T4" fmla="*/ 15569 w 166"/>
                <a:gd name="T5" fmla="*/ 158750 h 456"/>
                <a:gd name="T6" fmla="*/ 24405 w 166"/>
                <a:gd name="T7" fmla="*/ 161925 h 456"/>
                <a:gd name="T8" fmla="*/ 29455 w 166"/>
                <a:gd name="T9" fmla="*/ 165100 h 456"/>
                <a:gd name="T10" fmla="*/ 33663 w 166"/>
                <a:gd name="T11" fmla="*/ 169333 h 456"/>
                <a:gd name="T12" fmla="*/ 36187 w 166"/>
                <a:gd name="T13" fmla="*/ 175154 h 456"/>
                <a:gd name="T14" fmla="*/ 36187 w 166"/>
                <a:gd name="T15" fmla="*/ 183621 h 456"/>
                <a:gd name="T16" fmla="*/ 32821 w 166"/>
                <a:gd name="T17" fmla="*/ 192088 h 456"/>
                <a:gd name="T18" fmla="*/ 28613 w 166"/>
                <a:gd name="T19" fmla="*/ 198438 h 456"/>
                <a:gd name="T20" fmla="*/ 26089 w 166"/>
                <a:gd name="T21" fmla="*/ 205317 h 456"/>
                <a:gd name="T22" fmla="*/ 25247 w 166"/>
                <a:gd name="T23" fmla="*/ 211667 h 456"/>
                <a:gd name="T24" fmla="*/ 26930 w 166"/>
                <a:gd name="T25" fmla="*/ 217487 h 456"/>
                <a:gd name="T26" fmla="*/ 31980 w 166"/>
                <a:gd name="T27" fmla="*/ 224367 h 456"/>
                <a:gd name="T28" fmla="*/ 43761 w 166"/>
                <a:gd name="T29" fmla="*/ 235479 h 456"/>
                <a:gd name="T30" fmla="*/ 50494 w 166"/>
                <a:gd name="T31" fmla="*/ 234421 h 456"/>
                <a:gd name="T32" fmla="*/ 50494 w 166"/>
                <a:gd name="T33" fmla="*/ 223837 h 456"/>
                <a:gd name="T34" fmla="*/ 55123 w 166"/>
                <a:gd name="T35" fmla="*/ 218546 h 456"/>
                <a:gd name="T36" fmla="*/ 61014 w 166"/>
                <a:gd name="T37" fmla="*/ 215371 h 456"/>
                <a:gd name="T38" fmla="*/ 64380 w 166"/>
                <a:gd name="T39" fmla="*/ 212725 h 456"/>
                <a:gd name="T40" fmla="*/ 67325 w 166"/>
                <a:gd name="T41" fmla="*/ 207962 h 456"/>
                <a:gd name="T42" fmla="*/ 69850 w 166"/>
                <a:gd name="T43" fmla="*/ 198438 h 456"/>
                <a:gd name="T44" fmla="*/ 69429 w 166"/>
                <a:gd name="T45" fmla="*/ 185208 h 456"/>
                <a:gd name="T46" fmla="*/ 66484 w 166"/>
                <a:gd name="T47" fmla="*/ 173567 h 456"/>
                <a:gd name="T48" fmla="*/ 62276 w 166"/>
                <a:gd name="T49" fmla="*/ 162454 h 456"/>
                <a:gd name="T50" fmla="*/ 59330 w 166"/>
                <a:gd name="T51" fmla="*/ 150283 h 456"/>
                <a:gd name="T52" fmla="*/ 56806 w 166"/>
                <a:gd name="T53" fmla="*/ 142346 h 456"/>
                <a:gd name="T54" fmla="*/ 49652 w 166"/>
                <a:gd name="T55" fmla="*/ 132821 h 456"/>
                <a:gd name="T56" fmla="*/ 40816 w 166"/>
                <a:gd name="T57" fmla="*/ 118533 h 456"/>
                <a:gd name="T58" fmla="*/ 35767 w 166"/>
                <a:gd name="T59" fmla="*/ 109008 h 456"/>
                <a:gd name="T60" fmla="*/ 33663 w 166"/>
                <a:gd name="T61" fmla="*/ 103187 h 456"/>
                <a:gd name="T62" fmla="*/ 34083 w 166"/>
                <a:gd name="T63" fmla="*/ 93663 h 456"/>
                <a:gd name="T64" fmla="*/ 37029 w 166"/>
                <a:gd name="T65" fmla="*/ 77788 h 456"/>
                <a:gd name="T66" fmla="*/ 40395 w 166"/>
                <a:gd name="T67" fmla="*/ 68263 h 456"/>
                <a:gd name="T68" fmla="*/ 41237 w 166"/>
                <a:gd name="T69" fmla="*/ 59796 h 456"/>
                <a:gd name="T70" fmla="*/ 39974 w 166"/>
                <a:gd name="T71" fmla="*/ 43392 h 456"/>
                <a:gd name="T72" fmla="*/ 38712 w 166"/>
                <a:gd name="T73" fmla="*/ 23813 h 456"/>
                <a:gd name="T74" fmla="*/ 37450 w 166"/>
                <a:gd name="T75" fmla="*/ 9525 h 456"/>
                <a:gd name="T76" fmla="*/ 29876 w 166"/>
                <a:gd name="T77" fmla="*/ 4233 h 456"/>
                <a:gd name="T78" fmla="*/ 13886 w 166"/>
                <a:gd name="T79" fmla="*/ 2117 h 456"/>
                <a:gd name="T80" fmla="*/ 5049 w 166"/>
                <a:gd name="T81" fmla="*/ 5292 h 456"/>
                <a:gd name="T82" fmla="*/ 9257 w 166"/>
                <a:gd name="T83" fmla="*/ 13229 h 456"/>
                <a:gd name="T84" fmla="*/ 13886 w 166"/>
                <a:gd name="T85" fmla="*/ 15875 h 456"/>
                <a:gd name="T86" fmla="*/ 16831 w 166"/>
                <a:gd name="T87" fmla="*/ 23283 h 456"/>
                <a:gd name="T88" fmla="*/ 16831 w 166"/>
                <a:gd name="T89" fmla="*/ 33867 h 456"/>
                <a:gd name="T90" fmla="*/ 16831 w 166"/>
                <a:gd name="T91" fmla="*/ 41275 h 456"/>
                <a:gd name="T92" fmla="*/ 15148 w 166"/>
                <a:gd name="T93" fmla="*/ 44979 h 456"/>
                <a:gd name="T94" fmla="*/ 12203 w 166"/>
                <a:gd name="T95" fmla="*/ 50271 h 456"/>
                <a:gd name="T96" fmla="*/ 6312 w 166"/>
                <a:gd name="T97" fmla="*/ 57679 h 456"/>
                <a:gd name="T98" fmla="*/ 1262 w 166"/>
                <a:gd name="T99" fmla="*/ 64558 h 456"/>
                <a:gd name="T100" fmla="*/ 2945 w 166"/>
                <a:gd name="T101" fmla="*/ 146579 h 4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15" name="Freeform 475">
              <a:extLst>
                <a:ext uri="{FF2B5EF4-FFF2-40B4-BE49-F238E27FC236}">
                  <a16:creationId xmlns:a16="http://schemas.microsoft.com/office/drawing/2014/main" xmlns="" id="{767F15EA-2F1C-25EB-A018-23F49DF03652}"/>
                </a:ext>
              </a:extLst>
            </p:cNvPr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4307223" y="1679414"/>
              <a:ext cx="12360" cy="41835"/>
            </a:xfrm>
            <a:custGeom>
              <a:avLst/>
              <a:gdLst>
                <a:gd name="T0" fmla="*/ 14287 w 27"/>
                <a:gd name="T1" fmla="*/ 0 h 19"/>
                <a:gd name="T2" fmla="*/ 14287 w 27"/>
                <a:gd name="T3" fmla="*/ 36095 h 19"/>
                <a:gd name="T4" fmla="*/ 14287 w 27"/>
                <a:gd name="T5" fmla="*/ 57150 h 19"/>
                <a:gd name="T6" fmla="*/ 4762 w 27"/>
                <a:gd name="T7" fmla="*/ 57150 h 19"/>
                <a:gd name="T8" fmla="*/ 0 w 27"/>
                <a:gd name="T9" fmla="*/ 57150 h 19"/>
                <a:gd name="T10" fmla="*/ 4762 w 27"/>
                <a:gd name="T11" fmla="*/ 36095 h 19"/>
                <a:gd name="T12" fmla="*/ 1428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16" name="Freeform 476">
              <a:extLst>
                <a:ext uri="{FF2B5EF4-FFF2-40B4-BE49-F238E27FC236}">
                  <a16:creationId xmlns:a16="http://schemas.microsoft.com/office/drawing/2014/main" xmlns="" id="{BC9B56A3-1381-9369-4C9F-7807B01CC389}"/>
                </a:ext>
              </a:extLst>
            </p:cNvPr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4583271" y="2865875"/>
              <a:ext cx="163432" cy="159201"/>
            </a:xfrm>
            <a:custGeom>
              <a:avLst/>
              <a:gdLst>
                <a:gd name="T0" fmla="*/ 122492 w 438"/>
                <a:gd name="T1" fmla="*/ 4285 h 406"/>
                <a:gd name="T2" fmla="*/ 138019 w 438"/>
                <a:gd name="T3" fmla="*/ 14463 h 406"/>
                <a:gd name="T4" fmla="*/ 156565 w 438"/>
                <a:gd name="T5" fmla="*/ 25177 h 406"/>
                <a:gd name="T6" fmla="*/ 170367 w 438"/>
                <a:gd name="T7" fmla="*/ 31070 h 406"/>
                <a:gd name="T8" fmla="*/ 179424 w 438"/>
                <a:gd name="T9" fmla="*/ 32677 h 406"/>
                <a:gd name="T10" fmla="*/ 183306 w 438"/>
                <a:gd name="T11" fmla="*/ 43390 h 406"/>
                <a:gd name="T12" fmla="*/ 185031 w 438"/>
                <a:gd name="T13" fmla="*/ 64282 h 406"/>
                <a:gd name="T14" fmla="*/ 187188 w 438"/>
                <a:gd name="T15" fmla="*/ 84102 h 406"/>
                <a:gd name="T16" fmla="*/ 188913 w 438"/>
                <a:gd name="T17" fmla="*/ 104458 h 406"/>
                <a:gd name="T18" fmla="*/ 188913 w 438"/>
                <a:gd name="T19" fmla="*/ 119457 h 406"/>
                <a:gd name="T20" fmla="*/ 187619 w 438"/>
                <a:gd name="T21" fmla="*/ 126957 h 406"/>
                <a:gd name="T22" fmla="*/ 183306 w 438"/>
                <a:gd name="T23" fmla="*/ 138742 h 406"/>
                <a:gd name="T24" fmla="*/ 175542 w 438"/>
                <a:gd name="T25" fmla="*/ 153741 h 406"/>
                <a:gd name="T26" fmla="*/ 168642 w 438"/>
                <a:gd name="T27" fmla="*/ 164454 h 406"/>
                <a:gd name="T28" fmla="*/ 164328 w 438"/>
                <a:gd name="T29" fmla="*/ 171418 h 406"/>
                <a:gd name="T30" fmla="*/ 161309 w 438"/>
                <a:gd name="T31" fmla="*/ 177847 h 406"/>
                <a:gd name="T32" fmla="*/ 160447 w 438"/>
                <a:gd name="T33" fmla="*/ 188560 h 406"/>
                <a:gd name="T34" fmla="*/ 154840 w 438"/>
                <a:gd name="T35" fmla="*/ 199274 h 406"/>
                <a:gd name="T36" fmla="*/ 138450 w 438"/>
                <a:gd name="T37" fmla="*/ 214809 h 406"/>
                <a:gd name="T38" fmla="*/ 88418 w 438"/>
                <a:gd name="T39" fmla="*/ 207845 h 406"/>
                <a:gd name="T40" fmla="*/ 78498 w 438"/>
                <a:gd name="T41" fmla="*/ 203024 h 406"/>
                <a:gd name="T42" fmla="*/ 71166 w 438"/>
                <a:gd name="T43" fmla="*/ 198202 h 406"/>
                <a:gd name="T44" fmla="*/ 64696 w 438"/>
                <a:gd name="T45" fmla="*/ 192310 h 406"/>
                <a:gd name="T46" fmla="*/ 59952 w 438"/>
                <a:gd name="T47" fmla="*/ 185346 h 406"/>
                <a:gd name="T48" fmla="*/ 53482 w 438"/>
                <a:gd name="T49" fmla="*/ 172490 h 406"/>
                <a:gd name="T50" fmla="*/ 46581 w 438"/>
                <a:gd name="T51" fmla="*/ 158562 h 406"/>
                <a:gd name="T52" fmla="*/ 40543 w 438"/>
                <a:gd name="T53" fmla="*/ 149455 h 406"/>
                <a:gd name="T54" fmla="*/ 31054 w 438"/>
                <a:gd name="T55" fmla="*/ 138742 h 406"/>
                <a:gd name="T56" fmla="*/ 18978 w 438"/>
                <a:gd name="T57" fmla="*/ 125350 h 406"/>
                <a:gd name="T58" fmla="*/ 10351 w 438"/>
                <a:gd name="T59" fmla="*/ 114100 h 406"/>
                <a:gd name="T60" fmla="*/ 5607 w 438"/>
                <a:gd name="T61" fmla="*/ 104458 h 406"/>
                <a:gd name="T62" fmla="*/ 1725 w 438"/>
                <a:gd name="T63" fmla="*/ 94280 h 406"/>
                <a:gd name="T64" fmla="*/ 0 w 438"/>
                <a:gd name="T65" fmla="*/ 82495 h 406"/>
                <a:gd name="T66" fmla="*/ 7764 w 438"/>
                <a:gd name="T67" fmla="*/ 75531 h 406"/>
                <a:gd name="T68" fmla="*/ 17252 w 438"/>
                <a:gd name="T69" fmla="*/ 75531 h 406"/>
                <a:gd name="T70" fmla="*/ 22859 w 438"/>
                <a:gd name="T71" fmla="*/ 75531 h 406"/>
                <a:gd name="T72" fmla="*/ 27172 w 438"/>
                <a:gd name="T73" fmla="*/ 73924 h 406"/>
                <a:gd name="T74" fmla="*/ 33211 w 438"/>
                <a:gd name="T75" fmla="*/ 70174 h 406"/>
                <a:gd name="T76" fmla="*/ 42700 w 438"/>
                <a:gd name="T77" fmla="*/ 57854 h 406"/>
                <a:gd name="T78" fmla="*/ 50463 w 438"/>
                <a:gd name="T79" fmla="*/ 46604 h 406"/>
                <a:gd name="T80" fmla="*/ 56070 w 438"/>
                <a:gd name="T81" fmla="*/ 42855 h 406"/>
                <a:gd name="T82" fmla="*/ 64696 w 438"/>
                <a:gd name="T83" fmla="*/ 38033 h 406"/>
                <a:gd name="T84" fmla="*/ 77204 w 438"/>
                <a:gd name="T85" fmla="*/ 32141 h 406"/>
                <a:gd name="T86" fmla="*/ 87556 w 438"/>
                <a:gd name="T87" fmla="*/ 26784 h 406"/>
                <a:gd name="T88" fmla="*/ 91006 w 438"/>
                <a:gd name="T89" fmla="*/ 23034 h 406"/>
                <a:gd name="T90" fmla="*/ 90575 w 438"/>
                <a:gd name="T91" fmla="*/ 20356 h 406"/>
                <a:gd name="T92" fmla="*/ 91006 w 438"/>
                <a:gd name="T93" fmla="*/ 16070 h 406"/>
                <a:gd name="T94" fmla="*/ 91869 w 438"/>
                <a:gd name="T95" fmla="*/ 9107 h 406"/>
                <a:gd name="T96" fmla="*/ 93594 w 438"/>
                <a:gd name="T97" fmla="*/ 6428 h 406"/>
                <a:gd name="T98" fmla="*/ 97044 w 438"/>
                <a:gd name="T99" fmla="*/ 6428 h 406"/>
                <a:gd name="T100" fmla="*/ 100064 w 438"/>
                <a:gd name="T101" fmla="*/ 4821 h 406"/>
                <a:gd name="T102" fmla="*/ 101789 w 438"/>
                <a:gd name="T103" fmla="*/ 2143 h 406"/>
                <a:gd name="T104" fmla="*/ 105239 w 438"/>
                <a:gd name="T105" fmla="*/ 1071 h 406"/>
                <a:gd name="T106" fmla="*/ 108258 w 438"/>
                <a:gd name="T107" fmla="*/ 1607 h 406"/>
                <a:gd name="T108" fmla="*/ 113865 w 438"/>
                <a:gd name="T109" fmla="*/ 536 h 4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17" name="Freeform 477">
              <a:extLst>
                <a:ext uri="{FF2B5EF4-FFF2-40B4-BE49-F238E27FC236}">
                  <a16:creationId xmlns:a16="http://schemas.microsoft.com/office/drawing/2014/main" xmlns="" id="{A855DEFC-BA81-C3C7-F210-CBECE0B90D0D}"/>
                </a:ext>
              </a:extLst>
            </p:cNvPr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4507736" y="2702024"/>
              <a:ext cx="254074" cy="219630"/>
            </a:xfrm>
            <a:custGeom>
              <a:avLst/>
              <a:gdLst>
                <a:gd name="T0" fmla="*/ 222215 w 678"/>
                <a:gd name="T1" fmla="*/ 4182 h 574"/>
                <a:gd name="T2" fmla="*/ 239108 w 678"/>
                <a:gd name="T3" fmla="*/ 13591 h 574"/>
                <a:gd name="T4" fmla="*/ 279393 w 678"/>
                <a:gd name="T5" fmla="*/ 32931 h 574"/>
                <a:gd name="T6" fmla="*/ 285890 w 678"/>
                <a:gd name="T7" fmla="*/ 45999 h 574"/>
                <a:gd name="T8" fmla="*/ 293687 w 678"/>
                <a:gd name="T9" fmla="*/ 49135 h 574"/>
                <a:gd name="T10" fmla="*/ 293687 w 678"/>
                <a:gd name="T11" fmla="*/ 66385 h 574"/>
                <a:gd name="T12" fmla="*/ 293254 w 678"/>
                <a:gd name="T13" fmla="*/ 75271 h 574"/>
                <a:gd name="T14" fmla="*/ 288922 w 678"/>
                <a:gd name="T15" fmla="*/ 82589 h 574"/>
                <a:gd name="T16" fmla="*/ 280259 w 678"/>
                <a:gd name="T17" fmla="*/ 93043 h 574"/>
                <a:gd name="T18" fmla="*/ 276360 w 678"/>
                <a:gd name="T19" fmla="*/ 180859 h 574"/>
                <a:gd name="T20" fmla="*/ 199690 w 678"/>
                <a:gd name="T21" fmla="*/ 202813 h 574"/>
                <a:gd name="T22" fmla="*/ 199690 w 678"/>
                <a:gd name="T23" fmla="*/ 216926 h 574"/>
                <a:gd name="T24" fmla="*/ 197091 w 678"/>
                <a:gd name="T25" fmla="*/ 227381 h 574"/>
                <a:gd name="T26" fmla="*/ 192326 w 678"/>
                <a:gd name="T27" fmla="*/ 227381 h 574"/>
                <a:gd name="T28" fmla="*/ 187994 w 678"/>
                <a:gd name="T29" fmla="*/ 229994 h 574"/>
                <a:gd name="T30" fmla="*/ 184096 w 678"/>
                <a:gd name="T31" fmla="*/ 232608 h 574"/>
                <a:gd name="T32" fmla="*/ 179331 w 678"/>
                <a:gd name="T33" fmla="*/ 233653 h 574"/>
                <a:gd name="T34" fmla="*/ 178032 w 678"/>
                <a:gd name="T35" fmla="*/ 242017 h 574"/>
                <a:gd name="T36" fmla="*/ 177598 w 678"/>
                <a:gd name="T37" fmla="*/ 247767 h 574"/>
                <a:gd name="T38" fmla="*/ 174566 w 678"/>
                <a:gd name="T39" fmla="*/ 252471 h 574"/>
                <a:gd name="T40" fmla="*/ 158106 w 678"/>
                <a:gd name="T41" fmla="*/ 260312 h 574"/>
                <a:gd name="T42" fmla="*/ 142945 w 678"/>
                <a:gd name="T43" fmla="*/ 268152 h 574"/>
                <a:gd name="T44" fmla="*/ 135581 w 678"/>
                <a:gd name="T45" fmla="*/ 274425 h 574"/>
                <a:gd name="T46" fmla="*/ 119987 w 678"/>
                <a:gd name="T47" fmla="*/ 294811 h 574"/>
                <a:gd name="T48" fmla="*/ 111757 w 678"/>
                <a:gd name="T49" fmla="*/ 299515 h 574"/>
                <a:gd name="T50" fmla="*/ 103094 w 678"/>
                <a:gd name="T51" fmla="*/ 300038 h 574"/>
                <a:gd name="T52" fmla="*/ 83601 w 678"/>
                <a:gd name="T53" fmla="*/ 300038 h 574"/>
                <a:gd name="T54" fmla="*/ 80569 w 678"/>
                <a:gd name="T55" fmla="*/ 292197 h 574"/>
                <a:gd name="T56" fmla="*/ 71473 w 678"/>
                <a:gd name="T57" fmla="*/ 285925 h 574"/>
                <a:gd name="T58" fmla="*/ 57611 w 678"/>
                <a:gd name="T59" fmla="*/ 284879 h 574"/>
                <a:gd name="T60" fmla="*/ 40285 w 678"/>
                <a:gd name="T61" fmla="*/ 290629 h 574"/>
                <a:gd name="T62" fmla="*/ 14295 w 678"/>
                <a:gd name="T63" fmla="*/ 275470 h 574"/>
                <a:gd name="T64" fmla="*/ 0 w 678"/>
                <a:gd name="T65" fmla="*/ 148974 h 574"/>
                <a:gd name="T66" fmla="*/ 31621 w 678"/>
                <a:gd name="T67" fmla="*/ 149496 h 574"/>
                <a:gd name="T68" fmla="*/ 44616 w 678"/>
                <a:gd name="T69" fmla="*/ 147405 h 574"/>
                <a:gd name="T70" fmla="*/ 51547 w 678"/>
                <a:gd name="T71" fmla="*/ 143746 h 574"/>
                <a:gd name="T72" fmla="*/ 55879 w 678"/>
                <a:gd name="T73" fmla="*/ 133815 h 574"/>
                <a:gd name="T74" fmla="*/ 56745 w 678"/>
                <a:gd name="T75" fmla="*/ 119702 h 574"/>
                <a:gd name="T76" fmla="*/ 54579 w 678"/>
                <a:gd name="T77" fmla="*/ 96702 h 574"/>
                <a:gd name="T78" fmla="*/ 56312 w 678"/>
                <a:gd name="T79" fmla="*/ 86248 h 574"/>
                <a:gd name="T80" fmla="*/ 60643 w 678"/>
                <a:gd name="T81" fmla="*/ 89384 h 574"/>
                <a:gd name="T82" fmla="*/ 75371 w 678"/>
                <a:gd name="T83" fmla="*/ 91475 h 574"/>
                <a:gd name="T84" fmla="*/ 81435 w 678"/>
                <a:gd name="T85" fmla="*/ 97225 h 574"/>
                <a:gd name="T86" fmla="*/ 84468 w 678"/>
                <a:gd name="T87" fmla="*/ 105066 h 574"/>
                <a:gd name="T88" fmla="*/ 90099 w 678"/>
                <a:gd name="T89" fmla="*/ 109770 h 574"/>
                <a:gd name="T90" fmla="*/ 104393 w 678"/>
                <a:gd name="T91" fmla="*/ 113429 h 574"/>
                <a:gd name="T92" fmla="*/ 116522 w 678"/>
                <a:gd name="T93" fmla="*/ 111861 h 574"/>
                <a:gd name="T94" fmla="*/ 130383 w 678"/>
                <a:gd name="T95" fmla="*/ 104020 h 574"/>
                <a:gd name="T96" fmla="*/ 138180 w 678"/>
                <a:gd name="T97" fmla="*/ 102452 h 574"/>
                <a:gd name="T98" fmla="*/ 143378 w 678"/>
                <a:gd name="T99" fmla="*/ 100884 h 574"/>
                <a:gd name="T100" fmla="*/ 148576 w 678"/>
                <a:gd name="T101" fmla="*/ 99316 h 574"/>
                <a:gd name="T102" fmla="*/ 154641 w 678"/>
                <a:gd name="T103" fmla="*/ 95134 h 574"/>
                <a:gd name="T104" fmla="*/ 159405 w 678"/>
                <a:gd name="T105" fmla="*/ 87816 h 574"/>
                <a:gd name="T106" fmla="*/ 165903 w 678"/>
                <a:gd name="T107" fmla="*/ 65862 h 574"/>
                <a:gd name="T108" fmla="*/ 174566 w 678"/>
                <a:gd name="T109" fmla="*/ 24568 h 574"/>
                <a:gd name="T110" fmla="*/ 179331 w 678"/>
                <a:gd name="T111" fmla="*/ 5227 h 574"/>
                <a:gd name="T112" fmla="*/ 186695 w 678"/>
                <a:gd name="T113" fmla="*/ 3136 h 574"/>
                <a:gd name="T114" fmla="*/ 196225 w 678"/>
                <a:gd name="T115" fmla="*/ 4182 h 574"/>
                <a:gd name="T116" fmla="*/ 208786 w 678"/>
                <a:gd name="T117" fmla="*/ 523 h 57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18" name="Freeform 478">
              <a:extLst>
                <a:ext uri="{FF2B5EF4-FFF2-40B4-BE49-F238E27FC236}">
                  <a16:creationId xmlns:a16="http://schemas.microsoft.com/office/drawing/2014/main" xmlns="" id="{269CBBA0-D0C5-DDBC-8081-AC90D1E26133}"/>
                </a:ext>
              </a:extLst>
            </p:cNvPr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4279756" y="2901898"/>
              <a:ext cx="303515" cy="278894"/>
            </a:xfrm>
            <a:custGeom>
              <a:avLst/>
              <a:gdLst>
                <a:gd name="T0" fmla="*/ 345206 w 810"/>
                <a:gd name="T1" fmla="*/ 22011 h 727"/>
                <a:gd name="T2" fmla="*/ 331779 w 810"/>
                <a:gd name="T3" fmla="*/ 13626 h 727"/>
                <a:gd name="T4" fmla="*/ 310989 w 810"/>
                <a:gd name="T5" fmla="*/ 17294 h 727"/>
                <a:gd name="T6" fmla="*/ 274606 w 810"/>
                <a:gd name="T7" fmla="*/ 23059 h 727"/>
                <a:gd name="T8" fmla="*/ 261612 w 810"/>
                <a:gd name="T9" fmla="*/ 28824 h 727"/>
                <a:gd name="T10" fmla="*/ 121277 w 810"/>
                <a:gd name="T11" fmla="*/ 20963 h 727"/>
                <a:gd name="T12" fmla="*/ 100487 w 810"/>
                <a:gd name="T13" fmla="*/ 19391 h 727"/>
                <a:gd name="T14" fmla="*/ 74499 w 810"/>
                <a:gd name="T15" fmla="*/ 8909 h 727"/>
                <a:gd name="T16" fmla="*/ 50243 w 810"/>
                <a:gd name="T17" fmla="*/ 0 h 727"/>
                <a:gd name="T18" fmla="*/ 35950 w 810"/>
                <a:gd name="T19" fmla="*/ 2620 h 727"/>
                <a:gd name="T20" fmla="*/ 22956 w 810"/>
                <a:gd name="T21" fmla="*/ 12578 h 727"/>
                <a:gd name="T22" fmla="*/ 0 w 810"/>
                <a:gd name="T23" fmla="*/ 28824 h 727"/>
                <a:gd name="T24" fmla="*/ 3032 w 810"/>
                <a:gd name="T25" fmla="*/ 35637 h 727"/>
                <a:gd name="T26" fmla="*/ 11261 w 810"/>
                <a:gd name="T27" fmla="*/ 38781 h 727"/>
                <a:gd name="T28" fmla="*/ 15593 w 810"/>
                <a:gd name="T29" fmla="*/ 67605 h 727"/>
                <a:gd name="T30" fmla="*/ 25988 w 810"/>
                <a:gd name="T31" fmla="*/ 100622 h 727"/>
                <a:gd name="T32" fmla="*/ 47211 w 810"/>
                <a:gd name="T33" fmla="*/ 144644 h 727"/>
                <a:gd name="T34" fmla="*/ 57607 w 810"/>
                <a:gd name="T35" fmla="*/ 157221 h 727"/>
                <a:gd name="T36" fmla="*/ 68868 w 810"/>
                <a:gd name="T37" fmla="*/ 158270 h 727"/>
                <a:gd name="T38" fmla="*/ 68868 w 810"/>
                <a:gd name="T39" fmla="*/ 173992 h 727"/>
                <a:gd name="T40" fmla="*/ 65836 w 810"/>
                <a:gd name="T41" fmla="*/ 188142 h 727"/>
                <a:gd name="T42" fmla="*/ 63237 w 810"/>
                <a:gd name="T43" fmla="*/ 206484 h 727"/>
                <a:gd name="T44" fmla="*/ 64970 w 810"/>
                <a:gd name="T45" fmla="*/ 222730 h 727"/>
                <a:gd name="T46" fmla="*/ 74932 w 810"/>
                <a:gd name="T47" fmla="*/ 253651 h 727"/>
                <a:gd name="T48" fmla="*/ 77531 w 810"/>
                <a:gd name="T49" fmla="*/ 271469 h 727"/>
                <a:gd name="T50" fmla="*/ 80996 w 810"/>
                <a:gd name="T51" fmla="*/ 317587 h 727"/>
                <a:gd name="T52" fmla="*/ 88359 w 810"/>
                <a:gd name="T53" fmla="*/ 339074 h 727"/>
                <a:gd name="T54" fmla="*/ 100054 w 810"/>
                <a:gd name="T55" fmla="*/ 361609 h 727"/>
                <a:gd name="T56" fmla="*/ 106117 w 810"/>
                <a:gd name="T57" fmla="*/ 366850 h 727"/>
                <a:gd name="T58" fmla="*/ 112181 w 810"/>
                <a:gd name="T59" fmla="*/ 374711 h 727"/>
                <a:gd name="T60" fmla="*/ 114780 w 810"/>
                <a:gd name="T61" fmla="*/ 355320 h 727"/>
                <a:gd name="T62" fmla="*/ 133405 w 810"/>
                <a:gd name="T63" fmla="*/ 364754 h 727"/>
                <a:gd name="T64" fmla="*/ 142067 w 810"/>
                <a:gd name="T65" fmla="*/ 373663 h 727"/>
                <a:gd name="T66" fmla="*/ 161125 w 810"/>
                <a:gd name="T67" fmla="*/ 380476 h 727"/>
                <a:gd name="T68" fmla="*/ 176285 w 810"/>
                <a:gd name="T69" fmla="*/ 378904 h 727"/>
                <a:gd name="T70" fmla="*/ 185814 w 810"/>
                <a:gd name="T71" fmla="*/ 372091 h 727"/>
                <a:gd name="T72" fmla="*/ 195776 w 810"/>
                <a:gd name="T73" fmla="*/ 353748 h 727"/>
                <a:gd name="T74" fmla="*/ 200540 w 810"/>
                <a:gd name="T75" fmla="*/ 277234 h 727"/>
                <a:gd name="T76" fmla="*/ 201406 w 810"/>
                <a:gd name="T77" fmla="*/ 251554 h 727"/>
                <a:gd name="T78" fmla="*/ 204005 w 810"/>
                <a:gd name="T79" fmla="*/ 245790 h 727"/>
                <a:gd name="T80" fmla="*/ 200540 w 810"/>
                <a:gd name="T81" fmla="*/ 223254 h 727"/>
                <a:gd name="T82" fmla="*/ 203139 w 810"/>
                <a:gd name="T83" fmla="*/ 192858 h 727"/>
                <a:gd name="T84" fmla="*/ 216566 w 810"/>
                <a:gd name="T85" fmla="*/ 172944 h 727"/>
                <a:gd name="T86" fmla="*/ 227394 w 810"/>
                <a:gd name="T87" fmla="*/ 167703 h 727"/>
                <a:gd name="T88" fmla="*/ 233025 w 810"/>
                <a:gd name="T89" fmla="*/ 121585 h 727"/>
                <a:gd name="T90" fmla="*/ 238656 w 810"/>
                <a:gd name="T91" fmla="*/ 77563 h 727"/>
                <a:gd name="T92" fmla="*/ 234324 w 810"/>
                <a:gd name="T93" fmla="*/ 64985 h 727"/>
                <a:gd name="T94" fmla="*/ 229993 w 810"/>
                <a:gd name="T95" fmla="*/ 51883 h 727"/>
                <a:gd name="T96" fmla="*/ 233458 w 810"/>
                <a:gd name="T97" fmla="*/ 45070 h 727"/>
                <a:gd name="T98" fmla="*/ 267243 w 810"/>
                <a:gd name="T99" fmla="*/ 41926 h 727"/>
                <a:gd name="T100" fmla="*/ 306658 w 810"/>
                <a:gd name="T101" fmla="*/ 33017 h 727"/>
                <a:gd name="T102" fmla="*/ 347805 w 810"/>
                <a:gd name="T103" fmla="*/ 31968 h 72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19" name="Freeform 479">
              <a:extLst>
                <a:ext uri="{FF2B5EF4-FFF2-40B4-BE49-F238E27FC236}">
                  <a16:creationId xmlns:a16="http://schemas.microsoft.com/office/drawing/2014/main" xmlns="" id="{6A791BB1-9602-DF4F-1DBE-111A61AEBD78}"/>
                </a:ext>
              </a:extLst>
            </p:cNvPr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3656244" y="2118672"/>
              <a:ext cx="140084" cy="103423"/>
            </a:xfrm>
            <a:custGeom>
              <a:avLst/>
              <a:gdLst>
                <a:gd name="T0" fmla="*/ 90057 w 365"/>
                <a:gd name="T1" fmla="*/ 130339 h 271"/>
                <a:gd name="T2" fmla="*/ 72312 w 365"/>
                <a:gd name="T3" fmla="*/ 128254 h 271"/>
                <a:gd name="T4" fmla="*/ 53679 w 365"/>
                <a:gd name="T5" fmla="*/ 128775 h 271"/>
                <a:gd name="T6" fmla="*/ 40814 w 365"/>
                <a:gd name="T7" fmla="*/ 130339 h 271"/>
                <a:gd name="T8" fmla="*/ 32829 w 365"/>
                <a:gd name="T9" fmla="*/ 132946 h 271"/>
                <a:gd name="T10" fmla="*/ 11534 w 365"/>
                <a:gd name="T11" fmla="*/ 141288 h 271"/>
                <a:gd name="T12" fmla="*/ 8873 w 365"/>
                <a:gd name="T13" fmla="*/ 140767 h 271"/>
                <a:gd name="T14" fmla="*/ 7542 w 365"/>
                <a:gd name="T15" fmla="*/ 138681 h 271"/>
                <a:gd name="T16" fmla="*/ 7985 w 365"/>
                <a:gd name="T17" fmla="*/ 132425 h 271"/>
                <a:gd name="T18" fmla="*/ 11534 w 365"/>
                <a:gd name="T19" fmla="*/ 118870 h 271"/>
                <a:gd name="T20" fmla="*/ 27061 w 365"/>
                <a:gd name="T21" fmla="*/ 117827 h 271"/>
                <a:gd name="T22" fmla="*/ 39483 w 365"/>
                <a:gd name="T23" fmla="*/ 115741 h 271"/>
                <a:gd name="T24" fmla="*/ 51017 w 365"/>
                <a:gd name="T25" fmla="*/ 113656 h 271"/>
                <a:gd name="T26" fmla="*/ 64770 w 365"/>
                <a:gd name="T27" fmla="*/ 112613 h 271"/>
                <a:gd name="T28" fmla="*/ 80741 w 365"/>
                <a:gd name="T29" fmla="*/ 113656 h 271"/>
                <a:gd name="T30" fmla="*/ 88282 w 365"/>
                <a:gd name="T31" fmla="*/ 113656 h 271"/>
                <a:gd name="T32" fmla="*/ 97155 w 365"/>
                <a:gd name="T33" fmla="*/ 112613 h 271"/>
                <a:gd name="T34" fmla="*/ 95380 w 365"/>
                <a:gd name="T35" fmla="*/ 108442 h 271"/>
                <a:gd name="T36" fmla="*/ 93162 w 365"/>
                <a:gd name="T37" fmla="*/ 104793 h 271"/>
                <a:gd name="T38" fmla="*/ 86508 w 365"/>
                <a:gd name="T39" fmla="*/ 101143 h 271"/>
                <a:gd name="T40" fmla="*/ 77635 w 365"/>
                <a:gd name="T41" fmla="*/ 99579 h 271"/>
                <a:gd name="T42" fmla="*/ 67432 w 365"/>
                <a:gd name="T43" fmla="*/ 99058 h 271"/>
                <a:gd name="T44" fmla="*/ 41258 w 365"/>
                <a:gd name="T45" fmla="*/ 100101 h 271"/>
                <a:gd name="T46" fmla="*/ 28392 w 365"/>
                <a:gd name="T47" fmla="*/ 102186 h 271"/>
                <a:gd name="T48" fmla="*/ 14640 w 365"/>
                <a:gd name="T49" fmla="*/ 105836 h 271"/>
                <a:gd name="T50" fmla="*/ 16858 w 365"/>
                <a:gd name="T51" fmla="*/ 95409 h 271"/>
                <a:gd name="T52" fmla="*/ 17302 w 365"/>
                <a:gd name="T53" fmla="*/ 89674 h 271"/>
                <a:gd name="T54" fmla="*/ 11534 w 365"/>
                <a:gd name="T55" fmla="*/ 85503 h 271"/>
                <a:gd name="T56" fmla="*/ 5767 w 365"/>
                <a:gd name="T57" fmla="*/ 83417 h 271"/>
                <a:gd name="T58" fmla="*/ 4880 w 365"/>
                <a:gd name="T59" fmla="*/ 76640 h 271"/>
                <a:gd name="T60" fmla="*/ 2662 w 365"/>
                <a:gd name="T61" fmla="*/ 74554 h 271"/>
                <a:gd name="T62" fmla="*/ 887 w 365"/>
                <a:gd name="T63" fmla="*/ 73511 h 271"/>
                <a:gd name="T64" fmla="*/ 0 w 365"/>
                <a:gd name="T65" fmla="*/ 70383 h 271"/>
                <a:gd name="T66" fmla="*/ 2218 w 365"/>
                <a:gd name="T67" fmla="*/ 59956 h 271"/>
                <a:gd name="T68" fmla="*/ 7542 w 365"/>
                <a:gd name="T69" fmla="*/ 47965 h 271"/>
                <a:gd name="T70" fmla="*/ 13309 w 365"/>
                <a:gd name="T71" fmla="*/ 35974 h 271"/>
                <a:gd name="T72" fmla="*/ 17302 w 365"/>
                <a:gd name="T73" fmla="*/ 25547 h 271"/>
                <a:gd name="T74" fmla="*/ 21294 w 365"/>
                <a:gd name="T75" fmla="*/ 21897 h 271"/>
                <a:gd name="T76" fmla="*/ 21738 w 365"/>
                <a:gd name="T77" fmla="*/ 25025 h 271"/>
                <a:gd name="T78" fmla="*/ 23069 w 365"/>
                <a:gd name="T79" fmla="*/ 18769 h 271"/>
                <a:gd name="T80" fmla="*/ 33272 w 365"/>
                <a:gd name="T81" fmla="*/ 16162 h 271"/>
                <a:gd name="T82" fmla="*/ 50574 w 365"/>
                <a:gd name="T83" fmla="*/ 9384 h 271"/>
                <a:gd name="T84" fmla="*/ 73199 w 365"/>
                <a:gd name="T85" fmla="*/ 0 h 271"/>
                <a:gd name="T86" fmla="*/ 81628 w 365"/>
                <a:gd name="T87" fmla="*/ 7820 h 271"/>
                <a:gd name="T88" fmla="*/ 89613 w 365"/>
                <a:gd name="T89" fmla="*/ 12513 h 271"/>
                <a:gd name="T90" fmla="*/ 97599 w 365"/>
                <a:gd name="T91" fmla="*/ 15119 h 271"/>
                <a:gd name="T92" fmla="*/ 106028 w 365"/>
                <a:gd name="T93" fmla="*/ 15641 h 271"/>
                <a:gd name="T94" fmla="*/ 106915 w 365"/>
                <a:gd name="T95" fmla="*/ 27111 h 271"/>
                <a:gd name="T96" fmla="*/ 109577 w 365"/>
                <a:gd name="T97" fmla="*/ 35974 h 271"/>
                <a:gd name="T98" fmla="*/ 112682 w 365"/>
                <a:gd name="T99" fmla="*/ 43794 h 271"/>
                <a:gd name="T100" fmla="*/ 117118 w 365"/>
                <a:gd name="T101" fmla="*/ 49529 h 271"/>
                <a:gd name="T102" fmla="*/ 135307 w 365"/>
                <a:gd name="T103" fmla="*/ 67255 h 271"/>
                <a:gd name="T104" fmla="*/ 156158 w 365"/>
                <a:gd name="T105" fmla="*/ 121998 h 271"/>
                <a:gd name="T106" fmla="*/ 159263 w 365"/>
                <a:gd name="T107" fmla="*/ 133989 h 271"/>
                <a:gd name="T108" fmla="*/ 161925 w 365"/>
                <a:gd name="T109" fmla="*/ 141288 h 271"/>
                <a:gd name="T110" fmla="*/ 142405 w 365"/>
                <a:gd name="T111" fmla="*/ 135032 h 271"/>
                <a:gd name="T112" fmla="*/ 121998 w 365"/>
                <a:gd name="T113" fmla="*/ 131382 h 271"/>
                <a:gd name="T114" fmla="*/ 110020 w 365"/>
                <a:gd name="T115" fmla="*/ 130861 h 271"/>
                <a:gd name="T116" fmla="*/ 97155 w 365"/>
                <a:gd name="T117" fmla="*/ 131382 h 27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20" name="Freeform 480">
              <a:extLst>
                <a:ext uri="{FF2B5EF4-FFF2-40B4-BE49-F238E27FC236}">
                  <a16:creationId xmlns:a16="http://schemas.microsoft.com/office/drawing/2014/main" xmlns="" id="{3518E449-5CDA-7A91-76DF-4455ACC5C42B}"/>
                </a:ext>
              </a:extLst>
            </p:cNvPr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4671167" y="2530041"/>
              <a:ext cx="233474" cy="245194"/>
            </a:xfrm>
            <a:custGeom>
              <a:avLst/>
              <a:gdLst>
                <a:gd name="T0" fmla="*/ 63144 w 624"/>
                <a:gd name="T1" fmla="*/ 6281 h 640"/>
                <a:gd name="T2" fmla="*/ 103366 w 624"/>
                <a:gd name="T3" fmla="*/ 6281 h 640"/>
                <a:gd name="T4" fmla="*/ 124125 w 624"/>
                <a:gd name="T5" fmla="*/ 2617 h 640"/>
                <a:gd name="T6" fmla="*/ 140992 w 624"/>
                <a:gd name="T7" fmla="*/ 11514 h 640"/>
                <a:gd name="T8" fmla="*/ 171267 w 624"/>
                <a:gd name="T9" fmla="*/ 34543 h 640"/>
                <a:gd name="T10" fmla="*/ 201109 w 624"/>
                <a:gd name="T11" fmla="*/ 58095 h 640"/>
                <a:gd name="T12" fmla="*/ 202839 w 624"/>
                <a:gd name="T13" fmla="*/ 68563 h 640"/>
                <a:gd name="T14" fmla="*/ 207596 w 624"/>
                <a:gd name="T15" fmla="*/ 80077 h 640"/>
                <a:gd name="T16" fmla="*/ 214949 w 624"/>
                <a:gd name="T17" fmla="*/ 88975 h 640"/>
                <a:gd name="T18" fmla="*/ 224463 w 624"/>
                <a:gd name="T19" fmla="*/ 95778 h 640"/>
                <a:gd name="T20" fmla="*/ 234843 w 624"/>
                <a:gd name="T21" fmla="*/ 99442 h 640"/>
                <a:gd name="T22" fmla="*/ 239601 w 624"/>
                <a:gd name="T23" fmla="*/ 102059 h 640"/>
                <a:gd name="T24" fmla="*/ 244358 w 624"/>
                <a:gd name="T25" fmla="*/ 107293 h 640"/>
                <a:gd name="T26" fmla="*/ 242628 w 624"/>
                <a:gd name="T27" fmla="*/ 118807 h 640"/>
                <a:gd name="T28" fmla="*/ 232248 w 624"/>
                <a:gd name="T29" fmla="*/ 131892 h 640"/>
                <a:gd name="T30" fmla="*/ 227058 w 624"/>
                <a:gd name="T31" fmla="*/ 141836 h 640"/>
                <a:gd name="T32" fmla="*/ 230518 w 624"/>
                <a:gd name="T33" fmla="*/ 150210 h 640"/>
                <a:gd name="T34" fmla="*/ 236573 w 624"/>
                <a:gd name="T35" fmla="*/ 156491 h 640"/>
                <a:gd name="T36" fmla="*/ 238736 w 624"/>
                <a:gd name="T37" fmla="*/ 222436 h 640"/>
                <a:gd name="T38" fmla="*/ 237871 w 624"/>
                <a:gd name="T39" fmla="*/ 229764 h 640"/>
                <a:gd name="T40" fmla="*/ 241331 w 624"/>
                <a:gd name="T41" fmla="*/ 241801 h 640"/>
                <a:gd name="T42" fmla="*/ 241331 w 624"/>
                <a:gd name="T43" fmla="*/ 255933 h 640"/>
                <a:gd name="T44" fmla="*/ 242628 w 624"/>
                <a:gd name="T45" fmla="*/ 269541 h 640"/>
                <a:gd name="T46" fmla="*/ 256900 w 624"/>
                <a:gd name="T47" fmla="*/ 287335 h 640"/>
                <a:gd name="T48" fmla="*/ 266415 w 624"/>
                <a:gd name="T49" fmla="*/ 303037 h 640"/>
                <a:gd name="T50" fmla="*/ 248683 w 624"/>
                <a:gd name="T51" fmla="*/ 314028 h 640"/>
                <a:gd name="T52" fmla="*/ 212354 w 624"/>
                <a:gd name="T53" fmla="*/ 330253 h 640"/>
                <a:gd name="T54" fmla="*/ 191594 w 624"/>
                <a:gd name="T55" fmla="*/ 333916 h 640"/>
                <a:gd name="T56" fmla="*/ 169537 w 624"/>
                <a:gd name="T57" fmla="*/ 328682 h 640"/>
                <a:gd name="T58" fmla="*/ 146615 w 624"/>
                <a:gd name="T59" fmla="*/ 331299 h 640"/>
                <a:gd name="T60" fmla="*/ 132343 w 624"/>
                <a:gd name="T61" fmla="*/ 328682 h 640"/>
                <a:gd name="T62" fmla="*/ 129315 w 624"/>
                <a:gd name="T63" fmla="*/ 321355 h 640"/>
                <a:gd name="T64" fmla="*/ 127153 w 624"/>
                <a:gd name="T65" fmla="*/ 299897 h 640"/>
                <a:gd name="T66" fmla="*/ 124558 w 624"/>
                <a:gd name="T67" fmla="*/ 276868 h 640"/>
                <a:gd name="T68" fmla="*/ 109420 w 624"/>
                <a:gd name="T69" fmla="*/ 270587 h 640"/>
                <a:gd name="T70" fmla="*/ 80011 w 624"/>
                <a:gd name="T71" fmla="*/ 262737 h 640"/>
                <a:gd name="T72" fmla="*/ 38924 w 624"/>
                <a:gd name="T73" fmla="*/ 240231 h 640"/>
                <a:gd name="T74" fmla="*/ 29409 w 624"/>
                <a:gd name="T75" fmla="*/ 233427 h 640"/>
                <a:gd name="T76" fmla="*/ 28544 w 624"/>
                <a:gd name="T77" fmla="*/ 224007 h 640"/>
                <a:gd name="T78" fmla="*/ 28112 w 624"/>
                <a:gd name="T79" fmla="*/ 210399 h 640"/>
                <a:gd name="T80" fmla="*/ 22922 w 624"/>
                <a:gd name="T81" fmla="*/ 197314 h 640"/>
                <a:gd name="T82" fmla="*/ 17732 w 624"/>
                <a:gd name="T83" fmla="*/ 186847 h 640"/>
                <a:gd name="T84" fmla="*/ 11677 w 624"/>
                <a:gd name="T85" fmla="*/ 181613 h 640"/>
                <a:gd name="T86" fmla="*/ 5190 w 624"/>
                <a:gd name="T87" fmla="*/ 173762 h 640"/>
                <a:gd name="T88" fmla="*/ 2162 w 624"/>
                <a:gd name="T89" fmla="*/ 161201 h 640"/>
                <a:gd name="T90" fmla="*/ 0 w 624"/>
                <a:gd name="T91" fmla="*/ 137125 h 640"/>
                <a:gd name="T92" fmla="*/ 0 w 624"/>
                <a:gd name="T93" fmla="*/ 122471 h 640"/>
                <a:gd name="T94" fmla="*/ 4325 w 624"/>
                <a:gd name="T95" fmla="*/ 110956 h 640"/>
                <a:gd name="T96" fmla="*/ 16435 w 624"/>
                <a:gd name="T97" fmla="*/ 102059 h 640"/>
                <a:gd name="T98" fmla="*/ 26382 w 624"/>
                <a:gd name="T99" fmla="*/ 90545 h 640"/>
                <a:gd name="T100" fmla="*/ 33302 w 624"/>
                <a:gd name="T101" fmla="*/ 40300 h 640"/>
                <a:gd name="T102" fmla="*/ 36329 w 624"/>
                <a:gd name="T103" fmla="*/ 22505 h 640"/>
                <a:gd name="T104" fmla="*/ 35464 w 624"/>
                <a:gd name="T105" fmla="*/ 4187 h 6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21" name="Freeform 481">
              <a:extLst>
                <a:ext uri="{FF2B5EF4-FFF2-40B4-BE49-F238E27FC236}">
                  <a16:creationId xmlns:a16="http://schemas.microsoft.com/office/drawing/2014/main" xmlns="" id="{32B2E584-72E2-6BA4-3D5D-DAB5562A33A7}"/>
                </a:ext>
              </a:extLst>
            </p:cNvPr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6889167" y="1442355"/>
              <a:ext cx="16480" cy="41835"/>
            </a:xfrm>
            <a:custGeom>
              <a:avLst/>
              <a:gdLst>
                <a:gd name="T0" fmla="*/ 4763 w 52"/>
                <a:gd name="T1" fmla="*/ 57150 h 50"/>
                <a:gd name="T2" fmla="*/ 0 w 52"/>
                <a:gd name="T3" fmla="*/ 36576 h 50"/>
                <a:gd name="T4" fmla="*/ 733 w 52"/>
                <a:gd name="T5" fmla="*/ 28575 h 50"/>
                <a:gd name="T6" fmla="*/ 2198 w 52"/>
                <a:gd name="T7" fmla="*/ 20574 h 50"/>
                <a:gd name="T8" fmla="*/ 4396 w 52"/>
                <a:gd name="T9" fmla="*/ 14859 h 50"/>
                <a:gd name="T10" fmla="*/ 6594 w 52"/>
                <a:gd name="T11" fmla="*/ 10287 h 50"/>
                <a:gd name="T12" fmla="*/ 9525 w 52"/>
                <a:gd name="T13" fmla="*/ 5715 h 50"/>
                <a:gd name="T14" fmla="*/ 12456 w 52"/>
                <a:gd name="T15" fmla="*/ 3429 h 50"/>
                <a:gd name="T16" fmla="*/ 15753 w 52"/>
                <a:gd name="T17" fmla="*/ 1143 h 50"/>
                <a:gd name="T18" fmla="*/ 19050 w 52"/>
                <a:gd name="T19" fmla="*/ 0 h 50"/>
                <a:gd name="T20" fmla="*/ 14654 w 52"/>
                <a:gd name="T21" fmla="*/ 12573 h 50"/>
                <a:gd name="T22" fmla="*/ 9891 w 52"/>
                <a:gd name="T23" fmla="*/ 25146 h 50"/>
                <a:gd name="T24" fmla="*/ 8060 w 52"/>
                <a:gd name="T25" fmla="*/ 34290 h 50"/>
                <a:gd name="T26" fmla="*/ 6228 w 52"/>
                <a:gd name="T27" fmla="*/ 41148 h 50"/>
                <a:gd name="T28" fmla="*/ 5129 w 52"/>
                <a:gd name="T29" fmla="*/ 49149 h 50"/>
                <a:gd name="T30" fmla="*/ 4763 w 52"/>
                <a:gd name="T31" fmla="*/ 57150 h 5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22" name="Freeform 482">
              <a:extLst>
                <a:ext uri="{FF2B5EF4-FFF2-40B4-BE49-F238E27FC236}">
                  <a16:creationId xmlns:a16="http://schemas.microsoft.com/office/drawing/2014/main" xmlns="" id="{C9DA0C4B-566B-B28E-442A-582C01005EA1}"/>
                </a:ext>
              </a:extLst>
            </p:cNvPr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6766936" y="1443517"/>
              <a:ext cx="122231" cy="91802"/>
            </a:xfrm>
            <a:custGeom>
              <a:avLst/>
              <a:gdLst>
                <a:gd name="T0" fmla="*/ 33556 w 320"/>
                <a:gd name="T1" fmla="*/ 123804 h 234"/>
                <a:gd name="T2" fmla="*/ 26933 w 320"/>
                <a:gd name="T3" fmla="*/ 121124 h 234"/>
                <a:gd name="T4" fmla="*/ 29141 w 320"/>
                <a:gd name="T5" fmla="*/ 118981 h 234"/>
                <a:gd name="T6" fmla="*/ 33997 w 320"/>
                <a:gd name="T7" fmla="*/ 116301 h 234"/>
                <a:gd name="T8" fmla="*/ 28258 w 320"/>
                <a:gd name="T9" fmla="*/ 109334 h 234"/>
                <a:gd name="T10" fmla="*/ 18986 w 320"/>
                <a:gd name="T11" fmla="*/ 101294 h 234"/>
                <a:gd name="T12" fmla="*/ 15895 w 320"/>
                <a:gd name="T13" fmla="*/ 95935 h 234"/>
                <a:gd name="T14" fmla="*/ 15012 w 320"/>
                <a:gd name="T15" fmla="*/ 91647 h 234"/>
                <a:gd name="T16" fmla="*/ 15012 w 320"/>
                <a:gd name="T17" fmla="*/ 87896 h 234"/>
                <a:gd name="T18" fmla="*/ 15895 w 320"/>
                <a:gd name="T19" fmla="*/ 84144 h 234"/>
                <a:gd name="T20" fmla="*/ 18986 w 320"/>
                <a:gd name="T21" fmla="*/ 79856 h 234"/>
                <a:gd name="T22" fmla="*/ 24725 w 320"/>
                <a:gd name="T23" fmla="*/ 75569 h 234"/>
                <a:gd name="T24" fmla="*/ 32231 w 320"/>
                <a:gd name="T25" fmla="*/ 73425 h 234"/>
                <a:gd name="T26" fmla="*/ 35322 w 320"/>
                <a:gd name="T27" fmla="*/ 67530 h 234"/>
                <a:gd name="T28" fmla="*/ 29582 w 320"/>
                <a:gd name="T29" fmla="*/ 59490 h 234"/>
                <a:gd name="T30" fmla="*/ 26933 w 320"/>
                <a:gd name="T31" fmla="*/ 54667 h 234"/>
                <a:gd name="T32" fmla="*/ 26492 w 320"/>
                <a:gd name="T33" fmla="*/ 46092 h 234"/>
                <a:gd name="T34" fmla="*/ 24284 w 320"/>
                <a:gd name="T35" fmla="*/ 37516 h 234"/>
                <a:gd name="T36" fmla="*/ 20310 w 320"/>
                <a:gd name="T37" fmla="*/ 24654 h 234"/>
                <a:gd name="T38" fmla="*/ 14570 w 320"/>
                <a:gd name="T39" fmla="*/ 16614 h 234"/>
                <a:gd name="T40" fmla="*/ 8831 w 320"/>
                <a:gd name="T41" fmla="*/ 13399 h 234"/>
                <a:gd name="T42" fmla="*/ 3091 w 320"/>
                <a:gd name="T43" fmla="*/ 5359 h 234"/>
                <a:gd name="T44" fmla="*/ 3974 w 320"/>
                <a:gd name="T45" fmla="*/ 0 h 234"/>
                <a:gd name="T46" fmla="*/ 10597 w 320"/>
                <a:gd name="T47" fmla="*/ 0 h 234"/>
                <a:gd name="T48" fmla="*/ 16778 w 320"/>
                <a:gd name="T49" fmla="*/ 1608 h 234"/>
                <a:gd name="T50" fmla="*/ 24725 w 320"/>
                <a:gd name="T51" fmla="*/ 8575 h 234"/>
                <a:gd name="T52" fmla="*/ 34439 w 320"/>
                <a:gd name="T53" fmla="*/ 18758 h 234"/>
                <a:gd name="T54" fmla="*/ 42386 w 320"/>
                <a:gd name="T55" fmla="*/ 25726 h 234"/>
                <a:gd name="T56" fmla="*/ 52541 w 320"/>
                <a:gd name="T57" fmla="*/ 31085 h 234"/>
                <a:gd name="T58" fmla="*/ 67112 w 320"/>
                <a:gd name="T59" fmla="*/ 37516 h 234"/>
                <a:gd name="T60" fmla="*/ 79916 w 320"/>
                <a:gd name="T61" fmla="*/ 42340 h 234"/>
                <a:gd name="T62" fmla="*/ 94486 w 320"/>
                <a:gd name="T63" fmla="*/ 45556 h 234"/>
                <a:gd name="T64" fmla="*/ 104200 w 320"/>
                <a:gd name="T65" fmla="*/ 41268 h 234"/>
                <a:gd name="T66" fmla="*/ 113472 w 320"/>
                <a:gd name="T67" fmla="*/ 44484 h 234"/>
                <a:gd name="T68" fmla="*/ 125393 w 320"/>
                <a:gd name="T69" fmla="*/ 57347 h 234"/>
                <a:gd name="T70" fmla="*/ 134665 w 320"/>
                <a:gd name="T71" fmla="*/ 63778 h 234"/>
                <a:gd name="T72" fmla="*/ 131133 w 320"/>
                <a:gd name="T73" fmla="*/ 71281 h 234"/>
                <a:gd name="T74" fmla="*/ 118329 w 320"/>
                <a:gd name="T75" fmla="*/ 77177 h 234"/>
                <a:gd name="T76" fmla="*/ 109940 w 320"/>
                <a:gd name="T77" fmla="*/ 79320 h 234"/>
                <a:gd name="T78" fmla="*/ 104641 w 320"/>
                <a:gd name="T79" fmla="*/ 85216 h 234"/>
                <a:gd name="T80" fmla="*/ 102434 w 320"/>
                <a:gd name="T81" fmla="*/ 94327 h 234"/>
                <a:gd name="T82" fmla="*/ 101992 w 320"/>
                <a:gd name="T83" fmla="*/ 100222 h 234"/>
                <a:gd name="T84" fmla="*/ 98019 w 320"/>
                <a:gd name="T85" fmla="*/ 102902 h 234"/>
                <a:gd name="T86" fmla="*/ 90071 w 320"/>
                <a:gd name="T87" fmla="*/ 101294 h 234"/>
                <a:gd name="T88" fmla="*/ 82124 w 320"/>
                <a:gd name="T89" fmla="*/ 97007 h 234"/>
                <a:gd name="T90" fmla="*/ 74176 w 320"/>
                <a:gd name="T91" fmla="*/ 91111 h 234"/>
                <a:gd name="T92" fmla="*/ 68436 w 320"/>
                <a:gd name="T93" fmla="*/ 87896 h 234"/>
                <a:gd name="T94" fmla="*/ 64021 w 320"/>
                <a:gd name="T95" fmla="*/ 86288 h 234"/>
                <a:gd name="T96" fmla="*/ 57840 w 320"/>
                <a:gd name="T97" fmla="*/ 86824 h 234"/>
                <a:gd name="T98" fmla="*/ 50334 w 320"/>
                <a:gd name="T99" fmla="*/ 89503 h 234"/>
                <a:gd name="T100" fmla="*/ 44153 w 320"/>
                <a:gd name="T101" fmla="*/ 92719 h 234"/>
                <a:gd name="T102" fmla="*/ 38413 w 320"/>
                <a:gd name="T103" fmla="*/ 95399 h 234"/>
                <a:gd name="T104" fmla="*/ 37530 w 320"/>
                <a:gd name="T105" fmla="*/ 98079 h 234"/>
                <a:gd name="T106" fmla="*/ 42386 w 320"/>
                <a:gd name="T107" fmla="*/ 102366 h 234"/>
                <a:gd name="T108" fmla="*/ 51217 w 320"/>
                <a:gd name="T109" fmla="*/ 107190 h 234"/>
                <a:gd name="T110" fmla="*/ 55632 w 320"/>
                <a:gd name="T111" fmla="*/ 113621 h 234"/>
                <a:gd name="T112" fmla="*/ 49892 w 320"/>
                <a:gd name="T113" fmla="*/ 120053 h 234"/>
                <a:gd name="T114" fmla="*/ 45036 w 320"/>
                <a:gd name="T115" fmla="*/ 123804 h 234"/>
                <a:gd name="T116" fmla="*/ 40179 w 320"/>
                <a:gd name="T117" fmla="*/ 125412 h 23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23" name="Freeform 483">
              <a:extLst>
                <a:ext uri="{FF2B5EF4-FFF2-40B4-BE49-F238E27FC236}">
                  <a16:creationId xmlns:a16="http://schemas.microsoft.com/office/drawing/2014/main" xmlns="" id="{B8389E2D-268C-44CA-584B-290D1D95AE4D}"/>
                </a:ext>
              </a:extLst>
            </p:cNvPr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6740844" y="1702655"/>
              <a:ext cx="45321" cy="41835"/>
            </a:xfrm>
            <a:custGeom>
              <a:avLst/>
              <a:gdLst>
                <a:gd name="T0" fmla="*/ 13830 w 125"/>
                <a:gd name="T1" fmla="*/ 11676 h 93"/>
                <a:gd name="T2" fmla="*/ 18021 w 125"/>
                <a:gd name="T3" fmla="*/ 11676 h 93"/>
                <a:gd name="T4" fmla="*/ 21793 w 125"/>
                <a:gd name="T5" fmla="*/ 11676 h 93"/>
                <a:gd name="T6" fmla="*/ 23050 w 125"/>
                <a:gd name="T7" fmla="*/ 11676 h 93"/>
                <a:gd name="T8" fmla="*/ 24308 w 125"/>
                <a:gd name="T9" fmla="*/ 10447 h 93"/>
                <a:gd name="T10" fmla="*/ 25565 w 125"/>
                <a:gd name="T11" fmla="*/ 9218 h 93"/>
                <a:gd name="T12" fmla="*/ 27241 w 125"/>
                <a:gd name="T13" fmla="*/ 6760 h 93"/>
                <a:gd name="T14" fmla="*/ 28499 w 125"/>
                <a:gd name="T15" fmla="*/ 4916 h 93"/>
                <a:gd name="T16" fmla="*/ 29337 w 125"/>
                <a:gd name="T17" fmla="*/ 3073 h 93"/>
                <a:gd name="T18" fmla="*/ 30175 w 125"/>
                <a:gd name="T19" fmla="*/ 1844 h 93"/>
                <a:gd name="T20" fmla="*/ 30175 w 125"/>
                <a:gd name="T21" fmla="*/ 0 h 93"/>
                <a:gd name="T22" fmla="*/ 49453 w 125"/>
                <a:gd name="T23" fmla="*/ 0 h 93"/>
                <a:gd name="T24" fmla="*/ 51130 w 125"/>
                <a:gd name="T25" fmla="*/ 9218 h 93"/>
                <a:gd name="T26" fmla="*/ 52387 w 125"/>
                <a:gd name="T27" fmla="*/ 15363 h 93"/>
                <a:gd name="T28" fmla="*/ 51968 w 125"/>
                <a:gd name="T29" fmla="*/ 17821 h 93"/>
                <a:gd name="T30" fmla="*/ 51130 w 125"/>
                <a:gd name="T31" fmla="*/ 20279 h 93"/>
                <a:gd name="T32" fmla="*/ 49872 w 125"/>
                <a:gd name="T33" fmla="*/ 21508 h 93"/>
                <a:gd name="T34" fmla="*/ 49034 w 125"/>
                <a:gd name="T35" fmla="*/ 22737 h 93"/>
                <a:gd name="T36" fmla="*/ 46520 w 125"/>
                <a:gd name="T37" fmla="*/ 24581 h 93"/>
                <a:gd name="T38" fmla="*/ 43586 w 125"/>
                <a:gd name="T39" fmla="*/ 25195 h 93"/>
                <a:gd name="T40" fmla="*/ 36880 w 125"/>
                <a:gd name="T41" fmla="*/ 25195 h 93"/>
                <a:gd name="T42" fmla="*/ 30175 w 125"/>
                <a:gd name="T43" fmla="*/ 26424 h 93"/>
                <a:gd name="T44" fmla="*/ 29337 w 125"/>
                <a:gd name="T45" fmla="*/ 28882 h 93"/>
                <a:gd name="T46" fmla="*/ 28918 w 125"/>
                <a:gd name="T47" fmla="*/ 32569 h 93"/>
                <a:gd name="T48" fmla="*/ 28079 w 125"/>
                <a:gd name="T49" fmla="*/ 37485 h 93"/>
                <a:gd name="T50" fmla="*/ 28079 w 125"/>
                <a:gd name="T51" fmla="*/ 43631 h 93"/>
                <a:gd name="T52" fmla="*/ 27660 w 125"/>
                <a:gd name="T53" fmla="*/ 52848 h 93"/>
                <a:gd name="T54" fmla="*/ 27660 w 125"/>
                <a:gd name="T55" fmla="*/ 57150 h 93"/>
                <a:gd name="T56" fmla="*/ 20536 w 125"/>
                <a:gd name="T57" fmla="*/ 52234 h 93"/>
                <a:gd name="T58" fmla="*/ 11316 w 125"/>
                <a:gd name="T59" fmla="*/ 44860 h 93"/>
                <a:gd name="T60" fmla="*/ 6706 w 125"/>
                <a:gd name="T61" fmla="*/ 39944 h 93"/>
                <a:gd name="T62" fmla="*/ 2934 w 125"/>
                <a:gd name="T63" fmla="*/ 35642 h 93"/>
                <a:gd name="T64" fmla="*/ 1676 w 125"/>
                <a:gd name="T65" fmla="*/ 33184 h 93"/>
                <a:gd name="T66" fmla="*/ 838 w 125"/>
                <a:gd name="T67" fmla="*/ 30726 h 93"/>
                <a:gd name="T68" fmla="*/ 0 w 125"/>
                <a:gd name="T69" fmla="*/ 28882 h 93"/>
                <a:gd name="T70" fmla="*/ 0 w 125"/>
                <a:gd name="T71" fmla="*/ 26424 h 93"/>
                <a:gd name="T72" fmla="*/ 2934 w 125"/>
                <a:gd name="T73" fmla="*/ 26424 h 93"/>
                <a:gd name="T74" fmla="*/ 6286 w 125"/>
                <a:gd name="T75" fmla="*/ 25195 h 93"/>
                <a:gd name="T76" fmla="*/ 8382 w 125"/>
                <a:gd name="T77" fmla="*/ 23966 h 93"/>
                <a:gd name="T78" fmla="*/ 9639 w 125"/>
                <a:gd name="T79" fmla="*/ 22123 h 93"/>
                <a:gd name="T80" fmla="*/ 11735 w 125"/>
                <a:gd name="T81" fmla="*/ 17206 h 93"/>
                <a:gd name="T82" fmla="*/ 13830 w 125"/>
                <a:gd name="T83" fmla="*/ 11676 h 9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24" name="Freeform 484">
              <a:extLst>
                <a:ext uri="{FF2B5EF4-FFF2-40B4-BE49-F238E27FC236}">
                  <a16:creationId xmlns:a16="http://schemas.microsoft.com/office/drawing/2014/main" xmlns="" id="{266D057D-50BC-5D57-28C5-9BF95754AC84}"/>
                </a:ext>
              </a:extLst>
            </p:cNvPr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6694148" y="1713114"/>
              <a:ext cx="52188" cy="61589"/>
            </a:xfrm>
            <a:custGeom>
              <a:avLst/>
              <a:gdLst>
                <a:gd name="T0" fmla="*/ 9071 w 133"/>
                <a:gd name="T1" fmla="*/ 6556 h 154"/>
                <a:gd name="T2" fmla="*/ 10886 w 133"/>
                <a:gd name="T3" fmla="*/ 5463 h 154"/>
                <a:gd name="T4" fmla="*/ 14061 w 133"/>
                <a:gd name="T5" fmla="*/ 3278 h 154"/>
                <a:gd name="T6" fmla="*/ 15421 w 133"/>
                <a:gd name="T7" fmla="*/ 2185 h 154"/>
                <a:gd name="T8" fmla="*/ 16782 w 133"/>
                <a:gd name="T9" fmla="*/ 1093 h 154"/>
                <a:gd name="T10" fmla="*/ 19050 w 133"/>
                <a:gd name="T11" fmla="*/ 546 h 154"/>
                <a:gd name="T12" fmla="*/ 20864 w 133"/>
                <a:gd name="T13" fmla="*/ 0 h 154"/>
                <a:gd name="T14" fmla="*/ 26761 w 133"/>
                <a:gd name="T15" fmla="*/ 546 h 154"/>
                <a:gd name="T16" fmla="*/ 31750 w 133"/>
                <a:gd name="T17" fmla="*/ 2185 h 154"/>
                <a:gd name="T18" fmla="*/ 36739 w 133"/>
                <a:gd name="T19" fmla="*/ 4371 h 154"/>
                <a:gd name="T20" fmla="*/ 40821 w 133"/>
                <a:gd name="T21" fmla="*/ 7649 h 154"/>
                <a:gd name="T22" fmla="*/ 44904 w 133"/>
                <a:gd name="T23" fmla="*/ 11473 h 154"/>
                <a:gd name="T24" fmla="*/ 47625 w 133"/>
                <a:gd name="T25" fmla="*/ 16390 h 154"/>
                <a:gd name="T26" fmla="*/ 50800 w 133"/>
                <a:gd name="T27" fmla="*/ 21854 h 154"/>
                <a:gd name="T28" fmla="*/ 52614 w 133"/>
                <a:gd name="T29" fmla="*/ 27317 h 154"/>
                <a:gd name="T30" fmla="*/ 54882 w 133"/>
                <a:gd name="T31" fmla="*/ 32781 h 154"/>
                <a:gd name="T32" fmla="*/ 56243 w 133"/>
                <a:gd name="T33" fmla="*/ 38790 h 154"/>
                <a:gd name="T34" fmla="*/ 57604 w 133"/>
                <a:gd name="T35" fmla="*/ 44800 h 154"/>
                <a:gd name="T36" fmla="*/ 58964 w 133"/>
                <a:gd name="T37" fmla="*/ 51356 h 154"/>
                <a:gd name="T38" fmla="*/ 59871 w 133"/>
                <a:gd name="T39" fmla="*/ 63376 h 154"/>
                <a:gd name="T40" fmla="*/ 60325 w 133"/>
                <a:gd name="T41" fmla="*/ 73756 h 154"/>
                <a:gd name="T42" fmla="*/ 59871 w 133"/>
                <a:gd name="T43" fmla="*/ 75395 h 154"/>
                <a:gd name="T44" fmla="*/ 58964 w 133"/>
                <a:gd name="T45" fmla="*/ 77035 h 154"/>
                <a:gd name="T46" fmla="*/ 56696 w 133"/>
                <a:gd name="T47" fmla="*/ 78674 h 154"/>
                <a:gd name="T48" fmla="*/ 54882 w 133"/>
                <a:gd name="T49" fmla="*/ 80313 h 154"/>
                <a:gd name="T50" fmla="*/ 52161 w 133"/>
                <a:gd name="T51" fmla="*/ 81952 h 154"/>
                <a:gd name="T52" fmla="*/ 49893 w 133"/>
                <a:gd name="T53" fmla="*/ 83591 h 154"/>
                <a:gd name="T54" fmla="*/ 47171 w 133"/>
                <a:gd name="T55" fmla="*/ 84137 h 154"/>
                <a:gd name="T56" fmla="*/ 44904 w 133"/>
                <a:gd name="T57" fmla="*/ 84137 h 154"/>
                <a:gd name="T58" fmla="*/ 42182 w 133"/>
                <a:gd name="T59" fmla="*/ 83591 h 154"/>
                <a:gd name="T60" fmla="*/ 39461 w 133"/>
                <a:gd name="T61" fmla="*/ 81405 h 154"/>
                <a:gd name="T62" fmla="*/ 35832 w 133"/>
                <a:gd name="T63" fmla="*/ 77035 h 154"/>
                <a:gd name="T64" fmla="*/ 32204 w 133"/>
                <a:gd name="T65" fmla="*/ 73210 h 154"/>
                <a:gd name="T66" fmla="*/ 29029 w 133"/>
                <a:gd name="T67" fmla="*/ 68839 h 154"/>
                <a:gd name="T68" fmla="*/ 26307 w 133"/>
                <a:gd name="T69" fmla="*/ 64469 h 154"/>
                <a:gd name="T70" fmla="*/ 24493 w 133"/>
                <a:gd name="T71" fmla="*/ 60644 h 154"/>
                <a:gd name="T72" fmla="*/ 24039 w 133"/>
                <a:gd name="T73" fmla="*/ 57366 h 154"/>
                <a:gd name="T74" fmla="*/ 24493 w 133"/>
                <a:gd name="T75" fmla="*/ 53542 h 154"/>
                <a:gd name="T76" fmla="*/ 25400 w 133"/>
                <a:gd name="T77" fmla="*/ 45347 h 154"/>
                <a:gd name="T78" fmla="*/ 26307 w 133"/>
                <a:gd name="T79" fmla="*/ 37151 h 154"/>
                <a:gd name="T80" fmla="*/ 26761 w 133"/>
                <a:gd name="T81" fmla="*/ 33873 h 154"/>
                <a:gd name="T82" fmla="*/ 21318 w 133"/>
                <a:gd name="T83" fmla="*/ 33327 h 154"/>
                <a:gd name="T84" fmla="*/ 16329 w 133"/>
                <a:gd name="T85" fmla="*/ 32234 h 154"/>
                <a:gd name="T86" fmla="*/ 11339 w 133"/>
                <a:gd name="T87" fmla="*/ 30595 h 154"/>
                <a:gd name="T88" fmla="*/ 7711 w 133"/>
                <a:gd name="T89" fmla="*/ 28410 h 154"/>
                <a:gd name="T90" fmla="*/ 5896 w 133"/>
                <a:gd name="T91" fmla="*/ 26771 h 154"/>
                <a:gd name="T92" fmla="*/ 4536 w 133"/>
                <a:gd name="T93" fmla="*/ 25132 h 154"/>
                <a:gd name="T94" fmla="*/ 3175 w 133"/>
                <a:gd name="T95" fmla="*/ 23493 h 154"/>
                <a:gd name="T96" fmla="*/ 1814 w 133"/>
                <a:gd name="T97" fmla="*/ 21307 h 154"/>
                <a:gd name="T98" fmla="*/ 907 w 133"/>
                <a:gd name="T99" fmla="*/ 18576 h 154"/>
                <a:gd name="T100" fmla="*/ 454 w 133"/>
                <a:gd name="T101" fmla="*/ 15844 h 154"/>
                <a:gd name="T102" fmla="*/ 0 w 133"/>
                <a:gd name="T103" fmla="*/ 13112 h 154"/>
                <a:gd name="T104" fmla="*/ 0 w 133"/>
                <a:gd name="T105" fmla="*/ 9834 h 154"/>
                <a:gd name="T106" fmla="*/ 3175 w 133"/>
                <a:gd name="T107" fmla="*/ 8195 h 154"/>
                <a:gd name="T108" fmla="*/ 9071 w 133"/>
                <a:gd name="T109" fmla="*/ 6556 h 15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25" name="Freeform 485">
              <a:extLst>
                <a:ext uri="{FF2B5EF4-FFF2-40B4-BE49-F238E27FC236}">
                  <a16:creationId xmlns:a16="http://schemas.microsoft.com/office/drawing/2014/main" xmlns="" id="{D5E9C8D6-3153-53FC-8F38-79823BF11256}"/>
                </a:ext>
              </a:extLst>
            </p:cNvPr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6707882" y="1538806"/>
              <a:ext cx="181285" cy="178957"/>
            </a:xfrm>
            <a:custGeom>
              <a:avLst/>
              <a:gdLst>
                <a:gd name="T0" fmla="*/ 57896 w 485"/>
                <a:gd name="T1" fmla="*/ 183356 h 468"/>
                <a:gd name="T2" fmla="*/ 72154 w 485"/>
                <a:gd name="T3" fmla="*/ 177088 h 468"/>
                <a:gd name="T4" fmla="*/ 86412 w 485"/>
                <a:gd name="T5" fmla="*/ 177088 h 468"/>
                <a:gd name="T6" fmla="*/ 97646 w 485"/>
                <a:gd name="T7" fmla="*/ 181789 h 468"/>
                <a:gd name="T8" fmla="*/ 96782 w 485"/>
                <a:gd name="T9" fmla="*/ 170819 h 468"/>
                <a:gd name="T10" fmla="*/ 95054 w 485"/>
                <a:gd name="T11" fmla="*/ 165073 h 468"/>
                <a:gd name="T12" fmla="*/ 100670 w 485"/>
                <a:gd name="T13" fmla="*/ 158282 h 468"/>
                <a:gd name="T14" fmla="*/ 103263 w 485"/>
                <a:gd name="T15" fmla="*/ 144178 h 468"/>
                <a:gd name="T16" fmla="*/ 104559 w 485"/>
                <a:gd name="T17" fmla="*/ 128506 h 468"/>
                <a:gd name="T18" fmla="*/ 115793 w 485"/>
                <a:gd name="T19" fmla="*/ 133208 h 468"/>
                <a:gd name="T20" fmla="*/ 129619 w 485"/>
                <a:gd name="T21" fmla="*/ 124327 h 468"/>
                <a:gd name="T22" fmla="*/ 136532 w 485"/>
                <a:gd name="T23" fmla="*/ 113357 h 468"/>
                <a:gd name="T24" fmla="*/ 126594 w 485"/>
                <a:gd name="T25" fmla="*/ 101342 h 468"/>
                <a:gd name="T26" fmla="*/ 137396 w 485"/>
                <a:gd name="T27" fmla="*/ 103954 h 468"/>
                <a:gd name="T28" fmla="*/ 148197 w 485"/>
                <a:gd name="T29" fmla="*/ 105521 h 468"/>
                <a:gd name="T30" fmla="*/ 149493 w 485"/>
                <a:gd name="T31" fmla="*/ 96641 h 468"/>
                <a:gd name="T32" fmla="*/ 127458 w 485"/>
                <a:gd name="T33" fmla="*/ 50149 h 468"/>
                <a:gd name="T34" fmla="*/ 123138 w 485"/>
                <a:gd name="T35" fmla="*/ 27686 h 468"/>
                <a:gd name="T36" fmla="*/ 125730 w 485"/>
                <a:gd name="T37" fmla="*/ 9925 h 468"/>
                <a:gd name="T38" fmla="*/ 136532 w 485"/>
                <a:gd name="T39" fmla="*/ 522 h 468"/>
                <a:gd name="T40" fmla="*/ 145173 w 485"/>
                <a:gd name="T41" fmla="*/ 9403 h 468"/>
                <a:gd name="T42" fmla="*/ 162887 w 485"/>
                <a:gd name="T43" fmla="*/ 23507 h 468"/>
                <a:gd name="T44" fmla="*/ 179306 w 485"/>
                <a:gd name="T45" fmla="*/ 37612 h 468"/>
                <a:gd name="T46" fmla="*/ 184058 w 485"/>
                <a:gd name="T47" fmla="*/ 51193 h 468"/>
                <a:gd name="T48" fmla="*/ 188379 w 485"/>
                <a:gd name="T49" fmla="*/ 71566 h 468"/>
                <a:gd name="T50" fmla="*/ 192268 w 485"/>
                <a:gd name="T51" fmla="*/ 90372 h 468"/>
                <a:gd name="T52" fmla="*/ 184922 w 485"/>
                <a:gd name="T53" fmla="*/ 93506 h 468"/>
                <a:gd name="T54" fmla="*/ 178009 w 485"/>
                <a:gd name="T55" fmla="*/ 96641 h 468"/>
                <a:gd name="T56" fmla="*/ 184058 w 485"/>
                <a:gd name="T57" fmla="*/ 103954 h 468"/>
                <a:gd name="T58" fmla="*/ 192268 w 485"/>
                <a:gd name="T59" fmla="*/ 106044 h 468"/>
                <a:gd name="T60" fmla="*/ 196588 w 485"/>
                <a:gd name="T61" fmla="*/ 136864 h 468"/>
                <a:gd name="T62" fmla="*/ 205229 w 485"/>
                <a:gd name="T63" fmla="*/ 162983 h 468"/>
                <a:gd name="T64" fmla="*/ 207390 w 485"/>
                <a:gd name="T65" fmla="*/ 199028 h 468"/>
                <a:gd name="T66" fmla="*/ 200045 w 485"/>
                <a:gd name="T67" fmla="*/ 190147 h 468"/>
                <a:gd name="T68" fmla="*/ 195724 w 485"/>
                <a:gd name="T69" fmla="*/ 185968 h 468"/>
                <a:gd name="T70" fmla="*/ 188379 w 485"/>
                <a:gd name="T71" fmla="*/ 189625 h 468"/>
                <a:gd name="T72" fmla="*/ 185355 w 485"/>
                <a:gd name="T73" fmla="*/ 208431 h 468"/>
                <a:gd name="T74" fmla="*/ 176281 w 485"/>
                <a:gd name="T75" fmla="*/ 203207 h 468"/>
                <a:gd name="T76" fmla="*/ 168072 w 485"/>
                <a:gd name="T77" fmla="*/ 199550 h 468"/>
                <a:gd name="T78" fmla="*/ 162455 w 485"/>
                <a:gd name="T79" fmla="*/ 209998 h 468"/>
                <a:gd name="T80" fmla="*/ 149061 w 485"/>
                <a:gd name="T81" fmla="*/ 215744 h 468"/>
                <a:gd name="T82" fmla="*/ 144309 w 485"/>
                <a:gd name="T83" fmla="*/ 208953 h 468"/>
                <a:gd name="T84" fmla="*/ 134803 w 485"/>
                <a:gd name="T85" fmla="*/ 206341 h 468"/>
                <a:gd name="T86" fmla="*/ 130915 w 485"/>
                <a:gd name="T87" fmla="*/ 222535 h 468"/>
                <a:gd name="T88" fmla="*/ 129186 w 485"/>
                <a:gd name="T89" fmla="*/ 235072 h 468"/>
                <a:gd name="T90" fmla="*/ 132643 w 485"/>
                <a:gd name="T91" fmla="*/ 243430 h 468"/>
                <a:gd name="T92" fmla="*/ 117521 w 485"/>
                <a:gd name="T93" fmla="*/ 244475 h 468"/>
                <a:gd name="T94" fmla="*/ 111472 w 485"/>
                <a:gd name="T95" fmla="*/ 242908 h 468"/>
                <a:gd name="T96" fmla="*/ 105423 w 485"/>
                <a:gd name="T97" fmla="*/ 229848 h 468"/>
                <a:gd name="T98" fmla="*/ 98942 w 485"/>
                <a:gd name="T99" fmla="*/ 218356 h 468"/>
                <a:gd name="T100" fmla="*/ 88141 w 485"/>
                <a:gd name="T101" fmla="*/ 212087 h 468"/>
                <a:gd name="T102" fmla="*/ 82092 w 485"/>
                <a:gd name="T103" fmla="*/ 205819 h 468"/>
                <a:gd name="T104" fmla="*/ 58760 w 485"/>
                <a:gd name="T105" fmla="*/ 217833 h 468"/>
                <a:gd name="T106" fmla="*/ 38886 w 485"/>
                <a:gd name="T107" fmla="*/ 227236 h 468"/>
                <a:gd name="T108" fmla="*/ 28084 w 485"/>
                <a:gd name="T109" fmla="*/ 239774 h 468"/>
                <a:gd name="T110" fmla="*/ 11666 w 485"/>
                <a:gd name="T111" fmla="*/ 240818 h 468"/>
                <a:gd name="T112" fmla="*/ 3024 w 485"/>
                <a:gd name="T113" fmla="*/ 228804 h 468"/>
                <a:gd name="T114" fmla="*/ 0 w 485"/>
                <a:gd name="T115" fmla="*/ 217833 h 468"/>
                <a:gd name="T116" fmla="*/ 3024 w 485"/>
                <a:gd name="T117" fmla="*/ 215744 h 468"/>
                <a:gd name="T118" fmla="*/ 11666 w 485"/>
                <a:gd name="T119" fmla="*/ 216266 h 468"/>
                <a:gd name="T120" fmla="*/ 20739 w 485"/>
                <a:gd name="T121" fmla="*/ 211565 h 468"/>
                <a:gd name="T122" fmla="*/ 31108 w 485"/>
                <a:gd name="T123" fmla="*/ 192759 h 468"/>
                <a:gd name="T124" fmla="*/ 40182 w 485"/>
                <a:gd name="T125" fmla="*/ 183879 h 46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26" name="Freeform 487">
              <a:extLst>
                <a:ext uri="{FF2B5EF4-FFF2-40B4-BE49-F238E27FC236}">
                  <a16:creationId xmlns:a16="http://schemas.microsoft.com/office/drawing/2014/main" xmlns="" id="{EFA796AE-C2FB-4B19-FA84-820D8914706F}"/>
                </a:ext>
              </a:extLst>
            </p:cNvPr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4741209" y="713745"/>
              <a:ext cx="54935" cy="41835"/>
            </a:xfrm>
            <a:custGeom>
              <a:avLst/>
              <a:gdLst>
                <a:gd name="T0" fmla="*/ 43896 w 149"/>
                <a:gd name="T1" fmla="*/ 0 h 61"/>
                <a:gd name="T2" fmla="*/ 50289 w 149"/>
                <a:gd name="T3" fmla="*/ 937 h 61"/>
                <a:gd name="T4" fmla="*/ 57107 w 149"/>
                <a:gd name="T5" fmla="*/ 2811 h 61"/>
                <a:gd name="T6" fmla="*/ 61795 w 149"/>
                <a:gd name="T7" fmla="*/ 4684 h 61"/>
                <a:gd name="T8" fmla="*/ 63500 w 149"/>
                <a:gd name="T9" fmla="*/ 5621 h 61"/>
                <a:gd name="T10" fmla="*/ 63500 w 149"/>
                <a:gd name="T11" fmla="*/ 7495 h 61"/>
                <a:gd name="T12" fmla="*/ 62648 w 149"/>
                <a:gd name="T13" fmla="*/ 9369 h 61"/>
                <a:gd name="T14" fmla="*/ 61795 w 149"/>
                <a:gd name="T15" fmla="*/ 11243 h 61"/>
                <a:gd name="T16" fmla="*/ 60091 w 149"/>
                <a:gd name="T17" fmla="*/ 12180 h 61"/>
                <a:gd name="T18" fmla="*/ 58386 w 149"/>
                <a:gd name="T19" fmla="*/ 13116 h 61"/>
                <a:gd name="T20" fmla="*/ 56255 w 149"/>
                <a:gd name="T21" fmla="*/ 13116 h 61"/>
                <a:gd name="T22" fmla="*/ 54124 w 149"/>
                <a:gd name="T23" fmla="*/ 13116 h 61"/>
                <a:gd name="T24" fmla="*/ 52419 w 149"/>
                <a:gd name="T25" fmla="*/ 11243 h 61"/>
                <a:gd name="T26" fmla="*/ 52419 w 149"/>
                <a:gd name="T27" fmla="*/ 21548 h 61"/>
                <a:gd name="T28" fmla="*/ 52419 w 149"/>
                <a:gd name="T29" fmla="*/ 30917 h 61"/>
                <a:gd name="T30" fmla="*/ 52419 w 149"/>
                <a:gd name="T31" fmla="*/ 38412 h 61"/>
                <a:gd name="T32" fmla="*/ 52419 w 149"/>
                <a:gd name="T33" fmla="*/ 45907 h 61"/>
                <a:gd name="T34" fmla="*/ 49436 w 149"/>
                <a:gd name="T35" fmla="*/ 46844 h 61"/>
                <a:gd name="T36" fmla="*/ 46453 w 149"/>
                <a:gd name="T37" fmla="*/ 47781 h 61"/>
                <a:gd name="T38" fmla="*/ 44322 w 149"/>
                <a:gd name="T39" fmla="*/ 49655 h 61"/>
                <a:gd name="T40" fmla="*/ 42617 w 149"/>
                <a:gd name="T41" fmla="*/ 51529 h 61"/>
                <a:gd name="T42" fmla="*/ 40060 w 149"/>
                <a:gd name="T43" fmla="*/ 53402 h 61"/>
                <a:gd name="T44" fmla="*/ 37930 w 149"/>
                <a:gd name="T45" fmla="*/ 55276 h 61"/>
                <a:gd name="T46" fmla="*/ 35372 w 149"/>
                <a:gd name="T47" fmla="*/ 57150 h 61"/>
                <a:gd name="T48" fmla="*/ 32389 w 149"/>
                <a:gd name="T49" fmla="*/ 57150 h 61"/>
                <a:gd name="T50" fmla="*/ 28554 w 149"/>
                <a:gd name="T51" fmla="*/ 56213 h 61"/>
                <a:gd name="T52" fmla="*/ 22587 w 149"/>
                <a:gd name="T53" fmla="*/ 53402 h 61"/>
                <a:gd name="T54" fmla="*/ 16621 w 149"/>
                <a:gd name="T55" fmla="*/ 50592 h 61"/>
                <a:gd name="T56" fmla="*/ 10654 w 149"/>
                <a:gd name="T57" fmla="*/ 45907 h 61"/>
                <a:gd name="T58" fmla="*/ 5114 w 149"/>
                <a:gd name="T59" fmla="*/ 42160 h 61"/>
                <a:gd name="T60" fmla="*/ 1279 w 149"/>
                <a:gd name="T61" fmla="*/ 38412 h 61"/>
                <a:gd name="T62" fmla="*/ 426 w 149"/>
                <a:gd name="T63" fmla="*/ 36539 h 61"/>
                <a:gd name="T64" fmla="*/ 0 w 149"/>
                <a:gd name="T65" fmla="*/ 35602 h 61"/>
                <a:gd name="T66" fmla="*/ 0 w 149"/>
                <a:gd name="T67" fmla="*/ 34665 h 61"/>
                <a:gd name="T68" fmla="*/ 1279 w 149"/>
                <a:gd name="T69" fmla="*/ 34665 h 61"/>
                <a:gd name="T70" fmla="*/ 8097 w 149"/>
                <a:gd name="T71" fmla="*/ 33728 h 61"/>
                <a:gd name="T72" fmla="*/ 14916 w 149"/>
                <a:gd name="T73" fmla="*/ 32791 h 61"/>
                <a:gd name="T74" fmla="*/ 20456 w 149"/>
                <a:gd name="T75" fmla="*/ 29980 h 61"/>
                <a:gd name="T76" fmla="*/ 25570 w 149"/>
                <a:gd name="T77" fmla="*/ 25296 h 61"/>
                <a:gd name="T78" fmla="*/ 30685 w 149"/>
                <a:gd name="T79" fmla="*/ 20611 h 61"/>
                <a:gd name="T80" fmla="*/ 34946 w 149"/>
                <a:gd name="T81" fmla="*/ 14990 h 61"/>
                <a:gd name="T82" fmla="*/ 39634 w 149"/>
                <a:gd name="T83" fmla="*/ 7495 h 61"/>
                <a:gd name="T84" fmla="*/ 43896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27" name="Freeform 488">
              <a:extLst>
                <a:ext uri="{FF2B5EF4-FFF2-40B4-BE49-F238E27FC236}">
                  <a16:creationId xmlns:a16="http://schemas.microsoft.com/office/drawing/2014/main" xmlns="" id="{66E1EE57-6A5A-192D-DD29-ADC6E35425B0}"/>
                </a:ext>
              </a:extLst>
            </p:cNvPr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4772797" y="719555"/>
              <a:ext cx="112617" cy="41835"/>
            </a:xfrm>
            <a:custGeom>
              <a:avLst/>
              <a:gdLst>
                <a:gd name="T0" fmla="*/ 57904 w 299"/>
                <a:gd name="T1" fmla="*/ 55605 h 74"/>
                <a:gd name="T2" fmla="*/ 67047 w 299"/>
                <a:gd name="T3" fmla="*/ 50199 h 74"/>
                <a:gd name="T4" fmla="*/ 77495 w 299"/>
                <a:gd name="T5" fmla="*/ 41704 h 74"/>
                <a:gd name="T6" fmla="*/ 86638 w 299"/>
                <a:gd name="T7" fmla="*/ 32436 h 74"/>
                <a:gd name="T8" fmla="*/ 90121 w 299"/>
                <a:gd name="T9" fmla="*/ 30892 h 74"/>
                <a:gd name="T10" fmla="*/ 91863 w 299"/>
                <a:gd name="T11" fmla="*/ 35526 h 74"/>
                <a:gd name="T12" fmla="*/ 95781 w 299"/>
                <a:gd name="T13" fmla="*/ 39387 h 74"/>
                <a:gd name="T14" fmla="*/ 105794 w 299"/>
                <a:gd name="T15" fmla="*/ 42476 h 74"/>
                <a:gd name="T16" fmla="*/ 117114 w 299"/>
                <a:gd name="T17" fmla="*/ 42476 h 74"/>
                <a:gd name="T18" fmla="*/ 124515 w 299"/>
                <a:gd name="T19" fmla="*/ 42476 h 74"/>
                <a:gd name="T20" fmla="*/ 127563 w 299"/>
                <a:gd name="T21" fmla="*/ 35526 h 74"/>
                <a:gd name="T22" fmla="*/ 129740 w 299"/>
                <a:gd name="T23" fmla="*/ 23941 h 74"/>
                <a:gd name="T24" fmla="*/ 121468 w 299"/>
                <a:gd name="T25" fmla="*/ 19307 h 74"/>
                <a:gd name="T26" fmla="*/ 106230 w 299"/>
                <a:gd name="T27" fmla="*/ 19307 h 74"/>
                <a:gd name="T28" fmla="*/ 97958 w 299"/>
                <a:gd name="T29" fmla="*/ 19307 h 74"/>
                <a:gd name="T30" fmla="*/ 93169 w 299"/>
                <a:gd name="T31" fmla="*/ 20852 h 74"/>
                <a:gd name="T32" fmla="*/ 88815 w 299"/>
                <a:gd name="T33" fmla="*/ 25486 h 74"/>
                <a:gd name="T34" fmla="*/ 74883 w 299"/>
                <a:gd name="T35" fmla="*/ 28575 h 74"/>
                <a:gd name="T36" fmla="*/ 76625 w 299"/>
                <a:gd name="T37" fmla="*/ 21624 h 74"/>
                <a:gd name="T38" fmla="*/ 78366 w 299"/>
                <a:gd name="T39" fmla="*/ 16218 h 74"/>
                <a:gd name="T40" fmla="*/ 84461 w 299"/>
                <a:gd name="T41" fmla="*/ 10040 h 74"/>
                <a:gd name="T42" fmla="*/ 91427 w 299"/>
                <a:gd name="T43" fmla="*/ 6951 h 74"/>
                <a:gd name="T44" fmla="*/ 97958 w 299"/>
                <a:gd name="T45" fmla="*/ 0 h 74"/>
                <a:gd name="T46" fmla="*/ 80543 w 299"/>
                <a:gd name="T47" fmla="*/ 2317 h 74"/>
                <a:gd name="T48" fmla="*/ 68353 w 299"/>
                <a:gd name="T49" fmla="*/ 8495 h 74"/>
                <a:gd name="T50" fmla="*/ 58339 w 299"/>
                <a:gd name="T51" fmla="*/ 19307 h 74"/>
                <a:gd name="T52" fmla="*/ 49632 w 299"/>
                <a:gd name="T53" fmla="*/ 30892 h 74"/>
                <a:gd name="T54" fmla="*/ 43537 w 299"/>
                <a:gd name="T55" fmla="*/ 40932 h 74"/>
                <a:gd name="T56" fmla="*/ 37877 w 299"/>
                <a:gd name="T57" fmla="*/ 45566 h 74"/>
                <a:gd name="T58" fmla="*/ 27864 w 299"/>
                <a:gd name="T59" fmla="*/ 48655 h 74"/>
                <a:gd name="T60" fmla="*/ 13932 w 299"/>
                <a:gd name="T61" fmla="*/ 49427 h 74"/>
                <a:gd name="T62" fmla="*/ 5224 w 299"/>
                <a:gd name="T63" fmla="*/ 51744 h 74"/>
                <a:gd name="T64" fmla="*/ 871 w 299"/>
                <a:gd name="T65" fmla="*/ 54061 h 74"/>
                <a:gd name="T66" fmla="*/ 16979 w 299"/>
                <a:gd name="T67" fmla="*/ 57150 h 74"/>
                <a:gd name="T68" fmla="*/ 44408 w 299"/>
                <a:gd name="T69" fmla="*/ 57150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28" name="Freeform 489">
              <a:extLst>
                <a:ext uri="{FF2B5EF4-FFF2-40B4-BE49-F238E27FC236}">
                  <a16:creationId xmlns:a16="http://schemas.microsoft.com/office/drawing/2014/main" xmlns="" id="{75F1AD58-D4B2-DB9F-8D11-32254DF2599A}"/>
                </a:ext>
              </a:extLst>
            </p:cNvPr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5234251" y="855516"/>
              <a:ext cx="35708" cy="41835"/>
            </a:xfrm>
            <a:custGeom>
              <a:avLst/>
              <a:gdLst>
                <a:gd name="T0" fmla="*/ 38386 w 100"/>
                <a:gd name="T1" fmla="*/ 0 h 42"/>
                <a:gd name="T2" fmla="*/ 40037 w 100"/>
                <a:gd name="T3" fmla="*/ 9525 h 42"/>
                <a:gd name="T4" fmla="*/ 41275 w 100"/>
                <a:gd name="T5" fmla="*/ 24493 h 42"/>
                <a:gd name="T6" fmla="*/ 37973 w 100"/>
                <a:gd name="T7" fmla="*/ 32657 h 42"/>
                <a:gd name="T8" fmla="*/ 35497 w 100"/>
                <a:gd name="T9" fmla="*/ 39461 h 42"/>
                <a:gd name="T10" fmla="*/ 32607 w 100"/>
                <a:gd name="T11" fmla="*/ 46264 h 42"/>
                <a:gd name="T12" fmla="*/ 29718 w 100"/>
                <a:gd name="T13" fmla="*/ 50346 h 42"/>
                <a:gd name="T14" fmla="*/ 26829 w 100"/>
                <a:gd name="T15" fmla="*/ 53068 h 42"/>
                <a:gd name="T16" fmla="*/ 23527 w 100"/>
                <a:gd name="T17" fmla="*/ 55789 h 42"/>
                <a:gd name="T18" fmla="*/ 20225 w 100"/>
                <a:gd name="T19" fmla="*/ 57150 h 42"/>
                <a:gd name="T20" fmla="*/ 16510 w 100"/>
                <a:gd name="T21" fmla="*/ 57150 h 42"/>
                <a:gd name="T22" fmla="*/ 11144 w 100"/>
                <a:gd name="T23" fmla="*/ 55789 h 42"/>
                <a:gd name="T24" fmla="*/ 4953 w 100"/>
                <a:gd name="T25" fmla="*/ 53068 h 42"/>
                <a:gd name="T26" fmla="*/ 413 w 100"/>
                <a:gd name="T27" fmla="*/ 50346 h 42"/>
                <a:gd name="T28" fmla="*/ 0 w 100"/>
                <a:gd name="T29" fmla="*/ 48986 h 42"/>
                <a:gd name="T30" fmla="*/ 2477 w 100"/>
                <a:gd name="T31" fmla="*/ 48986 h 42"/>
                <a:gd name="T32" fmla="*/ 4953 w 100"/>
                <a:gd name="T33" fmla="*/ 47625 h 42"/>
                <a:gd name="T34" fmla="*/ 7430 w 100"/>
                <a:gd name="T35" fmla="*/ 44904 h 42"/>
                <a:gd name="T36" fmla="*/ 9493 w 100"/>
                <a:gd name="T37" fmla="*/ 40821 h 42"/>
                <a:gd name="T38" fmla="*/ 13621 w 100"/>
                <a:gd name="T39" fmla="*/ 34018 h 42"/>
                <a:gd name="T40" fmla="*/ 18161 w 100"/>
                <a:gd name="T41" fmla="*/ 24493 h 42"/>
                <a:gd name="T42" fmla="*/ 22701 w 100"/>
                <a:gd name="T43" fmla="*/ 14968 h 42"/>
                <a:gd name="T44" fmla="*/ 27242 w 100"/>
                <a:gd name="T45" fmla="*/ 6804 h 42"/>
                <a:gd name="T46" fmla="*/ 29718 w 100"/>
                <a:gd name="T47" fmla="*/ 4082 h 42"/>
                <a:gd name="T48" fmla="*/ 32607 w 100"/>
                <a:gd name="T49" fmla="*/ 1361 h 42"/>
                <a:gd name="T50" fmla="*/ 35497 w 100"/>
                <a:gd name="T51" fmla="*/ 0 h 42"/>
                <a:gd name="T52" fmla="*/ 38386 w 100"/>
                <a:gd name="T53" fmla="*/ 0 h 4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29" name="Freeform 490">
              <a:extLst>
                <a:ext uri="{FF2B5EF4-FFF2-40B4-BE49-F238E27FC236}">
                  <a16:creationId xmlns:a16="http://schemas.microsoft.com/office/drawing/2014/main" xmlns="" id="{FA8F8E2A-FAD2-181E-99F8-1BB45C56774C}"/>
                </a:ext>
              </a:extLst>
            </p:cNvPr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5155969" y="752093"/>
              <a:ext cx="13734" cy="42997"/>
            </a:xfrm>
            <a:custGeom>
              <a:avLst/>
              <a:gdLst>
                <a:gd name="T0" fmla="*/ 15875 w 40"/>
                <a:gd name="T1" fmla="*/ 58738 h 5"/>
                <a:gd name="T2" fmla="*/ 0 w 40"/>
                <a:gd name="T3" fmla="*/ 58738 h 5"/>
                <a:gd name="T4" fmla="*/ 1984 w 40"/>
                <a:gd name="T5" fmla="*/ 35243 h 5"/>
                <a:gd name="T6" fmla="*/ 3572 w 40"/>
                <a:gd name="T7" fmla="*/ 11748 h 5"/>
                <a:gd name="T8" fmla="*/ 5953 w 40"/>
                <a:gd name="T9" fmla="*/ 0 h 5"/>
                <a:gd name="T10" fmla="*/ 7938 w 40"/>
                <a:gd name="T11" fmla="*/ 0 h 5"/>
                <a:gd name="T12" fmla="*/ 9922 w 40"/>
                <a:gd name="T13" fmla="*/ 0 h 5"/>
                <a:gd name="T14" fmla="*/ 11906 w 40"/>
                <a:gd name="T15" fmla="*/ 11748 h 5"/>
                <a:gd name="T16" fmla="*/ 13891 w 40"/>
                <a:gd name="T17" fmla="*/ 35243 h 5"/>
                <a:gd name="T18" fmla="*/ 15875 w 40"/>
                <a:gd name="T19" fmla="*/ 58738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30" name="Freeform 491">
              <a:extLst>
                <a:ext uri="{FF2B5EF4-FFF2-40B4-BE49-F238E27FC236}">
                  <a16:creationId xmlns:a16="http://schemas.microsoft.com/office/drawing/2014/main" xmlns="" id="{672E106B-40D8-2C0E-670B-98FF298F6963}"/>
                </a:ext>
              </a:extLst>
            </p:cNvPr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5175196" y="721880"/>
              <a:ext cx="12360" cy="44158"/>
            </a:xfrm>
            <a:custGeom>
              <a:avLst/>
              <a:gdLst>
                <a:gd name="T0" fmla="*/ 0 w 33"/>
                <a:gd name="T1" fmla="*/ 36973 h 31"/>
                <a:gd name="T2" fmla="*/ 8659 w 33"/>
                <a:gd name="T3" fmla="*/ 0 h 31"/>
                <a:gd name="T4" fmla="*/ 8659 w 33"/>
                <a:gd name="T5" fmla="*/ 7784 h 31"/>
                <a:gd name="T6" fmla="*/ 9525 w 33"/>
                <a:gd name="T7" fmla="*/ 19460 h 31"/>
                <a:gd name="T8" fmla="*/ 10823 w 33"/>
                <a:gd name="T9" fmla="*/ 27244 h 31"/>
                <a:gd name="T10" fmla="*/ 11689 w 33"/>
                <a:gd name="T11" fmla="*/ 35027 h 31"/>
                <a:gd name="T12" fmla="*/ 13421 w 33"/>
                <a:gd name="T13" fmla="*/ 50595 h 31"/>
                <a:gd name="T14" fmla="*/ 14287 w 33"/>
                <a:gd name="T15" fmla="*/ 60325 h 31"/>
                <a:gd name="T16" fmla="*/ 0 w 33"/>
                <a:gd name="T17" fmla="*/ 60325 h 31"/>
                <a:gd name="T18" fmla="*/ 0 w 33"/>
                <a:gd name="T19" fmla="*/ 48649 h 31"/>
                <a:gd name="T20" fmla="*/ 0 w 33"/>
                <a:gd name="T21" fmla="*/ 36973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31" name="Freeform 492">
              <a:extLst>
                <a:ext uri="{FF2B5EF4-FFF2-40B4-BE49-F238E27FC236}">
                  <a16:creationId xmlns:a16="http://schemas.microsoft.com/office/drawing/2014/main" xmlns="" id="{22D118A2-C8DD-C7D3-D873-37542E54251E}"/>
                </a:ext>
              </a:extLst>
            </p:cNvPr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5300173" y="806709"/>
              <a:ext cx="15108" cy="41835"/>
            </a:xfrm>
            <a:custGeom>
              <a:avLst/>
              <a:gdLst>
                <a:gd name="T0" fmla="*/ 17463 w 41"/>
                <a:gd name="T1" fmla="*/ 0 h 43"/>
                <a:gd name="T2" fmla="*/ 17463 w 41"/>
                <a:gd name="T3" fmla="*/ 57150 h 43"/>
                <a:gd name="T4" fmla="*/ 13204 w 41"/>
                <a:gd name="T5" fmla="*/ 55821 h 43"/>
                <a:gd name="T6" fmla="*/ 10222 w 41"/>
                <a:gd name="T7" fmla="*/ 53163 h 43"/>
                <a:gd name="T8" fmla="*/ 7667 w 41"/>
                <a:gd name="T9" fmla="*/ 49176 h 43"/>
                <a:gd name="T10" fmla="*/ 5537 w 41"/>
                <a:gd name="T11" fmla="*/ 43859 h 43"/>
                <a:gd name="T12" fmla="*/ 2130 w 41"/>
                <a:gd name="T13" fmla="*/ 33227 h 43"/>
                <a:gd name="T14" fmla="*/ 0 w 41"/>
                <a:gd name="T15" fmla="*/ 25252 h 43"/>
                <a:gd name="T16" fmla="*/ 5111 w 41"/>
                <a:gd name="T17" fmla="*/ 17278 h 43"/>
                <a:gd name="T18" fmla="*/ 10648 w 41"/>
                <a:gd name="T19" fmla="*/ 9303 h 43"/>
                <a:gd name="T20" fmla="*/ 15333 w 41"/>
                <a:gd name="T21" fmla="*/ 2658 h 43"/>
                <a:gd name="T22" fmla="*/ 17463 w 41"/>
                <a:gd name="T23" fmla="*/ 0 h 4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32" name="Freeform 493">
              <a:extLst>
                <a:ext uri="{FF2B5EF4-FFF2-40B4-BE49-F238E27FC236}">
                  <a16:creationId xmlns:a16="http://schemas.microsoft.com/office/drawing/2014/main" xmlns="" id="{99E9E4E0-0916-1ED8-5CBC-9106F8D1157E}"/>
                </a:ext>
              </a:extLst>
            </p:cNvPr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5346868" y="721880"/>
              <a:ext cx="81030" cy="44158"/>
            </a:xfrm>
            <a:custGeom>
              <a:avLst/>
              <a:gdLst>
                <a:gd name="T0" fmla="*/ 26824 w 213"/>
                <a:gd name="T1" fmla="*/ 0 h 62"/>
                <a:gd name="T2" fmla="*/ 36498 w 213"/>
                <a:gd name="T3" fmla="*/ 0 h 62"/>
                <a:gd name="T4" fmla="*/ 46172 w 213"/>
                <a:gd name="T5" fmla="*/ 973 h 62"/>
                <a:gd name="T6" fmla="*/ 55846 w 213"/>
                <a:gd name="T7" fmla="*/ 2919 h 62"/>
                <a:gd name="T8" fmla="*/ 64201 w 213"/>
                <a:gd name="T9" fmla="*/ 6811 h 62"/>
                <a:gd name="T10" fmla="*/ 72996 w 213"/>
                <a:gd name="T11" fmla="*/ 10703 h 62"/>
                <a:gd name="T12" fmla="*/ 80911 w 213"/>
                <a:gd name="T13" fmla="*/ 15568 h 62"/>
                <a:gd name="T14" fmla="*/ 83989 w 213"/>
                <a:gd name="T15" fmla="*/ 18487 h 62"/>
                <a:gd name="T16" fmla="*/ 87507 w 213"/>
                <a:gd name="T17" fmla="*/ 22379 h 62"/>
                <a:gd name="T18" fmla="*/ 91025 w 213"/>
                <a:gd name="T19" fmla="*/ 26271 h 62"/>
                <a:gd name="T20" fmla="*/ 93663 w 213"/>
                <a:gd name="T21" fmla="*/ 30163 h 62"/>
                <a:gd name="T22" fmla="*/ 92784 w 213"/>
                <a:gd name="T23" fmla="*/ 34054 h 62"/>
                <a:gd name="T24" fmla="*/ 91025 w 213"/>
                <a:gd name="T25" fmla="*/ 36973 h 62"/>
                <a:gd name="T26" fmla="*/ 88386 w 213"/>
                <a:gd name="T27" fmla="*/ 39892 h 62"/>
                <a:gd name="T28" fmla="*/ 85748 w 213"/>
                <a:gd name="T29" fmla="*/ 42811 h 62"/>
                <a:gd name="T30" fmla="*/ 77833 w 213"/>
                <a:gd name="T31" fmla="*/ 47676 h 62"/>
                <a:gd name="T32" fmla="*/ 68598 w 213"/>
                <a:gd name="T33" fmla="*/ 51568 h 62"/>
                <a:gd name="T34" fmla="*/ 59364 w 213"/>
                <a:gd name="T35" fmla="*/ 55460 h 62"/>
                <a:gd name="T36" fmla="*/ 50129 w 213"/>
                <a:gd name="T37" fmla="*/ 57406 h 62"/>
                <a:gd name="T38" fmla="*/ 41775 w 213"/>
                <a:gd name="T39" fmla="*/ 60325 h 62"/>
                <a:gd name="T40" fmla="*/ 35179 w 213"/>
                <a:gd name="T41" fmla="*/ 60325 h 62"/>
                <a:gd name="T42" fmla="*/ 27263 w 213"/>
                <a:gd name="T43" fmla="*/ 60325 h 62"/>
                <a:gd name="T44" fmla="*/ 18908 w 213"/>
                <a:gd name="T45" fmla="*/ 57406 h 62"/>
                <a:gd name="T46" fmla="*/ 14511 w 213"/>
                <a:gd name="T47" fmla="*/ 57406 h 62"/>
                <a:gd name="T48" fmla="*/ 10114 w 213"/>
                <a:gd name="T49" fmla="*/ 57406 h 62"/>
                <a:gd name="T50" fmla="*/ 5277 w 213"/>
                <a:gd name="T51" fmla="*/ 58379 h 62"/>
                <a:gd name="T52" fmla="*/ 0 w 213"/>
                <a:gd name="T53" fmla="*/ 60325 h 62"/>
                <a:gd name="T54" fmla="*/ 2638 w 213"/>
                <a:gd name="T55" fmla="*/ 48649 h 62"/>
                <a:gd name="T56" fmla="*/ 4837 w 213"/>
                <a:gd name="T57" fmla="*/ 37946 h 62"/>
                <a:gd name="T58" fmla="*/ 7475 w 213"/>
                <a:gd name="T59" fmla="*/ 28217 h 62"/>
                <a:gd name="T60" fmla="*/ 10114 w 213"/>
                <a:gd name="T61" fmla="*/ 19460 h 62"/>
                <a:gd name="T62" fmla="*/ 11873 w 213"/>
                <a:gd name="T63" fmla="*/ 15568 h 62"/>
                <a:gd name="T64" fmla="*/ 13192 w 213"/>
                <a:gd name="T65" fmla="*/ 11676 h 62"/>
                <a:gd name="T66" fmla="*/ 14951 w 213"/>
                <a:gd name="T67" fmla="*/ 8757 h 62"/>
                <a:gd name="T68" fmla="*/ 17150 w 213"/>
                <a:gd name="T69" fmla="*/ 5838 h 62"/>
                <a:gd name="T70" fmla="*/ 18908 w 213"/>
                <a:gd name="T71" fmla="*/ 2919 h 62"/>
                <a:gd name="T72" fmla="*/ 21547 w 213"/>
                <a:gd name="T73" fmla="*/ 973 h 62"/>
                <a:gd name="T74" fmla="*/ 23746 w 213"/>
                <a:gd name="T75" fmla="*/ 0 h 62"/>
                <a:gd name="T76" fmla="*/ 26824 w 213"/>
                <a:gd name="T77" fmla="*/ 0 h 6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33" name="Freeform 494">
              <a:extLst>
                <a:ext uri="{FF2B5EF4-FFF2-40B4-BE49-F238E27FC236}">
                  <a16:creationId xmlns:a16="http://schemas.microsoft.com/office/drawing/2014/main" xmlns="" id="{34315DE3-7599-FB4C-CB24-9FB38106EBB8}"/>
                </a:ext>
              </a:extLst>
            </p:cNvPr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5399055" y="740473"/>
              <a:ext cx="89270" cy="44158"/>
            </a:xfrm>
            <a:custGeom>
              <a:avLst/>
              <a:gdLst>
                <a:gd name="T0" fmla="*/ 17702 w 239"/>
                <a:gd name="T1" fmla="*/ 0 h 56"/>
                <a:gd name="T2" fmla="*/ 12952 w 239"/>
                <a:gd name="T3" fmla="*/ 3232 h 56"/>
                <a:gd name="T4" fmla="*/ 9930 w 239"/>
                <a:gd name="T5" fmla="*/ 5386 h 56"/>
                <a:gd name="T6" fmla="*/ 8203 w 239"/>
                <a:gd name="T7" fmla="*/ 7541 h 56"/>
                <a:gd name="T8" fmla="*/ 6476 w 239"/>
                <a:gd name="T9" fmla="*/ 9695 h 56"/>
                <a:gd name="T10" fmla="*/ 5613 w 239"/>
                <a:gd name="T11" fmla="*/ 14004 h 56"/>
                <a:gd name="T12" fmla="*/ 4317 w 239"/>
                <a:gd name="T13" fmla="*/ 16158 h 56"/>
                <a:gd name="T14" fmla="*/ 3022 w 239"/>
                <a:gd name="T15" fmla="*/ 18313 h 56"/>
                <a:gd name="T16" fmla="*/ 0 w 239"/>
                <a:gd name="T17" fmla="*/ 20467 h 56"/>
                <a:gd name="T18" fmla="*/ 863 w 239"/>
                <a:gd name="T19" fmla="*/ 25854 h 56"/>
                <a:gd name="T20" fmla="*/ 2159 w 239"/>
                <a:gd name="T21" fmla="*/ 29085 h 56"/>
                <a:gd name="T22" fmla="*/ 3022 w 239"/>
                <a:gd name="T23" fmla="*/ 32317 h 56"/>
                <a:gd name="T24" fmla="*/ 4317 w 239"/>
                <a:gd name="T25" fmla="*/ 35549 h 56"/>
                <a:gd name="T26" fmla="*/ 7340 w 239"/>
                <a:gd name="T27" fmla="*/ 38780 h 56"/>
                <a:gd name="T28" fmla="*/ 10362 w 239"/>
                <a:gd name="T29" fmla="*/ 40935 h 56"/>
                <a:gd name="T30" fmla="*/ 17702 w 239"/>
                <a:gd name="T31" fmla="*/ 40935 h 56"/>
                <a:gd name="T32" fmla="*/ 23314 w 239"/>
                <a:gd name="T33" fmla="*/ 40935 h 56"/>
                <a:gd name="T34" fmla="*/ 66058 w 239"/>
                <a:gd name="T35" fmla="*/ 40935 h 56"/>
                <a:gd name="T36" fmla="*/ 66921 w 239"/>
                <a:gd name="T37" fmla="*/ 44167 h 56"/>
                <a:gd name="T38" fmla="*/ 67353 w 239"/>
                <a:gd name="T39" fmla="*/ 47398 h 56"/>
                <a:gd name="T40" fmla="*/ 68648 w 239"/>
                <a:gd name="T41" fmla="*/ 49553 h 56"/>
                <a:gd name="T42" fmla="*/ 69943 w 239"/>
                <a:gd name="T43" fmla="*/ 51707 h 56"/>
                <a:gd name="T44" fmla="*/ 72102 w 239"/>
                <a:gd name="T45" fmla="*/ 54939 h 56"/>
                <a:gd name="T46" fmla="*/ 75124 w 239"/>
                <a:gd name="T47" fmla="*/ 58171 h 56"/>
                <a:gd name="T48" fmla="*/ 81169 w 239"/>
                <a:gd name="T49" fmla="*/ 60325 h 56"/>
                <a:gd name="T50" fmla="*/ 86350 w 239"/>
                <a:gd name="T51" fmla="*/ 60325 h 56"/>
                <a:gd name="T52" fmla="*/ 88077 w 239"/>
                <a:gd name="T53" fmla="*/ 59248 h 56"/>
                <a:gd name="T54" fmla="*/ 90667 w 239"/>
                <a:gd name="T55" fmla="*/ 58171 h 56"/>
                <a:gd name="T56" fmla="*/ 92394 w 239"/>
                <a:gd name="T57" fmla="*/ 56016 h 56"/>
                <a:gd name="T58" fmla="*/ 94985 w 239"/>
                <a:gd name="T59" fmla="*/ 52784 h 56"/>
                <a:gd name="T60" fmla="*/ 99302 w 239"/>
                <a:gd name="T61" fmla="*/ 46321 h 56"/>
                <a:gd name="T62" fmla="*/ 103188 w 239"/>
                <a:gd name="T63" fmla="*/ 40935 h 56"/>
                <a:gd name="T64" fmla="*/ 100166 w 239"/>
                <a:gd name="T65" fmla="*/ 39858 h 56"/>
                <a:gd name="T66" fmla="*/ 97144 w 239"/>
                <a:gd name="T67" fmla="*/ 38780 h 56"/>
                <a:gd name="T68" fmla="*/ 94553 w 239"/>
                <a:gd name="T69" fmla="*/ 36626 h 56"/>
                <a:gd name="T70" fmla="*/ 91963 w 239"/>
                <a:gd name="T71" fmla="*/ 34471 h 56"/>
                <a:gd name="T72" fmla="*/ 86782 w 239"/>
                <a:gd name="T73" fmla="*/ 28008 h 56"/>
                <a:gd name="T74" fmla="*/ 82032 w 239"/>
                <a:gd name="T75" fmla="*/ 20467 h 56"/>
                <a:gd name="T76" fmla="*/ 76851 w 239"/>
                <a:gd name="T77" fmla="*/ 14004 h 56"/>
                <a:gd name="T78" fmla="*/ 72102 w 239"/>
                <a:gd name="T79" fmla="*/ 6463 h 56"/>
                <a:gd name="T80" fmla="*/ 69080 w 239"/>
                <a:gd name="T81" fmla="*/ 4309 h 56"/>
                <a:gd name="T82" fmla="*/ 66489 w 239"/>
                <a:gd name="T83" fmla="*/ 2154 h 56"/>
                <a:gd name="T84" fmla="*/ 63467 w 239"/>
                <a:gd name="T85" fmla="*/ 1077 h 56"/>
                <a:gd name="T86" fmla="*/ 60445 w 239"/>
                <a:gd name="T87" fmla="*/ 0 h 56"/>
                <a:gd name="T88" fmla="*/ 57854 w 239"/>
                <a:gd name="T89" fmla="*/ 1077 h 56"/>
                <a:gd name="T90" fmla="*/ 54832 w 239"/>
                <a:gd name="T91" fmla="*/ 4309 h 56"/>
                <a:gd name="T92" fmla="*/ 53537 w 239"/>
                <a:gd name="T93" fmla="*/ 6463 h 56"/>
                <a:gd name="T94" fmla="*/ 52673 w 239"/>
                <a:gd name="T95" fmla="*/ 8618 h 56"/>
                <a:gd name="T96" fmla="*/ 52242 w 239"/>
                <a:gd name="T97" fmla="*/ 10772 h 56"/>
                <a:gd name="T98" fmla="*/ 51810 w 239"/>
                <a:gd name="T99" fmla="*/ 14004 h 56"/>
                <a:gd name="T100" fmla="*/ 43175 w 239"/>
                <a:gd name="T101" fmla="*/ 8618 h 56"/>
                <a:gd name="T102" fmla="*/ 34540 w 239"/>
                <a:gd name="T103" fmla="*/ 4309 h 56"/>
                <a:gd name="T104" fmla="*/ 26337 w 239"/>
                <a:gd name="T105" fmla="*/ 1077 h 56"/>
                <a:gd name="T106" fmla="*/ 17702 w 239"/>
                <a:gd name="T107" fmla="*/ 0 h 5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34" name="Freeform 495">
              <a:extLst>
                <a:ext uri="{FF2B5EF4-FFF2-40B4-BE49-F238E27FC236}">
                  <a16:creationId xmlns:a16="http://schemas.microsoft.com/office/drawing/2014/main" xmlns="" id="{66F341B8-CE27-E975-20D5-3C1EADE653AB}"/>
                </a:ext>
              </a:extLst>
            </p:cNvPr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5500685" y="750931"/>
              <a:ext cx="71415" cy="41835"/>
            </a:xfrm>
            <a:custGeom>
              <a:avLst/>
              <a:gdLst>
                <a:gd name="T0" fmla="*/ 6180 w 187"/>
                <a:gd name="T1" fmla="*/ 13573 h 80"/>
                <a:gd name="T2" fmla="*/ 18099 w 187"/>
                <a:gd name="T3" fmla="*/ 0 h 80"/>
                <a:gd name="T4" fmla="*/ 19424 w 187"/>
                <a:gd name="T5" fmla="*/ 2143 h 80"/>
                <a:gd name="T6" fmla="*/ 22072 w 187"/>
                <a:gd name="T7" fmla="*/ 4286 h 80"/>
                <a:gd name="T8" fmla="*/ 25604 w 187"/>
                <a:gd name="T9" fmla="*/ 6429 h 80"/>
                <a:gd name="T10" fmla="*/ 29577 w 187"/>
                <a:gd name="T11" fmla="*/ 8573 h 80"/>
                <a:gd name="T12" fmla="*/ 39289 w 187"/>
                <a:gd name="T13" fmla="*/ 13573 h 80"/>
                <a:gd name="T14" fmla="*/ 50325 w 187"/>
                <a:gd name="T15" fmla="*/ 18574 h 80"/>
                <a:gd name="T16" fmla="*/ 61361 w 187"/>
                <a:gd name="T17" fmla="*/ 23574 h 80"/>
                <a:gd name="T18" fmla="*/ 71072 w 187"/>
                <a:gd name="T19" fmla="*/ 27146 h 80"/>
                <a:gd name="T20" fmla="*/ 78136 w 187"/>
                <a:gd name="T21" fmla="*/ 30004 h 80"/>
                <a:gd name="T22" fmla="*/ 82550 w 187"/>
                <a:gd name="T23" fmla="*/ 30718 h 80"/>
                <a:gd name="T24" fmla="*/ 82550 w 187"/>
                <a:gd name="T25" fmla="*/ 40005 h 80"/>
                <a:gd name="T26" fmla="*/ 82550 w 187"/>
                <a:gd name="T27" fmla="*/ 48578 h 80"/>
                <a:gd name="T28" fmla="*/ 75045 w 187"/>
                <a:gd name="T29" fmla="*/ 50006 h 80"/>
                <a:gd name="T30" fmla="*/ 66658 w 187"/>
                <a:gd name="T31" fmla="*/ 50721 h 80"/>
                <a:gd name="T32" fmla="*/ 58712 w 187"/>
                <a:gd name="T33" fmla="*/ 50721 h 80"/>
                <a:gd name="T34" fmla="*/ 51207 w 187"/>
                <a:gd name="T35" fmla="*/ 50006 h 80"/>
                <a:gd name="T36" fmla="*/ 37523 w 187"/>
                <a:gd name="T37" fmla="*/ 49292 h 80"/>
                <a:gd name="T38" fmla="*/ 26928 w 187"/>
                <a:gd name="T39" fmla="*/ 48578 h 80"/>
                <a:gd name="T40" fmla="*/ 24279 w 187"/>
                <a:gd name="T41" fmla="*/ 49292 h 80"/>
                <a:gd name="T42" fmla="*/ 22514 w 187"/>
                <a:gd name="T43" fmla="*/ 50006 h 80"/>
                <a:gd name="T44" fmla="*/ 19865 w 187"/>
                <a:gd name="T45" fmla="*/ 51435 h 80"/>
                <a:gd name="T46" fmla="*/ 18099 w 187"/>
                <a:gd name="T47" fmla="*/ 52864 h 80"/>
                <a:gd name="T48" fmla="*/ 14568 w 187"/>
                <a:gd name="T49" fmla="*/ 55721 h 80"/>
                <a:gd name="T50" fmla="*/ 12360 w 187"/>
                <a:gd name="T51" fmla="*/ 57150 h 80"/>
                <a:gd name="T52" fmla="*/ 9712 w 187"/>
                <a:gd name="T53" fmla="*/ 56436 h 80"/>
                <a:gd name="T54" fmla="*/ 7946 w 187"/>
                <a:gd name="T55" fmla="*/ 54293 h 80"/>
                <a:gd name="T56" fmla="*/ 6180 w 187"/>
                <a:gd name="T57" fmla="*/ 51435 h 80"/>
                <a:gd name="T58" fmla="*/ 3973 w 187"/>
                <a:gd name="T59" fmla="*/ 47863 h 80"/>
                <a:gd name="T60" fmla="*/ 2649 w 187"/>
                <a:gd name="T61" fmla="*/ 44291 h 80"/>
                <a:gd name="T62" fmla="*/ 1324 w 187"/>
                <a:gd name="T63" fmla="*/ 40719 h 80"/>
                <a:gd name="T64" fmla="*/ 883 w 187"/>
                <a:gd name="T65" fmla="*/ 37862 h 80"/>
                <a:gd name="T66" fmla="*/ 0 w 187"/>
                <a:gd name="T67" fmla="*/ 35719 h 80"/>
                <a:gd name="T68" fmla="*/ 883 w 187"/>
                <a:gd name="T69" fmla="*/ 31433 h 80"/>
                <a:gd name="T70" fmla="*/ 1324 w 187"/>
                <a:gd name="T71" fmla="*/ 28575 h 80"/>
                <a:gd name="T72" fmla="*/ 2207 w 187"/>
                <a:gd name="T73" fmla="*/ 25718 h 80"/>
                <a:gd name="T74" fmla="*/ 3090 w 187"/>
                <a:gd name="T75" fmla="*/ 22146 h 80"/>
                <a:gd name="T76" fmla="*/ 5739 w 187"/>
                <a:gd name="T77" fmla="*/ 17145 h 80"/>
                <a:gd name="T78" fmla="*/ 6180 w 187"/>
                <a:gd name="T79" fmla="*/ 13573 h 8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35" name="Freeform 496">
              <a:extLst>
                <a:ext uri="{FF2B5EF4-FFF2-40B4-BE49-F238E27FC236}">
                  <a16:creationId xmlns:a16="http://schemas.microsoft.com/office/drawing/2014/main" xmlns="" id="{06D399B2-35BB-FE08-A4A7-11E9C06F7DAA}"/>
                </a:ext>
              </a:extLst>
            </p:cNvPr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5956646" y="842733"/>
              <a:ext cx="68669" cy="42997"/>
            </a:xfrm>
            <a:custGeom>
              <a:avLst/>
              <a:gdLst>
                <a:gd name="T0" fmla="*/ 21687 w 183"/>
                <a:gd name="T1" fmla="*/ 0 h 73"/>
                <a:gd name="T2" fmla="*/ 27326 w 183"/>
                <a:gd name="T3" fmla="*/ 0 h 73"/>
                <a:gd name="T4" fmla="*/ 32531 w 183"/>
                <a:gd name="T5" fmla="*/ 805 h 73"/>
                <a:gd name="T6" fmla="*/ 37302 w 183"/>
                <a:gd name="T7" fmla="*/ 3219 h 73"/>
                <a:gd name="T8" fmla="*/ 42073 w 183"/>
                <a:gd name="T9" fmla="*/ 5632 h 73"/>
                <a:gd name="T10" fmla="*/ 45977 w 183"/>
                <a:gd name="T11" fmla="*/ 8046 h 73"/>
                <a:gd name="T12" fmla="*/ 50314 w 183"/>
                <a:gd name="T13" fmla="*/ 12069 h 73"/>
                <a:gd name="T14" fmla="*/ 53784 w 183"/>
                <a:gd name="T15" fmla="*/ 15288 h 73"/>
                <a:gd name="T16" fmla="*/ 56820 w 183"/>
                <a:gd name="T17" fmla="*/ 20116 h 73"/>
                <a:gd name="T18" fmla="*/ 68965 w 183"/>
                <a:gd name="T19" fmla="*/ 39427 h 73"/>
                <a:gd name="T20" fmla="*/ 79375 w 183"/>
                <a:gd name="T21" fmla="*/ 58738 h 73"/>
                <a:gd name="T22" fmla="*/ 59423 w 183"/>
                <a:gd name="T23" fmla="*/ 58738 h 73"/>
                <a:gd name="T24" fmla="*/ 55519 w 183"/>
                <a:gd name="T25" fmla="*/ 57933 h 73"/>
                <a:gd name="T26" fmla="*/ 50748 w 183"/>
                <a:gd name="T27" fmla="*/ 56324 h 73"/>
                <a:gd name="T28" fmla="*/ 45109 w 183"/>
                <a:gd name="T29" fmla="*/ 53106 h 73"/>
                <a:gd name="T30" fmla="*/ 39037 w 183"/>
                <a:gd name="T31" fmla="*/ 49887 h 73"/>
                <a:gd name="T32" fmla="*/ 31663 w 183"/>
                <a:gd name="T33" fmla="*/ 45059 h 73"/>
                <a:gd name="T34" fmla="*/ 25157 w 183"/>
                <a:gd name="T35" fmla="*/ 40232 h 73"/>
                <a:gd name="T36" fmla="*/ 18217 w 183"/>
                <a:gd name="T37" fmla="*/ 35404 h 73"/>
                <a:gd name="T38" fmla="*/ 12145 w 183"/>
                <a:gd name="T39" fmla="*/ 29771 h 73"/>
                <a:gd name="T40" fmla="*/ 6940 w 183"/>
                <a:gd name="T41" fmla="*/ 24139 h 73"/>
                <a:gd name="T42" fmla="*/ 3036 w 183"/>
                <a:gd name="T43" fmla="*/ 18506 h 73"/>
                <a:gd name="T44" fmla="*/ 1735 w 183"/>
                <a:gd name="T45" fmla="*/ 15288 h 73"/>
                <a:gd name="T46" fmla="*/ 867 w 183"/>
                <a:gd name="T47" fmla="*/ 12874 h 73"/>
                <a:gd name="T48" fmla="*/ 434 w 183"/>
                <a:gd name="T49" fmla="*/ 11265 h 73"/>
                <a:gd name="T50" fmla="*/ 0 w 183"/>
                <a:gd name="T51" fmla="*/ 8851 h 73"/>
                <a:gd name="T52" fmla="*/ 434 w 183"/>
                <a:gd name="T53" fmla="*/ 6437 h 73"/>
                <a:gd name="T54" fmla="*/ 1301 w 183"/>
                <a:gd name="T55" fmla="*/ 4828 h 73"/>
                <a:gd name="T56" fmla="*/ 3036 w 183"/>
                <a:gd name="T57" fmla="*/ 3219 h 73"/>
                <a:gd name="T58" fmla="*/ 5639 w 183"/>
                <a:gd name="T59" fmla="*/ 2414 h 73"/>
                <a:gd name="T60" fmla="*/ 8241 w 183"/>
                <a:gd name="T61" fmla="*/ 805 h 73"/>
                <a:gd name="T62" fmla="*/ 12145 w 183"/>
                <a:gd name="T63" fmla="*/ 0 h 73"/>
                <a:gd name="T64" fmla="*/ 16482 w 183"/>
                <a:gd name="T65" fmla="*/ 0 h 73"/>
                <a:gd name="T66" fmla="*/ 21687 w 183"/>
                <a:gd name="T67" fmla="*/ 0 h 7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36" name="Freeform 497">
              <a:extLst>
                <a:ext uri="{FF2B5EF4-FFF2-40B4-BE49-F238E27FC236}">
                  <a16:creationId xmlns:a16="http://schemas.microsoft.com/office/drawing/2014/main" xmlns="" id="{364FFC1D-110F-571C-F3A2-4BA2F1CE462D}"/>
                </a:ext>
              </a:extLst>
            </p:cNvPr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6014327" y="855516"/>
              <a:ext cx="28841" cy="41835"/>
            </a:xfrm>
            <a:custGeom>
              <a:avLst/>
              <a:gdLst>
                <a:gd name="T0" fmla="*/ 0 w 79"/>
                <a:gd name="T1" fmla="*/ 8164 h 42"/>
                <a:gd name="T2" fmla="*/ 9706 w 79"/>
                <a:gd name="T3" fmla="*/ 2721 h 42"/>
                <a:gd name="T4" fmla="*/ 17302 w 79"/>
                <a:gd name="T5" fmla="*/ 1361 h 42"/>
                <a:gd name="T6" fmla="*/ 25320 w 79"/>
                <a:gd name="T7" fmla="*/ 0 h 42"/>
                <a:gd name="T8" fmla="*/ 33338 w 79"/>
                <a:gd name="T9" fmla="*/ 0 h 42"/>
                <a:gd name="T10" fmla="*/ 33338 w 79"/>
                <a:gd name="T11" fmla="*/ 12246 h 42"/>
                <a:gd name="T12" fmla="*/ 33338 w 79"/>
                <a:gd name="T13" fmla="*/ 24493 h 42"/>
                <a:gd name="T14" fmla="*/ 33338 w 79"/>
                <a:gd name="T15" fmla="*/ 29936 h 42"/>
                <a:gd name="T16" fmla="*/ 31650 w 79"/>
                <a:gd name="T17" fmla="*/ 36739 h 42"/>
                <a:gd name="T18" fmla="*/ 30384 w 79"/>
                <a:gd name="T19" fmla="*/ 42182 h 42"/>
                <a:gd name="T20" fmla="*/ 28696 w 79"/>
                <a:gd name="T21" fmla="*/ 47625 h 42"/>
                <a:gd name="T22" fmla="*/ 26164 w 79"/>
                <a:gd name="T23" fmla="*/ 51707 h 42"/>
                <a:gd name="T24" fmla="*/ 24054 w 79"/>
                <a:gd name="T25" fmla="*/ 54429 h 42"/>
                <a:gd name="T26" fmla="*/ 21522 w 79"/>
                <a:gd name="T27" fmla="*/ 57150 h 42"/>
                <a:gd name="T28" fmla="*/ 19412 w 79"/>
                <a:gd name="T29" fmla="*/ 57150 h 42"/>
                <a:gd name="T30" fmla="*/ 16880 w 79"/>
                <a:gd name="T31" fmla="*/ 57150 h 42"/>
                <a:gd name="T32" fmla="*/ 14770 w 79"/>
                <a:gd name="T33" fmla="*/ 55789 h 42"/>
                <a:gd name="T34" fmla="*/ 12238 w 79"/>
                <a:gd name="T35" fmla="*/ 53068 h 42"/>
                <a:gd name="T36" fmla="*/ 10550 w 79"/>
                <a:gd name="T37" fmla="*/ 50346 h 42"/>
                <a:gd name="T38" fmla="*/ 6752 w 79"/>
                <a:gd name="T39" fmla="*/ 43543 h 42"/>
                <a:gd name="T40" fmla="*/ 4642 w 79"/>
                <a:gd name="T41" fmla="*/ 35379 h 42"/>
                <a:gd name="T42" fmla="*/ 2110 w 79"/>
                <a:gd name="T43" fmla="*/ 27214 h 42"/>
                <a:gd name="T44" fmla="*/ 844 w 79"/>
                <a:gd name="T45" fmla="*/ 19050 h 42"/>
                <a:gd name="T46" fmla="*/ 0 w 79"/>
                <a:gd name="T47" fmla="*/ 12246 h 42"/>
                <a:gd name="T48" fmla="*/ 0 w 79"/>
                <a:gd name="T49" fmla="*/ 8164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37" name="Freeform 498">
              <a:extLst>
                <a:ext uri="{FF2B5EF4-FFF2-40B4-BE49-F238E27FC236}">
                  <a16:creationId xmlns:a16="http://schemas.microsoft.com/office/drawing/2014/main" xmlns="" id="{D6CB2533-A1C8-820A-9A19-2EF5CED3DFE8}"/>
                </a:ext>
              </a:extLst>
            </p:cNvPr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6040422" y="863650"/>
              <a:ext cx="45321" cy="42997"/>
            </a:xfrm>
            <a:custGeom>
              <a:avLst/>
              <a:gdLst>
                <a:gd name="T0" fmla="*/ 52387 w 113"/>
                <a:gd name="T1" fmla="*/ 44054 h 52"/>
                <a:gd name="T2" fmla="*/ 51923 w 113"/>
                <a:gd name="T3" fmla="*/ 47442 h 52"/>
                <a:gd name="T4" fmla="*/ 50533 w 113"/>
                <a:gd name="T5" fmla="*/ 50831 h 52"/>
                <a:gd name="T6" fmla="*/ 49142 w 113"/>
                <a:gd name="T7" fmla="*/ 53090 h 52"/>
                <a:gd name="T8" fmla="*/ 47751 w 113"/>
                <a:gd name="T9" fmla="*/ 55349 h 52"/>
                <a:gd name="T10" fmla="*/ 43579 w 113"/>
                <a:gd name="T11" fmla="*/ 57608 h 52"/>
                <a:gd name="T12" fmla="*/ 39406 w 113"/>
                <a:gd name="T13" fmla="*/ 58738 h 52"/>
                <a:gd name="T14" fmla="*/ 30598 w 113"/>
                <a:gd name="T15" fmla="*/ 58738 h 52"/>
                <a:gd name="T16" fmla="*/ 24571 w 113"/>
                <a:gd name="T17" fmla="*/ 57608 h 52"/>
                <a:gd name="T18" fmla="*/ 21789 w 113"/>
                <a:gd name="T19" fmla="*/ 57608 h 52"/>
                <a:gd name="T20" fmla="*/ 18080 w 113"/>
                <a:gd name="T21" fmla="*/ 54220 h 52"/>
                <a:gd name="T22" fmla="*/ 13908 w 113"/>
                <a:gd name="T23" fmla="*/ 50831 h 52"/>
                <a:gd name="T24" fmla="*/ 9736 w 113"/>
                <a:gd name="T25" fmla="*/ 46313 h 52"/>
                <a:gd name="T26" fmla="*/ 6027 w 113"/>
                <a:gd name="T27" fmla="*/ 40665 h 52"/>
                <a:gd name="T28" fmla="*/ 2782 w 113"/>
                <a:gd name="T29" fmla="*/ 35017 h 52"/>
                <a:gd name="T30" fmla="*/ 1854 w 113"/>
                <a:gd name="T31" fmla="*/ 31628 h 52"/>
                <a:gd name="T32" fmla="*/ 927 w 113"/>
                <a:gd name="T33" fmla="*/ 28239 h 52"/>
                <a:gd name="T34" fmla="*/ 464 w 113"/>
                <a:gd name="T35" fmla="*/ 24851 h 52"/>
                <a:gd name="T36" fmla="*/ 0 w 113"/>
                <a:gd name="T37" fmla="*/ 22592 h 52"/>
                <a:gd name="T38" fmla="*/ 464 w 113"/>
                <a:gd name="T39" fmla="*/ 16944 h 52"/>
                <a:gd name="T40" fmla="*/ 464 w 113"/>
                <a:gd name="T41" fmla="*/ 12425 h 52"/>
                <a:gd name="T42" fmla="*/ 1391 w 113"/>
                <a:gd name="T43" fmla="*/ 9037 h 52"/>
                <a:gd name="T44" fmla="*/ 2318 w 113"/>
                <a:gd name="T45" fmla="*/ 5648 h 52"/>
                <a:gd name="T46" fmla="*/ 3245 w 113"/>
                <a:gd name="T47" fmla="*/ 3389 h 52"/>
                <a:gd name="T48" fmla="*/ 4636 w 113"/>
                <a:gd name="T49" fmla="*/ 2259 h 52"/>
                <a:gd name="T50" fmla="*/ 6490 w 113"/>
                <a:gd name="T51" fmla="*/ 1130 h 52"/>
                <a:gd name="T52" fmla="*/ 7881 w 113"/>
                <a:gd name="T53" fmla="*/ 0 h 52"/>
                <a:gd name="T54" fmla="*/ 12054 w 113"/>
                <a:gd name="T55" fmla="*/ 0 h 52"/>
                <a:gd name="T56" fmla="*/ 16690 w 113"/>
                <a:gd name="T57" fmla="*/ 2259 h 52"/>
                <a:gd name="T58" fmla="*/ 21326 w 113"/>
                <a:gd name="T59" fmla="*/ 5648 h 52"/>
                <a:gd name="T60" fmla="*/ 26425 w 113"/>
                <a:gd name="T61" fmla="*/ 10166 h 52"/>
                <a:gd name="T62" fmla="*/ 35697 w 113"/>
                <a:gd name="T63" fmla="*/ 20332 h 52"/>
                <a:gd name="T64" fmla="*/ 44042 w 113"/>
                <a:gd name="T65" fmla="*/ 32758 h 52"/>
                <a:gd name="T66" fmla="*/ 50069 w 113"/>
                <a:gd name="T67" fmla="*/ 40665 h 52"/>
                <a:gd name="T68" fmla="*/ 52387 w 113"/>
                <a:gd name="T69" fmla="*/ 44054 h 5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38" name="Freeform 499">
              <a:extLst>
                <a:ext uri="{FF2B5EF4-FFF2-40B4-BE49-F238E27FC236}">
                  <a16:creationId xmlns:a16="http://schemas.microsoft.com/office/drawing/2014/main" xmlns="" id="{B7D5327B-8EF3-260C-F5ED-D60179A253E4}"/>
                </a:ext>
              </a:extLst>
            </p:cNvPr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5842656" y="843896"/>
              <a:ext cx="53561" cy="42996"/>
            </a:xfrm>
            <a:custGeom>
              <a:avLst/>
              <a:gdLst>
                <a:gd name="T0" fmla="*/ 0 w 139"/>
                <a:gd name="T1" fmla="*/ 11747 h 40"/>
                <a:gd name="T2" fmla="*/ 3563 w 139"/>
                <a:gd name="T3" fmla="*/ 13216 h 40"/>
                <a:gd name="T4" fmla="*/ 8463 w 139"/>
                <a:gd name="T5" fmla="*/ 11747 h 40"/>
                <a:gd name="T6" fmla="*/ 13362 w 139"/>
                <a:gd name="T7" fmla="*/ 10279 h 40"/>
                <a:gd name="T8" fmla="*/ 18707 w 139"/>
                <a:gd name="T9" fmla="*/ 7342 h 40"/>
                <a:gd name="T10" fmla="*/ 23607 w 139"/>
                <a:gd name="T11" fmla="*/ 2937 h 40"/>
                <a:gd name="T12" fmla="*/ 28506 w 139"/>
                <a:gd name="T13" fmla="*/ 1468 h 40"/>
                <a:gd name="T14" fmla="*/ 32515 w 139"/>
                <a:gd name="T15" fmla="*/ 0 h 40"/>
                <a:gd name="T16" fmla="*/ 35633 w 139"/>
                <a:gd name="T17" fmla="*/ 2937 h 40"/>
                <a:gd name="T18" fmla="*/ 61912 w 139"/>
                <a:gd name="T19" fmla="*/ 57269 h 40"/>
                <a:gd name="T20" fmla="*/ 59240 w 139"/>
                <a:gd name="T21" fmla="*/ 58737 h 40"/>
                <a:gd name="T22" fmla="*/ 55676 w 139"/>
                <a:gd name="T23" fmla="*/ 57269 h 40"/>
                <a:gd name="T24" fmla="*/ 51668 w 139"/>
                <a:gd name="T25" fmla="*/ 55800 h 40"/>
                <a:gd name="T26" fmla="*/ 47213 w 139"/>
                <a:gd name="T27" fmla="*/ 52863 h 40"/>
                <a:gd name="T28" fmla="*/ 38305 w 139"/>
                <a:gd name="T29" fmla="*/ 44053 h 40"/>
                <a:gd name="T30" fmla="*/ 28506 w 139"/>
                <a:gd name="T31" fmla="*/ 35242 h 40"/>
                <a:gd name="T32" fmla="*/ 19598 w 139"/>
                <a:gd name="T33" fmla="*/ 23495 h 40"/>
                <a:gd name="T34" fmla="*/ 11581 w 139"/>
                <a:gd name="T35" fmla="*/ 16153 h 40"/>
                <a:gd name="T36" fmla="*/ 7572 w 139"/>
                <a:gd name="T37" fmla="*/ 13216 h 40"/>
                <a:gd name="T38" fmla="*/ 4900 w 139"/>
                <a:gd name="T39" fmla="*/ 10279 h 40"/>
                <a:gd name="T40" fmla="*/ 1782 w 139"/>
                <a:gd name="T41" fmla="*/ 10279 h 40"/>
                <a:gd name="T42" fmla="*/ 0 w 139"/>
                <a:gd name="T43" fmla="*/ 11747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39" name="Freeform 500">
              <a:extLst>
                <a:ext uri="{FF2B5EF4-FFF2-40B4-BE49-F238E27FC236}">
                  <a16:creationId xmlns:a16="http://schemas.microsoft.com/office/drawing/2014/main" xmlns="" id="{7F684B00-E4BA-6DEA-002D-ADD55AD4E569}"/>
                </a:ext>
              </a:extLst>
            </p:cNvPr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6102223" y="800899"/>
              <a:ext cx="120857" cy="41835"/>
            </a:xfrm>
            <a:custGeom>
              <a:avLst/>
              <a:gdLst>
                <a:gd name="T0" fmla="*/ 4298 w 325"/>
                <a:gd name="T1" fmla="*/ 5635 h 71"/>
                <a:gd name="T2" fmla="*/ 13325 w 325"/>
                <a:gd name="T3" fmla="*/ 805 h 71"/>
                <a:gd name="T4" fmla="*/ 22782 w 325"/>
                <a:gd name="T5" fmla="*/ 0 h 71"/>
                <a:gd name="T6" fmla="*/ 31379 w 325"/>
                <a:gd name="T7" fmla="*/ 3220 h 71"/>
                <a:gd name="T8" fmla="*/ 39546 w 325"/>
                <a:gd name="T9" fmla="*/ 8049 h 71"/>
                <a:gd name="T10" fmla="*/ 47283 w 325"/>
                <a:gd name="T11" fmla="*/ 14489 h 71"/>
                <a:gd name="T12" fmla="*/ 52441 w 325"/>
                <a:gd name="T13" fmla="*/ 23343 h 71"/>
                <a:gd name="T14" fmla="*/ 55880 w 325"/>
                <a:gd name="T15" fmla="*/ 30587 h 71"/>
                <a:gd name="T16" fmla="*/ 58459 w 325"/>
                <a:gd name="T17" fmla="*/ 27368 h 71"/>
                <a:gd name="T18" fmla="*/ 59749 w 325"/>
                <a:gd name="T19" fmla="*/ 12074 h 71"/>
                <a:gd name="T20" fmla="*/ 69205 w 325"/>
                <a:gd name="T21" fmla="*/ 5635 h 71"/>
                <a:gd name="T22" fmla="*/ 92847 w 325"/>
                <a:gd name="T23" fmla="*/ 10464 h 71"/>
                <a:gd name="T24" fmla="*/ 110900 w 325"/>
                <a:gd name="T25" fmla="*/ 18513 h 71"/>
                <a:gd name="T26" fmla="*/ 121646 w 325"/>
                <a:gd name="T27" fmla="*/ 25758 h 71"/>
                <a:gd name="T28" fmla="*/ 131103 w 325"/>
                <a:gd name="T29" fmla="*/ 34612 h 71"/>
                <a:gd name="T30" fmla="*/ 137551 w 325"/>
                <a:gd name="T31" fmla="*/ 44271 h 71"/>
                <a:gd name="T32" fmla="*/ 135831 w 325"/>
                <a:gd name="T33" fmla="*/ 51515 h 71"/>
                <a:gd name="T34" fmla="*/ 126375 w 325"/>
                <a:gd name="T35" fmla="*/ 54735 h 71"/>
                <a:gd name="T36" fmla="*/ 111330 w 325"/>
                <a:gd name="T37" fmla="*/ 57150 h 71"/>
                <a:gd name="T38" fmla="*/ 90268 w 325"/>
                <a:gd name="T39" fmla="*/ 56345 h 71"/>
                <a:gd name="T40" fmla="*/ 71784 w 325"/>
                <a:gd name="T41" fmla="*/ 54735 h 71"/>
                <a:gd name="T42" fmla="*/ 57170 w 325"/>
                <a:gd name="T43" fmla="*/ 55540 h 71"/>
                <a:gd name="T44" fmla="*/ 38686 w 325"/>
                <a:gd name="T45" fmla="*/ 57150 h 71"/>
                <a:gd name="T46" fmla="*/ 30949 w 325"/>
                <a:gd name="T47" fmla="*/ 54735 h 71"/>
                <a:gd name="T48" fmla="*/ 28800 w 325"/>
                <a:gd name="T49" fmla="*/ 51515 h 71"/>
                <a:gd name="T50" fmla="*/ 24931 w 325"/>
                <a:gd name="T51" fmla="*/ 49101 h 71"/>
                <a:gd name="T52" fmla="*/ 19773 w 325"/>
                <a:gd name="T53" fmla="*/ 47491 h 71"/>
                <a:gd name="T54" fmla="*/ 15045 w 325"/>
                <a:gd name="T55" fmla="*/ 42661 h 71"/>
                <a:gd name="T56" fmla="*/ 10746 w 325"/>
                <a:gd name="T57" fmla="*/ 36222 h 71"/>
                <a:gd name="T58" fmla="*/ 6878 w 325"/>
                <a:gd name="T59" fmla="*/ 31392 h 71"/>
                <a:gd name="T60" fmla="*/ 2579 w 325"/>
                <a:gd name="T61" fmla="*/ 29782 h 71"/>
                <a:gd name="T62" fmla="*/ 0 w 325"/>
                <a:gd name="T63" fmla="*/ 17708 h 7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40" name="Freeform 501">
              <a:extLst>
                <a:ext uri="{FF2B5EF4-FFF2-40B4-BE49-F238E27FC236}">
                  <a16:creationId xmlns:a16="http://schemas.microsoft.com/office/drawing/2014/main" xmlns="" id="{42735FD4-2721-D48C-BB87-E7410D31DCD6}"/>
                </a:ext>
              </a:extLst>
            </p:cNvPr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6240934" y="806709"/>
              <a:ext cx="82402" cy="41835"/>
            </a:xfrm>
            <a:custGeom>
              <a:avLst/>
              <a:gdLst>
                <a:gd name="T0" fmla="*/ 37667 w 220"/>
                <a:gd name="T1" fmla="*/ 19844 h 72"/>
                <a:gd name="T2" fmla="*/ 39832 w 220"/>
                <a:gd name="T3" fmla="*/ 20638 h 72"/>
                <a:gd name="T4" fmla="*/ 42430 w 220"/>
                <a:gd name="T5" fmla="*/ 21431 h 72"/>
                <a:gd name="T6" fmla="*/ 43728 w 220"/>
                <a:gd name="T7" fmla="*/ 22225 h 72"/>
                <a:gd name="T8" fmla="*/ 45027 w 220"/>
                <a:gd name="T9" fmla="*/ 21431 h 72"/>
                <a:gd name="T10" fmla="*/ 47192 w 220"/>
                <a:gd name="T11" fmla="*/ 21431 h 72"/>
                <a:gd name="T12" fmla="*/ 48924 w 220"/>
                <a:gd name="T13" fmla="*/ 19844 h 72"/>
                <a:gd name="T14" fmla="*/ 49357 w 220"/>
                <a:gd name="T15" fmla="*/ 20638 h 72"/>
                <a:gd name="T16" fmla="*/ 49790 w 220"/>
                <a:gd name="T17" fmla="*/ 20638 h 72"/>
                <a:gd name="T18" fmla="*/ 50223 w 220"/>
                <a:gd name="T19" fmla="*/ 19844 h 72"/>
                <a:gd name="T20" fmla="*/ 50656 w 220"/>
                <a:gd name="T21" fmla="*/ 19844 h 72"/>
                <a:gd name="T22" fmla="*/ 51522 w 220"/>
                <a:gd name="T23" fmla="*/ 17463 h 72"/>
                <a:gd name="T24" fmla="*/ 51955 w 220"/>
                <a:gd name="T25" fmla="*/ 13494 h 72"/>
                <a:gd name="T26" fmla="*/ 51955 w 220"/>
                <a:gd name="T27" fmla="*/ 5556 h 72"/>
                <a:gd name="T28" fmla="*/ 51955 w 220"/>
                <a:gd name="T29" fmla="*/ 0 h 72"/>
                <a:gd name="T30" fmla="*/ 54119 w 220"/>
                <a:gd name="T31" fmla="*/ 3969 h 72"/>
                <a:gd name="T32" fmla="*/ 56717 w 220"/>
                <a:gd name="T33" fmla="*/ 7938 h 72"/>
                <a:gd name="T34" fmla="*/ 59315 w 220"/>
                <a:gd name="T35" fmla="*/ 11906 h 72"/>
                <a:gd name="T36" fmla="*/ 61913 w 220"/>
                <a:gd name="T37" fmla="*/ 15081 h 72"/>
                <a:gd name="T38" fmla="*/ 67541 w 220"/>
                <a:gd name="T39" fmla="*/ 19844 h 72"/>
                <a:gd name="T40" fmla="*/ 73602 w 220"/>
                <a:gd name="T41" fmla="*/ 23813 h 72"/>
                <a:gd name="T42" fmla="*/ 79231 w 220"/>
                <a:gd name="T43" fmla="*/ 27781 h 72"/>
                <a:gd name="T44" fmla="*/ 84859 w 220"/>
                <a:gd name="T45" fmla="*/ 32544 h 72"/>
                <a:gd name="T46" fmla="*/ 87890 w 220"/>
                <a:gd name="T47" fmla="*/ 34925 h 72"/>
                <a:gd name="T48" fmla="*/ 90488 w 220"/>
                <a:gd name="T49" fmla="*/ 37306 h 72"/>
                <a:gd name="T50" fmla="*/ 92652 w 220"/>
                <a:gd name="T51" fmla="*/ 40481 h 72"/>
                <a:gd name="T52" fmla="*/ 95250 w 220"/>
                <a:gd name="T53" fmla="*/ 43656 h 72"/>
                <a:gd name="T54" fmla="*/ 89189 w 220"/>
                <a:gd name="T55" fmla="*/ 44450 h 72"/>
                <a:gd name="T56" fmla="*/ 83993 w 220"/>
                <a:gd name="T57" fmla="*/ 45244 h 72"/>
                <a:gd name="T58" fmla="*/ 78798 w 220"/>
                <a:gd name="T59" fmla="*/ 46038 h 72"/>
                <a:gd name="T60" fmla="*/ 74035 w 220"/>
                <a:gd name="T61" fmla="*/ 47625 h 72"/>
                <a:gd name="T62" fmla="*/ 65376 w 220"/>
                <a:gd name="T63" fmla="*/ 51594 h 72"/>
                <a:gd name="T64" fmla="*/ 58016 w 220"/>
                <a:gd name="T65" fmla="*/ 55563 h 72"/>
                <a:gd name="T66" fmla="*/ 54552 w 220"/>
                <a:gd name="T67" fmla="*/ 56356 h 72"/>
                <a:gd name="T68" fmla="*/ 50656 w 220"/>
                <a:gd name="T69" fmla="*/ 57150 h 72"/>
                <a:gd name="T70" fmla="*/ 47625 w 220"/>
                <a:gd name="T71" fmla="*/ 57150 h 72"/>
                <a:gd name="T72" fmla="*/ 44594 w 220"/>
                <a:gd name="T73" fmla="*/ 57150 h 72"/>
                <a:gd name="T74" fmla="*/ 41131 w 220"/>
                <a:gd name="T75" fmla="*/ 55563 h 72"/>
                <a:gd name="T76" fmla="*/ 38100 w 220"/>
                <a:gd name="T77" fmla="*/ 52388 h 72"/>
                <a:gd name="T78" fmla="*/ 35069 w 220"/>
                <a:gd name="T79" fmla="*/ 48419 h 72"/>
                <a:gd name="T80" fmla="*/ 32039 w 220"/>
                <a:gd name="T81" fmla="*/ 43656 h 72"/>
                <a:gd name="T82" fmla="*/ 25544 w 220"/>
                <a:gd name="T83" fmla="*/ 42069 h 72"/>
                <a:gd name="T84" fmla="*/ 19483 w 220"/>
                <a:gd name="T85" fmla="*/ 39688 h 72"/>
                <a:gd name="T86" fmla="*/ 14288 w 220"/>
                <a:gd name="T87" fmla="*/ 37306 h 72"/>
                <a:gd name="T88" fmla="*/ 9525 w 220"/>
                <a:gd name="T89" fmla="*/ 34131 h 72"/>
                <a:gd name="T90" fmla="*/ 7793 w 220"/>
                <a:gd name="T91" fmla="*/ 32544 h 72"/>
                <a:gd name="T92" fmla="*/ 5628 w 220"/>
                <a:gd name="T93" fmla="*/ 30163 h 72"/>
                <a:gd name="T94" fmla="*/ 3897 w 220"/>
                <a:gd name="T95" fmla="*/ 27781 h 72"/>
                <a:gd name="T96" fmla="*/ 3031 w 220"/>
                <a:gd name="T97" fmla="*/ 24606 h 72"/>
                <a:gd name="T98" fmla="*/ 1299 w 220"/>
                <a:gd name="T99" fmla="*/ 21431 h 72"/>
                <a:gd name="T100" fmla="*/ 866 w 220"/>
                <a:gd name="T101" fmla="*/ 18256 h 72"/>
                <a:gd name="T102" fmla="*/ 433 w 220"/>
                <a:gd name="T103" fmla="*/ 14288 h 72"/>
                <a:gd name="T104" fmla="*/ 0 w 220"/>
                <a:gd name="T105" fmla="*/ 10319 h 72"/>
                <a:gd name="T106" fmla="*/ 9958 w 220"/>
                <a:gd name="T107" fmla="*/ 13494 h 72"/>
                <a:gd name="T108" fmla="*/ 19050 w 220"/>
                <a:gd name="T109" fmla="*/ 16669 h 72"/>
                <a:gd name="T110" fmla="*/ 27709 w 220"/>
                <a:gd name="T111" fmla="*/ 19050 h 72"/>
                <a:gd name="T112" fmla="*/ 37667 w 220"/>
                <a:gd name="T113" fmla="*/ 19844 h 7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41" name="Freeform 502">
              <a:extLst>
                <a:ext uri="{FF2B5EF4-FFF2-40B4-BE49-F238E27FC236}">
                  <a16:creationId xmlns:a16="http://schemas.microsoft.com/office/drawing/2014/main" xmlns="" id="{1B514C19-AC76-623A-168B-A44E58D44FC6}"/>
                </a:ext>
              </a:extLst>
            </p:cNvPr>
            <p:cNvSpPr>
              <a:spLocks/>
            </p:cNvSpPr>
            <p:nvPr>
              <p:custDataLst>
                <p:tags r:id="rId337"/>
              </p:custDataLst>
            </p:nvPr>
          </p:nvSpPr>
          <p:spPr bwMode="auto">
            <a:xfrm>
              <a:off x="6206599" y="841572"/>
              <a:ext cx="54935" cy="42996"/>
            </a:xfrm>
            <a:custGeom>
              <a:avLst/>
              <a:gdLst>
                <a:gd name="T0" fmla="*/ 63500 w 146"/>
                <a:gd name="T1" fmla="*/ 48948 h 30"/>
                <a:gd name="T2" fmla="*/ 60890 w 146"/>
                <a:gd name="T3" fmla="*/ 31326 h 30"/>
                <a:gd name="T4" fmla="*/ 59586 w 146"/>
                <a:gd name="T5" fmla="*/ 17621 h 30"/>
                <a:gd name="T6" fmla="*/ 57846 w 146"/>
                <a:gd name="T7" fmla="*/ 7832 h 30"/>
                <a:gd name="T8" fmla="*/ 55671 w 146"/>
                <a:gd name="T9" fmla="*/ 1958 h 30"/>
                <a:gd name="T10" fmla="*/ 54801 w 146"/>
                <a:gd name="T11" fmla="*/ 1958 h 30"/>
                <a:gd name="T12" fmla="*/ 53932 w 146"/>
                <a:gd name="T13" fmla="*/ 1958 h 30"/>
                <a:gd name="T14" fmla="*/ 52192 w 146"/>
                <a:gd name="T15" fmla="*/ 3916 h 30"/>
                <a:gd name="T16" fmla="*/ 51322 w 146"/>
                <a:gd name="T17" fmla="*/ 5874 h 30"/>
                <a:gd name="T18" fmla="*/ 49147 w 146"/>
                <a:gd name="T19" fmla="*/ 17621 h 30"/>
                <a:gd name="T20" fmla="*/ 45668 w 146"/>
                <a:gd name="T21" fmla="*/ 37200 h 30"/>
                <a:gd name="T22" fmla="*/ 31315 w 146"/>
                <a:gd name="T23" fmla="*/ 37200 h 30"/>
                <a:gd name="T24" fmla="*/ 27401 w 146"/>
                <a:gd name="T25" fmla="*/ 35242 h 30"/>
                <a:gd name="T26" fmla="*/ 23921 w 146"/>
                <a:gd name="T27" fmla="*/ 33284 h 30"/>
                <a:gd name="T28" fmla="*/ 20442 w 146"/>
                <a:gd name="T29" fmla="*/ 27411 h 30"/>
                <a:gd name="T30" fmla="*/ 17397 w 146"/>
                <a:gd name="T31" fmla="*/ 23495 h 30"/>
                <a:gd name="T32" fmla="*/ 12613 w 146"/>
                <a:gd name="T33" fmla="*/ 11747 h 30"/>
                <a:gd name="T34" fmla="*/ 8264 w 146"/>
                <a:gd name="T35" fmla="*/ 0 h 30"/>
                <a:gd name="T36" fmla="*/ 6089 w 146"/>
                <a:gd name="T37" fmla="*/ 17621 h 30"/>
                <a:gd name="T38" fmla="*/ 4349 w 146"/>
                <a:gd name="T39" fmla="*/ 29369 h 30"/>
                <a:gd name="T40" fmla="*/ 1740 w 146"/>
                <a:gd name="T41" fmla="*/ 39158 h 30"/>
                <a:gd name="T42" fmla="*/ 0 w 146"/>
                <a:gd name="T43" fmla="*/ 48948 h 30"/>
                <a:gd name="T44" fmla="*/ 14353 w 146"/>
                <a:gd name="T45" fmla="*/ 48948 h 30"/>
                <a:gd name="T46" fmla="*/ 24791 w 146"/>
                <a:gd name="T47" fmla="*/ 48948 h 30"/>
                <a:gd name="T48" fmla="*/ 33490 w 146"/>
                <a:gd name="T49" fmla="*/ 48948 h 30"/>
                <a:gd name="T50" fmla="*/ 43058 w 146"/>
                <a:gd name="T51" fmla="*/ 48948 h 30"/>
                <a:gd name="T52" fmla="*/ 47842 w 146"/>
                <a:gd name="T53" fmla="*/ 50905 h 30"/>
                <a:gd name="T54" fmla="*/ 53497 w 146"/>
                <a:gd name="T55" fmla="*/ 56779 h 30"/>
                <a:gd name="T56" fmla="*/ 55671 w 146"/>
                <a:gd name="T57" fmla="*/ 58737 h 30"/>
                <a:gd name="T58" fmla="*/ 58716 w 146"/>
                <a:gd name="T59" fmla="*/ 58737 h 30"/>
                <a:gd name="T60" fmla="*/ 60890 w 146"/>
                <a:gd name="T61" fmla="*/ 54821 h 30"/>
                <a:gd name="T62" fmla="*/ 63500 w 146"/>
                <a:gd name="T63" fmla="*/ 48948 h 3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42" name="Freeform 503">
              <a:extLst>
                <a:ext uri="{FF2B5EF4-FFF2-40B4-BE49-F238E27FC236}">
                  <a16:creationId xmlns:a16="http://schemas.microsoft.com/office/drawing/2014/main" xmlns="" id="{BE676515-10D9-3CAC-EEDF-6209B57D058D}"/>
                </a:ext>
              </a:extLst>
            </p:cNvPr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6188747" y="839247"/>
              <a:ext cx="17853" cy="42996"/>
            </a:xfrm>
            <a:custGeom>
              <a:avLst/>
              <a:gdLst>
                <a:gd name="T0" fmla="*/ 0 w 53"/>
                <a:gd name="T1" fmla="*/ 58737 h 9"/>
                <a:gd name="T2" fmla="*/ 6619 w 53"/>
                <a:gd name="T3" fmla="*/ 58737 h 9"/>
                <a:gd name="T4" fmla="*/ 11292 w 53"/>
                <a:gd name="T5" fmla="*/ 58737 h 9"/>
                <a:gd name="T6" fmla="*/ 15575 w 53"/>
                <a:gd name="T7" fmla="*/ 58737 h 9"/>
                <a:gd name="T8" fmla="*/ 20637 w 53"/>
                <a:gd name="T9" fmla="*/ 58737 h 9"/>
                <a:gd name="T10" fmla="*/ 17911 w 53"/>
                <a:gd name="T11" fmla="*/ 39158 h 9"/>
                <a:gd name="T12" fmla="*/ 14796 w 53"/>
                <a:gd name="T13" fmla="*/ 19579 h 9"/>
                <a:gd name="T14" fmla="*/ 12071 w 53"/>
                <a:gd name="T15" fmla="*/ 6526 h 9"/>
                <a:gd name="T16" fmla="*/ 9734 w 53"/>
                <a:gd name="T17" fmla="*/ 0 h 9"/>
                <a:gd name="T18" fmla="*/ 7398 w 53"/>
                <a:gd name="T19" fmla="*/ 0 h 9"/>
                <a:gd name="T20" fmla="*/ 5451 w 53"/>
                <a:gd name="T21" fmla="*/ 0 h 9"/>
                <a:gd name="T22" fmla="*/ 3504 w 53"/>
                <a:gd name="T23" fmla="*/ 6526 h 9"/>
                <a:gd name="T24" fmla="*/ 2336 w 53"/>
                <a:gd name="T25" fmla="*/ 19579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43" name="Line 504">
              <a:extLst>
                <a:ext uri="{FF2B5EF4-FFF2-40B4-BE49-F238E27FC236}">
                  <a16:creationId xmlns:a16="http://schemas.microsoft.com/office/drawing/2014/main" xmlns="" id="{5E7E17EA-8BF6-D6A6-0E6F-69C1A504AFD3}"/>
                </a:ext>
              </a:extLst>
            </p:cNvPr>
            <p:cNvSpPr>
              <a:spLocks noChangeShapeType="1"/>
            </p:cNvSpPr>
            <p:nvPr>
              <p:custDataLst>
                <p:tags r:id="rId339"/>
              </p:custDataLst>
            </p:nvPr>
          </p:nvSpPr>
          <p:spPr bwMode="auto">
            <a:xfrm flipV="1">
              <a:off x="6190119" y="838085"/>
              <a:ext cx="0" cy="116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44" name="Freeform 505">
              <a:extLst>
                <a:ext uri="{FF2B5EF4-FFF2-40B4-BE49-F238E27FC236}">
                  <a16:creationId xmlns:a16="http://schemas.microsoft.com/office/drawing/2014/main" xmlns="" id="{699897AD-04B5-383A-763C-FF717C8E8AE7}"/>
                </a:ext>
              </a:extLst>
            </p:cNvPr>
            <p:cNvSpPr>
              <a:spLocks/>
            </p:cNvSpPr>
            <p:nvPr>
              <p:custDataLst>
                <p:tags r:id="rId340"/>
              </p:custDataLst>
            </p:nvPr>
          </p:nvSpPr>
          <p:spPr bwMode="auto">
            <a:xfrm>
              <a:off x="5471844" y="785793"/>
              <a:ext cx="9613" cy="40672"/>
            </a:xfrm>
            <a:custGeom>
              <a:avLst/>
              <a:gdLst>
                <a:gd name="T0" fmla="*/ 0 w 26"/>
                <a:gd name="T1" fmla="*/ 55562 h 25"/>
                <a:gd name="T2" fmla="*/ 2137 w 26"/>
                <a:gd name="T3" fmla="*/ 37782 h 25"/>
                <a:gd name="T4" fmla="*/ 5556 w 26"/>
                <a:gd name="T5" fmla="*/ 17780 h 25"/>
                <a:gd name="T6" fmla="*/ 6838 w 26"/>
                <a:gd name="T7" fmla="*/ 11112 h 25"/>
                <a:gd name="T8" fmla="*/ 8548 w 26"/>
                <a:gd name="T9" fmla="*/ 4445 h 25"/>
                <a:gd name="T10" fmla="*/ 9830 w 26"/>
                <a:gd name="T11" fmla="*/ 2222 h 25"/>
                <a:gd name="T12" fmla="*/ 11112 w 26"/>
                <a:gd name="T13" fmla="*/ 0 h 25"/>
                <a:gd name="T14" fmla="*/ 11112 w 26"/>
                <a:gd name="T15" fmla="*/ 55562 h 25"/>
                <a:gd name="T16" fmla="*/ 8548 w 26"/>
                <a:gd name="T17" fmla="*/ 55562 h 25"/>
                <a:gd name="T18" fmla="*/ 5556 w 26"/>
                <a:gd name="T19" fmla="*/ 55562 h 25"/>
                <a:gd name="T20" fmla="*/ 0 w 26"/>
                <a:gd name="T21" fmla="*/ 55562 h 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45" name="Freeform 506">
              <a:extLst>
                <a:ext uri="{FF2B5EF4-FFF2-40B4-BE49-F238E27FC236}">
                  <a16:creationId xmlns:a16="http://schemas.microsoft.com/office/drawing/2014/main" xmlns="" id="{7CF01512-952B-E185-C6F4-8F5EB94F5CC6}"/>
                </a:ext>
              </a:extLst>
            </p:cNvPr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6120078" y="838085"/>
              <a:ext cx="8240" cy="41835"/>
            </a:xfrm>
            <a:custGeom>
              <a:avLst/>
              <a:gdLst>
                <a:gd name="T0" fmla="*/ 9525 w 33"/>
                <a:gd name="T1" fmla="*/ 57150 h 25"/>
                <a:gd name="T2" fmla="*/ 9525 w 33"/>
                <a:gd name="T3" fmla="*/ 27432 h 25"/>
                <a:gd name="T4" fmla="*/ 9525 w 33"/>
                <a:gd name="T5" fmla="*/ 0 h 25"/>
                <a:gd name="T6" fmla="*/ 0 w 33"/>
                <a:gd name="T7" fmla="*/ 0 h 25"/>
                <a:gd name="T8" fmla="*/ 2598 w 33"/>
                <a:gd name="T9" fmla="*/ 20574 h 25"/>
                <a:gd name="T10" fmla="*/ 4618 w 33"/>
                <a:gd name="T11" fmla="*/ 38862 h 25"/>
                <a:gd name="T12" fmla="*/ 5773 w 33"/>
                <a:gd name="T13" fmla="*/ 45720 h 25"/>
                <a:gd name="T14" fmla="*/ 6927 w 33"/>
                <a:gd name="T15" fmla="*/ 52578 h 25"/>
                <a:gd name="T16" fmla="*/ 8082 w 33"/>
                <a:gd name="T17" fmla="*/ 54864 h 25"/>
                <a:gd name="T18" fmla="*/ 9525 w 33"/>
                <a:gd name="T19" fmla="*/ 57150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46" name="Freeform 507">
              <a:extLst>
                <a:ext uri="{FF2B5EF4-FFF2-40B4-BE49-F238E27FC236}">
                  <a16:creationId xmlns:a16="http://schemas.microsoft.com/office/drawing/2014/main" xmlns="" id="{B6CF99B6-B27C-5AF8-3BE7-9F629CDF6B36}"/>
                </a:ext>
              </a:extLst>
            </p:cNvPr>
            <p:cNvSpPr>
              <a:spLocks/>
            </p:cNvSpPr>
            <p:nvPr>
              <p:custDataLst>
                <p:tags r:id="rId342"/>
              </p:custDataLst>
            </p:nvPr>
          </p:nvSpPr>
          <p:spPr bwMode="auto">
            <a:xfrm>
              <a:off x="6080250" y="811358"/>
              <a:ext cx="8240" cy="41835"/>
            </a:xfrm>
            <a:custGeom>
              <a:avLst/>
              <a:gdLst>
                <a:gd name="T0" fmla="*/ 0 w 20"/>
                <a:gd name="T1" fmla="*/ 0 h 18"/>
                <a:gd name="T2" fmla="*/ 6191 w 20"/>
                <a:gd name="T3" fmla="*/ 57150 h 18"/>
                <a:gd name="T4" fmla="*/ 7620 w 20"/>
                <a:gd name="T5" fmla="*/ 34925 h 18"/>
                <a:gd name="T6" fmla="*/ 9525 w 20"/>
                <a:gd name="T7" fmla="*/ 0 h 18"/>
                <a:gd name="T8" fmla="*/ 0 w 20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47" name="Freeform 508">
              <a:extLst>
                <a:ext uri="{FF2B5EF4-FFF2-40B4-BE49-F238E27FC236}">
                  <a16:creationId xmlns:a16="http://schemas.microsoft.com/office/drawing/2014/main" xmlns="" id="{75AFC5FF-D0E9-DD56-7530-C31BAC9EBDE3}"/>
                </a:ext>
              </a:extLst>
            </p:cNvPr>
            <p:cNvSpPr>
              <a:spLocks/>
            </p:cNvSpPr>
            <p:nvPr>
              <p:custDataLst>
                <p:tags r:id="rId343"/>
              </p:custDataLst>
            </p:nvPr>
          </p:nvSpPr>
          <p:spPr bwMode="auto">
            <a:xfrm>
              <a:off x="6512863" y="1228536"/>
              <a:ext cx="10987" cy="42997"/>
            </a:xfrm>
            <a:custGeom>
              <a:avLst/>
              <a:gdLst>
                <a:gd name="T0" fmla="*/ 0 w 33"/>
                <a:gd name="T1" fmla="*/ 58738 h 31"/>
                <a:gd name="T2" fmla="*/ 0 w 33"/>
                <a:gd name="T3" fmla="*/ 0 h 31"/>
                <a:gd name="T4" fmla="*/ 3464 w 33"/>
                <a:gd name="T5" fmla="*/ 0 h 31"/>
                <a:gd name="T6" fmla="*/ 6158 w 33"/>
                <a:gd name="T7" fmla="*/ 0 h 31"/>
                <a:gd name="T8" fmla="*/ 9236 w 33"/>
                <a:gd name="T9" fmla="*/ 0 h 31"/>
                <a:gd name="T10" fmla="*/ 12700 w 33"/>
                <a:gd name="T11" fmla="*/ 0 h 31"/>
                <a:gd name="T12" fmla="*/ 11545 w 33"/>
                <a:gd name="T13" fmla="*/ 3790 h 31"/>
                <a:gd name="T14" fmla="*/ 11161 w 33"/>
                <a:gd name="T15" fmla="*/ 9474 h 31"/>
                <a:gd name="T16" fmla="*/ 10776 w 33"/>
                <a:gd name="T17" fmla="*/ 17053 h 31"/>
                <a:gd name="T18" fmla="*/ 10776 w 33"/>
                <a:gd name="T19" fmla="*/ 24632 h 31"/>
                <a:gd name="T20" fmla="*/ 10776 w 33"/>
                <a:gd name="T21" fmla="*/ 32211 h 31"/>
                <a:gd name="T22" fmla="*/ 11161 w 33"/>
                <a:gd name="T23" fmla="*/ 39790 h 31"/>
                <a:gd name="T24" fmla="*/ 11545 w 33"/>
                <a:gd name="T25" fmla="*/ 49264 h 31"/>
                <a:gd name="T26" fmla="*/ 12700 w 33"/>
                <a:gd name="T27" fmla="*/ 58738 h 31"/>
                <a:gd name="T28" fmla="*/ 0 w 33"/>
                <a:gd name="T29" fmla="*/ 58738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48" name="Freeform 509">
              <a:extLst>
                <a:ext uri="{FF2B5EF4-FFF2-40B4-BE49-F238E27FC236}">
                  <a16:creationId xmlns:a16="http://schemas.microsoft.com/office/drawing/2014/main" xmlns="" id="{ECA39458-F7B7-8064-AF1F-4C2A0639A2BC}"/>
                </a:ext>
              </a:extLst>
            </p:cNvPr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6766937" y="878758"/>
              <a:ext cx="48069" cy="42996"/>
            </a:xfrm>
            <a:custGeom>
              <a:avLst/>
              <a:gdLst>
                <a:gd name="T0" fmla="*/ 1292 w 129"/>
                <a:gd name="T1" fmla="*/ 46151 h 56"/>
                <a:gd name="T2" fmla="*/ 431 w 129"/>
                <a:gd name="T3" fmla="*/ 44053 h 56"/>
                <a:gd name="T4" fmla="*/ 431 w 129"/>
                <a:gd name="T5" fmla="*/ 41955 h 56"/>
                <a:gd name="T6" fmla="*/ 0 w 129"/>
                <a:gd name="T7" fmla="*/ 38808 h 56"/>
                <a:gd name="T8" fmla="*/ 431 w 129"/>
                <a:gd name="T9" fmla="*/ 34613 h 56"/>
                <a:gd name="T10" fmla="*/ 861 w 129"/>
                <a:gd name="T11" fmla="*/ 26222 h 56"/>
                <a:gd name="T12" fmla="*/ 1292 w 129"/>
                <a:gd name="T13" fmla="*/ 18880 h 56"/>
                <a:gd name="T14" fmla="*/ 3876 w 129"/>
                <a:gd name="T15" fmla="*/ 13635 h 56"/>
                <a:gd name="T16" fmla="*/ 6892 w 129"/>
                <a:gd name="T17" fmla="*/ 9440 h 56"/>
                <a:gd name="T18" fmla="*/ 9045 w 129"/>
                <a:gd name="T19" fmla="*/ 6293 h 56"/>
                <a:gd name="T20" fmla="*/ 11629 w 129"/>
                <a:gd name="T21" fmla="*/ 5244 h 56"/>
                <a:gd name="T22" fmla="*/ 16798 w 129"/>
                <a:gd name="T23" fmla="*/ 3147 h 56"/>
                <a:gd name="T24" fmla="*/ 24551 w 129"/>
                <a:gd name="T25" fmla="*/ 0 h 56"/>
                <a:gd name="T26" fmla="*/ 25843 w 129"/>
                <a:gd name="T27" fmla="*/ 5244 h 56"/>
                <a:gd name="T28" fmla="*/ 27566 w 129"/>
                <a:gd name="T29" fmla="*/ 8391 h 56"/>
                <a:gd name="T30" fmla="*/ 29720 w 129"/>
                <a:gd name="T31" fmla="*/ 11538 h 56"/>
                <a:gd name="T32" fmla="*/ 31443 w 129"/>
                <a:gd name="T33" fmla="*/ 14684 h 56"/>
                <a:gd name="T34" fmla="*/ 35750 w 129"/>
                <a:gd name="T35" fmla="*/ 18880 h 56"/>
                <a:gd name="T36" fmla="*/ 40057 w 129"/>
                <a:gd name="T37" fmla="*/ 22026 h 56"/>
                <a:gd name="T38" fmla="*/ 44364 w 129"/>
                <a:gd name="T39" fmla="*/ 26222 h 56"/>
                <a:gd name="T40" fmla="*/ 48671 w 129"/>
                <a:gd name="T41" fmla="*/ 30417 h 56"/>
                <a:gd name="T42" fmla="*/ 50394 w 129"/>
                <a:gd name="T43" fmla="*/ 33564 h 56"/>
                <a:gd name="T44" fmla="*/ 52117 w 129"/>
                <a:gd name="T45" fmla="*/ 36711 h 56"/>
                <a:gd name="T46" fmla="*/ 54271 w 129"/>
                <a:gd name="T47" fmla="*/ 39857 h 56"/>
                <a:gd name="T48" fmla="*/ 55563 w 129"/>
                <a:gd name="T49" fmla="*/ 46151 h 56"/>
                <a:gd name="T50" fmla="*/ 51256 w 129"/>
                <a:gd name="T51" fmla="*/ 50346 h 56"/>
                <a:gd name="T52" fmla="*/ 46949 w 129"/>
                <a:gd name="T53" fmla="*/ 53493 h 56"/>
                <a:gd name="T54" fmla="*/ 42641 w 129"/>
                <a:gd name="T55" fmla="*/ 55590 h 56"/>
                <a:gd name="T56" fmla="*/ 38765 w 129"/>
                <a:gd name="T57" fmla="*/ 56639 h 56"/>
                <a:gd name="T58" fmla="*/ 30150 w 129"/>
                <a:gd name="T59" fmla="*/ 58737 h 56"/>
                <a:gd name="T60" fmla="*/ 21105 w 129"/>
                <a:gd name="T61" fmla="*/ 58737 h 56"/>
                <a:gd name="T62" fmla="*/ 17229 w 129"/>
                <a:gd name="T63" fmla="*/ 57688 h 56"/>
                <a:gd name="T64" fmla="*/ 13352 w 129"/>
                <a:gd name="T65" fmla="*/ 56639 h 56"/>
                <a:gd name="T66" fmla="*/ 9907 w 129"/>
                <a:gd name="T67" fmla="*/ 54542 h 56"/>
                <a:gd name="T68" fmla="*/ 6892 w 129"/>
                <a:gd name="T69" fmla="*/ 52444 h 56"/>
                <a:gd name="T70" fmla="*/ 2584 w 129"/>
                <a:gd name="T71" fmla="*/ 48248 h 56"/>
                <a:gd name="T72" fmla="*/ 1292 w 129"/>
                <a:gd name="T73" fmla="*/ 46151 h 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49" name="Freeform 510">
              <a:extLst>
                <a:ext uri="{FF2B5EF4-FFF2-40B4-BE49-F238E27FC236}">
                  <a16:creationId xmlns:a16="http://schemas.microsoft.com/office/drawing/2014/main" xmlns="" id="{9AAA7F10-EE3C-1B34-5EE2-9EAD1D9A38D3}"/>
                </a:ext>
              </a:extLst>
            </p:cNvPr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6885047" y="1136734"/>
              <a:ext cx="12361" cy="41835"/>
            </a:xfrm>
            <a:custGeom>
              <a:avLst/>
              <a:gdLst>
                <a:gd name="T0" fmla="*/ 7318 w 41"/>
                <a:gd name="T1" fmla="*/ 57150 h 42"/>
                <a:gd name="T2" fmla="*/ 0 w 41"/>
                <a:gd name="T3" fmla="*/ 40821 h 42"/>
                <a:gd name="T4" fmla="*/ 0 w 41"/>
                <a:gd name="T5" fmla="*/ 8164 h 42"/>
                <a:gd name="T6" fmla="*/ 2439 w 41"/>
                <a:gd name="T7" fmla="*/ 6804 h 42"/>
                <a:gd name="T8" fmla="*/ 4879 w 41"/>
                <a:gd name="T9" fmla="*/ 4082 h 42"/>
                <a:gd name="T10" fmla="*/ 8364 w 41"/>
                <a:gd name="T11" fmla="*/ 1361 h 42"/>
                <a:gd name="T12" fmla="*/ 11849 w 41"/>
                <a:gd name="T13" fmla="*/ 0 h 42"/>
                <a:gd name="T14" fmla="*/ 11849 w 41"/>
                <a:gd name="T15" fmla="*/ 24493 h 42"/>
                <a:gd name="T16" fmla="*/ 14288 w 41"/>
                <a:gd name="T17" fmla="*/ 24493 h 42"/>
                <a:gd name="T18" fmla="*/ 7318 w 41"/>
                <a:gd name="T19" fmla="*/ 57150 h 4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50" name="Freeform 511">
              <a:extLst>
                <a:ext uri="{FF2B5EF4-FFF2-40B4-BE49-F238E27FC236}">
                  <a16:creationId xmlns:a16="http://schemas.microsoft.com/office/drawing/2014/main" xmlns="" id="{A1AD4BAF-D0A9-BCC3-9E61-B7E9DC12FA8A}"/>
                </a:ext>
              </a:extLst>
            </p:cNvPr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7014145" y="1219240"/>
              <a:ext cx="37082" cy="44158"/>
            </a:xfrm>
            <a:custGeom>
              <a:avLst/>
              <a:gdLst>
                <a:gd name="T0" fmla="*/ 27654 w 93"/>
                <a:gd name="T1" fmla="*/ 13921 h 39"/>
                <a:gd name="T2" fmla="*/ 30880 w 93"/>
                <a:gd name="T3" fmla="*/ 27842 h 39"/>
                <a:gd name="T4" fmla="*/ 35489 w 93"/>
                <a:gd name="T5" fmla="*/ 43310 h 39"/>
                <a:gd name="T6" fmla="*/ 37332 w 93"/>
                <a:gd name="T7" fmla="*/ 51044 h 39"/>
                <a:gd name="T8" fmla="*/ 39637 w 93"/>
                <a:gd name="T9" fmla="*/ 55685 h 39"/>
                <a:gd name="T10" fmla="*/ 41480 w 93"/>
                <a:gd name="T11" fmla="*/ 58778 h 39"/>
                <a:gd name="T12" fmla="*/ 42863 w 93"/>
                <a:gd name="T13" fmla="*/ 60325 h 39"/>
                <a:gd name="T14" fmla="*/ 27654 w 93"/>
                <a:gd name="T15" fmla="*/ 60325 h 39"/>
                <a:gd name="T16" fmla="*/ 23045 w 93"/>
                <a:gd name="T17" fmla="*/ 55685 h 39"/>
                <a:gd name="T18" fmla="*/ 19818 w 93"/>
                <a:gd name="T19" fmla="*/ 49497 h 39"/>
                <a:gd name="T20" fmla="*/ 16592 w 93"/>
                <a:gd name="T21" fmla="*/ 43310 h 39"/>
                <a:gd name="T22" fmla="*/ 13827 w 93"/>
                <a:gd name="T23" fmla="*/ 35576 h 39"/>
                <a:gd name="T24" fmla="*/ 11061 w 93"/>
                <a:gd name="T25" fmla="*/ 27842 h 39"/>
                <a:gd name="T26" fmla="*/ 7374 w 93"/>
                <a:gd name="T27" fmla="*/ 20108 h 39"/>
                <a:gd name="T28" fmla="*/ 4148 w 93"/>
                <a:gd name="T29" fmla="*/ 10828 h 39"/>
                <a:gd name="T30" fmla="*/ 0 w 93"/>
                <a:gd name="T31" fmla="*/ 4640 h 39"/>
                <a:gd name="T32" fmla="*/ 5070 w 93"/>
                <a:gd name="T33" fmla="*/ 1547 h 39"/>
                <a:gd name="T34" fmla="*/ 9218 w 93"/>
                <a:gd name="T35" fmla="*/ 0 h 39"/>
                <a:gd name="T36" fmla="*/ 11983 w 93"/>
                <a:gd name="T37" fmla="*/ 0 h 39"/>
                <a:gd name="T38" fmla="*/ 15209 w 93"/>
                <a:gd name="T39" fmla="*/ 1547 h 39"/>
                <a:gd name="T40" fmla="*/ 20279 w 93"/>
                <a:gd name="T41" fmla="*/ 6187 h 39"/>
                <a:gd name="T42" fmla="*/ 27654 w 93"/>
                <a:gd name="T43" fmla="*/ 13921 h 3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51" name="Freeform 512">
              <a:extLst>
                <a:ext uri="{FF2B5EF4-FFF2-40B4-BE49-F238E27FC236}">
                  <a16:creationId xmlns:a16="http://schemas.microsoft.com/office/drawing/2014/main" xmlns="" id="{C37D43C8-6E90-1922-0E85-C2220A27F710}"/>
                </a:ext>
              </a:extLst>
            </p:cNvPr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7058092" y="1230860"/>
              <a:ext cx="16480" cy="42997"/>
            </a:xfrm>
            <a:custGeom>
              <a:avLst/>
              <a:gdLst>
                <a:gd name="T0" fmla="*/ 19050 w 39"/>
                <a:gd name="T1" fmla="*/ 58738 h 19"/>
                <a:gd name="T2" fmla="*/ 6350 w 39"/>
                <a:gd name="T3" fmla="*/ 58738 h 19"/>
                <a:gd name="T4" fmla="*/ 3908 w 39"/>
                <a:gd name="T5" fmla="*/ 58738 h 19"/>
                <a:gd name="T6" fmla="*/ 2442 w 39"/>
                <a:gd name="T7" fmla="*/ 52555 h 19"/>
                <a:gd name="T8" fmla="*/ 1465 w 39"/>
                <a:gd name="T9" fmla="*/ 43281 h 19"/>
                <a:gd name="T10" fmla="*/ 977 w 39"/>
                <a:gd name="T11" fmla="*/ 34006 h 19"/>
                <a:gd name="T12" fmla="*/ 0 w 39"/>
                <a:gd name="T13" fmla="*/ 15457 h 19"/>
                <a:gd name="T14" fmla="*/ 0 w 39"/>
                <a:gd name="T15" fmla="*/ 0 h 19"/>
                <a:gd name="T16" fmla="*/ 6350 w 39"/>
                <a:gd name="T17" fmla="*/ 12366 h 19"/>
                <a:gd name="T18" fmla="*/ 10746 w 39"/>
                <a:gd name="T19" fmla="*/ 27823 h 19"/>
                <a:gd name="T20" fmla="*/ 14654 w 39"/>
                <a:gd name="T21" fmla="*/ 43281 h 19"/>
                <a:gd name="T22" fmla="*/ 19050 w 39"/>
                <a:gd name="T23" fmla="*/ 58738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52" name="Freeform 513">
              <a:extLst>
                <a:ext uri="{FF2B5EF4-FFF2-40B4-BE49-F238E27FC236}">
                  <a16:creationId xmlns:a16="http://schemas.microsoft.com/office/drawing/2014/main" xmlns="" id="{74EEDB70-2DE2-6346-C402-756287D4C2C0}"/>
                </a:ext>
              </a:extLst>
            </p:cNvPr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6941356" y="1323824"/>
              <a:ext cx="12360" cy="41835"/>
            </a:xfrm>
            <a:custGeom>
              <a:avLst/>
              <a:gdLst>
                <a:gd name="T0" fmla="*/ 0 w 26"/>
                <a:gd name="T1" fmla="*/ 57150 h 36"/>
                <a:gd name="T2" fmla="*/ 1649 w 26"/>
                <a:gd name="T3" fmla="*/ 49213 h 36"/>
                <a:gd name="T4" fmla="*/ 5495 w 26"/>
                <a:gd name="T5" fmla="*/ 31750 h 36"/>
                <a:gd name="T6" fmla="*/ 9891 w 26"/>
                <a:gd name="T7" fmla="*/ 12700 h 36"/>
                <a:gd name="T8" fmla="*/ 14287 w 26"/>
                <a:gd name="T9" fmla="*/ 0 h 36"/>
                <a:gd name="T10" fmla="*/ 14287 w 26"/>
                <a:gd name="T11" fmla="*/ 14288 h 36"/>
                <a:gd name="T12" fmla="*/ 14287 w 26"/>
                <a:gd name="T13" fmla="*/ 28575 h 36"/>
                <a:gd name="T14" fmla="*/ 13738 w 26"/>
                <a:gd name="T15" fmla="*/ 34925 h 36"/>
                <a:gd name="T16" fmla="*/ 13188 w 26"/>
                <a:gd name="T17" fmla="*/ 41275 h 36"/>
                <a:gd name="T18" fmla="*/ 11540 w 26"/>
                <a:gd name="T19" fmla="*/ 46038 h 36"/>
                <a:gd name="T20" fmla="*/ 9342 w 26"/>
                <a:gd name="T21" fmla="*/ 50800 h 36"/>
                <a:gd name="T22" fmla="*/ 7693 w 26"/>
                <a:gd name="T23" fmla="*/ 53975 h 36"/>
                <a:gd name="T24" fmla="*/ 5495 w 26"/>
                <a:gd name="T25" fmla="*/ 55563 h 36"/>
                <a:gd name="T26" fmla="*/ 2198 w 26"/>
                <a:gd name="T27" fmla="*/ 57150 h 36"/>
                <a:gd name="T28" fmla="*/ 0 w 26"/>
                <a:gd name="T29" fmla="*/ 57150 h 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53" name="Freeform 514">
              <a:extLst>
                <a:ext uri="{FF2B5EF4-FFF2-40B4-BE49-F238E27FC236}">
                  <a16:creationId xmlns:a16="http://schemas.microsoft.com/office/drawing/2014/main" xmlns="" id="{D399F4D9-0F6B-A0EA-ED57-C62FB80936AA}"/>
                </a:ext>
              </a:extLst>
            </p:cNvPr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6950970" y="1344742"/>
              <a:ext cx="2747" cy="44158"/>
            </a:xfrm>
            <a:custGeom>
              <a:avLst/>
              <a:gdLst>
                <a:gd name="T0" fmla="*/ 0 w 6"/>
                <a:gd name="T1" fmla="*/ 60325 h 37"/>
                <a:gd name="T2" fmla="*/ 0 w 6"/>
                <a:gd name="T3" fmla="*/ 0 h 37"/>
                <a:gd name="T4" fmla="*/ 3175 w 6"/>
                <a:gd name="T5" fmla="*/ 0 h 37"/>
                <a:gd name="T6" fmla="*/ 3175 w 6"/>
                <a:gd name="T7" fmla="*/ 50543 h 37"/>
                <a:gd name="T8" fmla="*/ 0 w 6"/>
                <a:gd name="T9" fmla="*/ 60325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54" name="Freeform 515">
              <a:extLst>
                <a:ext uri="{FF2B5EF4-FFF2-40B4-BE49-F238E27FC236}">
                  <a16:creationId xmlns:a16="http://schemas.microsoft.com/office/drawing/2014/main" xmlns="" id="{4E11C9D2-D532-A06E-B573-855F9BE50811}"/>
                </a:ext>
              </a:extLst>
            </p:cNvPr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6939983" y="1405170"/>
              <a:ext cx="8240" cy="40672"/>
            </a:xfrm>
            <a:custGeom>
              <a:avLst/>
              <a:gdLst>
                <a:gd name="T0" fmla="*/ 0 w 20"/>
                <a:gd name="T1" fmla="*/ 40057 h 43"/>
                <a:gd name="T2" fmla="*/ 0 w 20"/>
                <a:gd name="T3" fmla="*/ 32304 h 43"/>
                <a:gd name="T4" fmla="*/ 0 w 20"/>
                <a:gd name="T5" fmla="*/ 23259 h 43"/>
                <a:gd name="T6" fmla="*/ 953 w 20"/>
                <a:gd name="T7" fmla="*/ 11629 h 43"/>
                <a:gd name="T8" fmla="*/ 3334 w 20"/>
                <a:gd name="T9" fmla="*/ 0 h 43"/>
                <a:gd name="T10" fmla="*/ 5239 w 20"/>
                <a:gd name="T11" fmla="*/ 9045 h 43"/>
                <a:gd name="T12" fmla="*/ 7620 w 20"/>
                <a:gd name="T13" fmla="*/ 15506 h 43"/>
                <a:gd name="T14" fmla="*/ 8096 w 20"/>
                <a:gd name="T15" fmla="*/ 18090 h 43"/>
                <a:gd name="T16" fmla="*/ 9049 w 20"/>
                <a:gd name="T17" fmla="*/ 23259 h 43"/>
                <a:gd name="T18" fmla="*/ 9049 w 20"/>
                <a:gd name="T19" fmla="*/ 27135 h 43"/>
                <a:gd name="T20" fmla="*/ 9525 w 20"/>
                <a:gd name="T21" fmla="*/ 32304 h 43"/>
                <a:gd name="T22" fmla="*/ 9049 w 20"/>
                <a:gd name="T23" fmla="*/ 34888 h 43"/>
                <a:gd name="T24" fmla="*/ 8573 w 20"/>
                <a:gd name="T25" fmla="*/ 38765 h 43"/>
                <a:gd name="T26" fmla="*/ 7620 w 20"/>
                <a:gd name="T27" fmla="*/ 42641 h 43"/>
                <a:gd name="T28" fmla="*/ 5715 w 20"/>
                <a:gd name="T29" fmla="*/ 46518 h 43"/>
                <a:gd name="T30" fmla="*/ 4286 w 20"/>
                <a:gd name="T31" fmla="*/ 50394 h 43"/>
                <a:gd name="T32" fmla="*/ 2858 w 20"/>
                <a:gd name="T33" fmla="*/ 52979 h 43"/>
                <a:gd name="T34" fmla="*/ 953 w 20"/>
                <a:gd name="T35" fmla="*/ 54271 h 43"/>
                <a:gd name="T36" fmla="*/ 0 w 20"/>
                <a:gd name="T37" fmla="*/ 55563 h 43"/>
                <a:gd name="T38" fmla="*/ 0 w 20"/>
                <a:gd name="T39" fmla="*/ 40057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55" name="Freeform 516">
              <a:extLst>
                <a:ext uri="{FF2B5EF4-FFF2-40B4-BE49-F238E27FC236}">
                  <a16:creationId xmlns:a16="http://schemas.microsoft.com/office/drawing/2014/main" xmlns="" id="{99C05CE9-C628-CDA4-6FD3-5754C15203D2}"/>
                </a:ext>
              </a:extLst>
            </p:cNvPr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6920754" y="1430733"/>
              <a:ext cx="0" cy="42997"/>
            </a:xfrm>
            <a:custGeom>
              <a:avLst/>
              <a:gdLst>
                <a:gd name="T0" fmla="*/ 58738 h 30"/>
                <a:gd name="T1" fmla="*/ 48948 h 30"/>
                <a:gd name="T2" fmla="*/ 35243 h 30"/>
                <a:gd name="T3" fmla="*/ 17621 h 30"/>
                <a:gd name="T4" fmla="*/ 0 h 30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</a:gdLst>
              <a:ahLst/>
              <a:cxnLst>
                <a:cxn ang="T5">
                  <a:pos x="0" y="T0"/>
                </a:cxn>
                <a:cxn ang="T6">
                  <a:pos x="0" y="T1"/>
                </a:cxn>
                <a:cxn ang="T7">
                  <a:pos x="0" y="T2"/>
                </a:cxn>
                <a:cxn ang="T8">
                  <a:pos x="0" y="T3"/>
                </a:cxn>
                <a:cxn ang="T9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56" name="Freeform 517">
              <a:extLst>
                <a:ext uri="{FF2B5EF4-FFF2-40B4-BE49-F238E27FC236}">
                  <a16:creationId xmlns:a16="http://schemas.microsoft.com/office/drawing/2014/main" xmlns="" id="{D701D985-8E39-F0B9-2BF9-0D2DB764CDDF}"/>
                </a:ext>
              </a:extLst>
            </p:cNvPr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6920754" y="1430733"/>
              <a:ext cx="6867" cy="42997"/>
            </a:xfrm>
            <a:custGeom>
              <a:avLst/>
              <a:gdLst>
                <a:gd name="T0" fmla="*/ 0 w 20"/>
                <a:gd name="T1" fmla="*/ 0 h 24"/>
                <a:gd name="T2" fmla="*/ 7938 w 20"/>
                <a:gd name="T3" fmla="*/ 0 h 24"/>
                <a:gd name="T4" fmla="*/ 0 w 20"/>
                <a:gd name="T5" fmla="*/ 58738 h 24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57" name="Freeform 518">
              <a:extLst>
                <a:ext uri="{FF2B5EF4-FFF2-40B4-BE49-F238E27FC236}">
                  <a16:creationId xmlns:a16="http://schemas.microsoft.com/office/drawing/2014/main" xmlns="" id="{9F218E68-C66F-614E-AA9B-670B40DE1EF1}"/>
                </a:ext>
              </a:extLst>
            </p:cNvPr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6707882" y="1128600"/>
              <a:ext cx="15107" cy="44158"/>
            </a:xfrm>
            <a:custGeom>
              <a:avLst/>
              <a:gdLst>
                <a:gd name="T0" fmla="*/ 0 w 46"/>
                <a:gd name="T1" fmla="*/ 0 h 19"/>
                <a:gd name="T2" fmla="*/ 3416 w 46"/>
                <a:gd name="T3" fmla="*/ 9525 h 19"/>
                <a:gd name="T4" fmla="*/ 5315 w 46"/>
                <a:gd name="T5" fmla="*/ 15875 h 19"/>
                <a:gd name="T6" fmla="*/ 7213 w 46"/>
                <a:gd name="T7" fmla="*/ 25400 h 19"/>
                <a:gd name="T8" fmla="*/ 8731 w 46"/>
                <a:gd name="T9" fmla="*/ 31750 h 19"/>
                <a:gd name="T10" fmla="*/ 9870 w 46"/>
                <a:gd name="T11" fmla="*/ 38100 h 19"/>
                <a:gd name="T12" fmla="*/ 12147 w 46"/>
                <a:gd name="T13" fmla="*/ 44450 h 19"/>
                <a:gd name="T14" fmla="*/ 14046 w 46"/>
                <a:gd name="T15" fmla="*/ 53975 h 19"/>
                <a:gd name="T16" fmla="*/ 17462 w 46"/>
                <a:gd name="T17" fmla="*/ 60325 h 19"/>
                <a:gd name="T18" fmla="*/ 12527 w 46"/>
                <a:gd name="T19" fmla="*/ 60325 h 19"/>
                <a:gd name="T20" fmla="*/ 9111 w 46"/>
                <a:gd name="T21" fmla="*/ 60325 h 19"/>
                <a:gd name="T22" fmla="*/ 6833 w 46"/>
                <a:gd name="T23" fmla="*/ 57150 h 19"/>
                <a:gd name="T24" fmla="*/ 4935 w 46"/>
                <a:gd name="T25" fmla="*/ 53975 h 19"/>
                <a:gd name="T26" fmla="*/ 3796 w 46"/>
                <a:gd name="T27" fmla="*/ 44450 h 19"/>
                <a:gd name="T28" fmla="*/ 2657 w 46"/>
                <a:gd name="T29" fmla="*/ 34925 h 19"/>
                <a:gd name="T30" fmla="*/ 1518 w 46"/>
                <a:gd name="T31" fmla="*/ 22225 h 19"/>
                <a:gd name="T32" fmla="*/ 0 w 46"/>
                <a:gd name="T33" fmla="*/ 0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58" name="Freeform 519">
              <a:extLst>
                <a:ext uri="{FF2B5EF4-FFF2-40B4-BE49-F238E27FC236}">
                  <a16:creationId xmlns:a16="http://schemas.microsoft.com/office/drawing/2014/main" xmlns="" id="{A4C77763-2F2F-01B1-1BCF-FD2A3F57DFFE}"/>
                </a:ext>
              </a:extLst>
            </p:cNvPr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4385505" y="1230860"/>
              <a:ext cx="41201" cy="42997"/>
            </a:xfrm>
            <a:custGeom>
              <a:avLst/>
              <a:gdLst>
                <a:gd name="T0" fmla="*/ 15716 w 100"/>
                <a:gd name="T1" fmla="*/ 0 h 55"/>
                <a:gd name="T2" fmla="*/ 47625 w 100"/>
                <a:gd name="T3" fmla="*/ 12816 h 55"/>
                <a:gd name="T4" fmla="*/ 47625 w 100"/>
                <a:gd name="T5" fmla="*/ 58738 h 55"/>
                <a:gd name="T6" fmla="*/ 6191 w 100"/>
                <a:gd name="T7" fmla="*/ 58738 h 55"/>
                <a:gd name="T8" fmla="*/ 0 w 100"/>
                <a:gd name="T9" fmla="*/ 45922 h 55"/>
                <a:gd name="T10" fmla="*/ 476 w 100"/>
                <a:gd name="T11" fmla="*/ 40583 h 55"/>
                <a:gd name="T12" fmla="*/ 1905 w 100"/>
                <a:gd name="T13" fmla="*/ 34175 h 55"/>
                <a:gd name="T14" fmla="*/ 4763 w 100"/>
                <a:gd name="T15" fmla="*/ 26699 h 55"/>
                <a:gd name="T16" fmla="*/ 7620 w 100"/>
                <a:gd name="T17" fmla="*/ 19223 h 55"/>
                <a:gd name="T18" fmla="*/ 12859 w 100"/>
                <a:gd name="T19" fmla="*/ 5340 h 55"/>
                <a:gd name="T20" fmla="*/ 15716 w 100"/>
                <a:gd name="T21" fmla="*/ 0 h 5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59" name="Freeform 520">
              <a:extLst>
                <a:ext uri="{FF2B5EF4-FFF2-40B4-BE49-F238E27FC236}">
                  <a16:creationId xmlns:a16="http://schemas.microsoft.com/office/drawing/2014/main" xmlns="" id="{6A00E40F-D9E1-DA99-6AB4-1C1833D8D818}"/>
                </a:ext>
              </a:extLst>
            </p:cNvPr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4774170" y="932212"/>
              <a:ext cx="37081" cy="42996"/>
            </a:xfrm>
            <a:custGeom>
              <a:avLst/>
              <a:gdLst>
                <a:gd name="T0" fmla="*/ 22946 w 99"/>
                <a:gd name="T1" fmla="*/ 2303 h 51"/>
                <a:gd name="T2" fmla="*/ 25111 w 99"/>
                <a:gd name="T3" fmla="*/ 1152 h 51"/>
                <a:gd name="T4" fmla="*/ 26843 w 99"/>
                <a:gd name="T5" fmla="*/ 0 h 51"/>
                <a:gd name="T6" fmla="*/ 28142 w 99"/>
                <a:gd name="T7" fmla="*/ 0 h 51"/>
                <a:gd name="T8" fmla="*/ 29874 w 99"/>
                <a:gd name="T9" fmla="*/ 1152 h 51"/>
                <a:gd name="T10" fmla="*/ 32038 w 99"/>
                <a:gd name="T11" fmla="*/ 5759 h 51"/>
                <a:gd name="T12" fmla="*/ 34203 w 99"/>
                <a:gd name="T13" fmla="*/ 12669 h 51"/>
                <a:gd name="T14" fmla="*/ 35935 w 99"/>
                <a:gd name="T15" fmla="*/ 20731 h 51"/>
                <a:gd name="T16" fmla="*/ 37667 w 99"/>
                <a:gd name="T17" fmla="*/ 28793 h 51"/>
                <a:gd name="T18" fmla="*/ 39398 w 99"/>
                <a:gd name="T19" fmla="*/ 32248 h 51"/>
                <a:gd name="T20" fmla="*/ 40264 w 99"/>
                <a:gd name="T21" fmla="*/ 34551 h 51"/>
                <a:gd name="T22" fmla="*/ 41563 w 99"/>
                <a:gd name="T23" fmla="*/ 36855 h 51"/>
                <a:gd name="T24" fmla="*/ 42862 w 99"/>
                <a:gd name="T25" fmla="*/ 39158 h 51"/>
                <a:gd name="T26" fmla="*/ 42862 w 99"/>
                <a:gd name="T27" fmla="*/ 42613 h 51"/>
                <a:gd name="T28" fmla="*/ 41996 w 99"/>
                <a:gd name="T29" fmla="*/ 46068 h 51"/>
                <a:gd name="T30" fmla="*/ 41130 w 99"/>
                <a:gd name="T31" fmla="*/ 49523 h 51"/>
                <a:gd name="T32" fmla="*/ 39398 w 99"/>
                <a:gd name="T33" fmla="*/ 51827 h 51"/>
                <a:gd name="T34" fmla="*/ 37234 w 99"/>
                <a:gd name="T35" fmla="*/ 54130 h 51"/>
                <a:gd name="T36" fmla="*/ 35069 w 99"/>
                <a:gd name="T37" fmla="*/ 55282 h 51"/>
                <a:gd name="T38" fmla="*/ 32038 w 99"/>
                <a:gd name="T39" fmla="*/ 57585 h 51"/>
                <a:gd name="T40" fmla="*/ 29441 w 99"/>
                <a:gd name="T41" fmla="*/ 57585 h 51"/>
                <a:gd name="T42" fmla="*/ 22513 w 99"/>
                <a:gd name="T43" fmla="*/ 58737 h 51"/>
                <a:gd name="T44" fmla="*/ 15586 w 99"/>
                <a:gd name="T45" fmla="*/ 56434 h 51"/>
                <a:gd name="T46" fmla="*/ 11690 w 99"/>
                <a:gd name="T47" fmla="*/ 55282 h 51"/>
                <a:gd name="T48" fmla="*/ 7793 w 99"/>
                <a:gd name="T49" fmla="*/ 51827 h 51"/>
                <a:gd name="T50" fmla="*/ 3897 w 99"/>
                <a:gd name="T51" fmla="*/ 49523 h 51"/>
                <a:gd name="T52" fmla="*/ 433 w 99"/>
                <a:gd name="T53" fmla="*/ 46068 h 51"/>
                <a:gd name="T54" fmla="*/ 0 w 99"/>
                <a:gd name="T55" fmla="*/ 44917 h 51"/>
                <a:gd name="T56" fmla="*/ 433 w 99"/>
                <a:gd name="T57" fmla="*/ 42613 h 51"/>
                <a:gd name="T58" fmla="*/ 1299 w 99"/>
                <a:gd name="T59" fmla="*/ 40310 h 51"/>
                <a:gd name="T60" fmla="*/ 2598 w 99"/>
                <a:gd name="T61" fmla="*/ 38006 h 51"/>
                <a:gd name="T62" fmla="*/ 6061 w 99"/>
                <a:gd name="T63" fmla="*/ 33399 h 51"/>
                <a:gd name="T64" fmla="*/ 10824 w 99"/>
                <a:gd name="T65" fmla="*/ 27641 h 51"/>
                <a:gd name="T66" fmla="*/ 15153 w 99"/>
                <a:gd name="T67" fmla="*/ 21882 h 51"/>
                <a:gd name="T68" fmla="*/ 19483 w 99"/>
                <a:gd name="T69" fmla="*/ 13820 h 51"/>
                <a:gd name="T70" fmla="*/ 20782 w 99"/>
                <a:gd name="T71" fmla="*/ 11517 h 51"/>
                <a:gd name="T72" fmla="*/ 22080 w 99"/>
                <a:gd name="T73" fmla="*/ 8062 h 51"/>
                <a:gd name="T74" fmla="*/ 22513 w 99"/>
                <a:gd name="T75" fmla="*/ 5759 h 51"/>
                <a:gd name="T76" fmla="*/ 22946 w 99"/>
                <a:gd name="T77" fmla="*/ 2303 h 5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60" name="Freeform 521">
              <a:extLst>
                <a:ext uri="{FF2B5EF4-FFF2-40B4-BE49-F238E27FC236}">
                  <a16:creationId xmlns:a16="http://schemas.microsoft.com/office/drawing/2014/main" xmlns="" id="{C4C5FEAB-7147-AA57-7459-F69EDEDF2C84}"/>
                </a:ext>
              </a:extLst>
            </p:cNvPr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4804384" y="795089"/>
              <a:ext cx="197766" cy="119691"/>
            </a:xfrm>
            <a:custGeom>
              <a:avLst/>
              <a:gdLst>
                <a:gd name="T0" fmla="*/ 137160 w 525"/>
                <a:gd name="T1" fmla="*/ 14196 h 311"/>
                <a:gd name="T2" fmla="*/ 148917 w 525"/>
                <a:gd name="T3" fmla="*/ 11041 h 311"/>
                <a:gd name="T4" fmla="*/ 167640 w 525"/>
                <a:gd name="T5" fmla="*/ 10515 h 311"/>
                <a:gd name="T6" fmla="*/ 177655 w 525"/>
                <a:gd name="T7" fmla="*/ 8938 h 311"/>
                <a:gd name="T8" fmla="*/ 185928 w 525"/>
                <a:gd name="T9" fmla="*/ 3680 h 311"/>
                <a:gd name="T10" fmla="*/ 223810 w 525"/>
                <a:gd name="T11" fmla="*/ 3155 h 311"/>
                <a:gd name="T12" fmla="*/ 228600 w 525"/>
                <a:gd name="T13" fmla="*/ 9989 h 311"/>
                <a:gd name="T14" fmla="*/ 203781 w 525"/>
                <a:gd name="T15" fmla="*/ 24711 h 311"/>
                <a:gd name="T16" fmla="*/ 170688 w 525"/>
                <a:gd name="T17" fmla="*/ 38381 h 311"/>
                <a:gd name="T18" fmla="*/ 155013 w 525"/>
                <a:gd name="T19" fmla="*/ 42061 h 311"/>
                <a:gd name="T20" fmla="*/ 139773 w 525"/>
                <a:gd name="T21" fmla="*/ 43638 h 311"/>
                <a:gd name="T22" fmla="*/ 121485 w 525"/>
                <a:gd name="T23" fmla="*/ 53102 h 311"/>
                <a:gd name="T24" fmla="*/ 106245 w 525"/>
                <a:gd name="T25" fmla="*/ 63617 h 311"/>
                <a:gd name="T26" fmla="*/ 94923 w 525"/>
                <a:gd name="T27" fmla="*/ 67823 h 311"/>
                <a:gd name="T28" fmla="*/ 81425 w 525"/>
                <a:gd name="T29" fmla="*/ 64669 h 311"/>
                <a:gd name="T30" fmla="*/ 77506 w 525"/>
                <a:gd name="T31" fmla="*/ 72029 h 311"/>
                <a:gd name="T32" fmla="*/ 76200 w 525"/>
                <a:gd name="T33" fmla="*/ 76235 h 311"/>
                <a:gd name="T34" fmla="*/ 80554 w 525"/>
                <a:gd name="T35" fmla="*/ 77813 h 311"/>
                <a:gd name="T36" fmla="*/ 80119 w 525"/>
                <a:gd name="T37" fmla="*/ 82545 h 311"/>
                <a:gd name="T38" fmla="*/ 76635 w 525"/>
                <a:gd name="T39" fmla="*/ 87802 h 311"/>
                <a:gd name="T40" fmla="*/ 78377 w 525"/>
                <a:gd name="T41" fmla="*/ 94111 h 311"/>
                <a:gd name="T42" fmla="*/ 70539 w 525"/>
                <a:gd name="T43" fmla="*/ 101998 h 311"/>
                <a:gd name="T44" fmla="*/ 62702 w 525"/>
                <a:gd name="T45" fmla="*/ 107255 h 311"/>
                <a:gd name="T46" fmla="*/ 61395 w 525"/>
                <a:gd name="T47" fmla="*/ 111987 h 311"/>
                <a:gd name="T48" fmla="*/ 62702 w 525"/>
                <a:gd name="T49" fmla="*/ 119874 h 311"/>
                <a:gd name="T50" fmla="*/ 70975 w 525"/>
                <a:gd name="T51" fmla="*/ 129863 h 311"/>
                <a:gd name="T52" fmla="*/ 83167 w 525"/>
                <a:gd name="T53" fmla="*/ 140378 h 311"/>
                <a:gd name="T54" fmla="*/ 111470 w 525"/>
                <a:gd name="T55" fmla="*/ 157729 h 311"/>
                <a:gd name="T56" fmla="*/ 105809 w 525"/>
                <a:gd name="T57" fmla="*/ 163512 h 311"/>
                <a:gd name="T58" fmla="*/ 82296 w 525"/>
                <a:gd name="T59" fmla="*/ 162460 h 311"/>
                <a:gd name="T60" fmla="*/ 63137 w 525"/>
                <a:gd name="T61" fmla="*/ 161935 h 311"/>
                <a:gd name="T62" fmla="*/ 56170 w 525"/>
                <a:gd name="T63" fmla="*/ 159832 h 311"/>
                <a:gd name="T64" fmla="*/ 53558 w 525"/>
                <a:gd name="T65" fmla="*/ 156677 h 311"/>
                <a:gd name="T66" fmla="*/ 52251 w 525"/>
                <a:gd name="T67" fmla="*/ 148265 h 311"/>
                <a:gd name="T68" fmla="*/ 50510 w 525"/>
                <a:gd name="T69" fmla="*/ 146162 h 311"/>
                <a:gd name="T70" fmla="*/ 41366 w 525"/>
                <a:gd name="T71" fmla="*/ 145636 h 311"/>
                <a:gd name="T72" fmla="*/ 34834 w 525"/>
                <a:gd name="T73" fmla="*/ 155626 h 311"/>
                <a:gd name="T74" fmla="*/ 19159 w 525"/>
                <a:gd name="T75" fmla="*/ 148265 h 311"/>
                <a:gd name="T76" fmla="*/ 0 w 525"/>
                <a:gd name="T77" fmla="*/ 129337 h 311"/>
                <a:gd name="T78" fmla="*/ 7838 w 525"/>
                <a:gd name="T79" fmla="*/ 125657 h 311"/>
                <a:gd name="T80" fmla="*/ 14805 w 525"/>
                <a:gd name="T81" fmla="*/ 116719 h 311"/>
                <a:gd name="T82" fmla="*/ 12192 w 525"/>
                <a:gd name="T83" fmla="*/ 111987 h 311"/>
                <a:gd name="T84" fmla="*/ 14805 w 525"/>
                <a:gd name="T85" fmla="*/ 105152 h 311"/>
                <a:gd name="T86" fmla="*/ 17417 w 525"/>
                <a:gd name="T87" fmla="*/ 98843 h 311"/>
                <a:gd name="T88" fmla="*/ 14805 w 525"/>
                <a:gd name="T89" fmla="*/ 94111 h 311"/>
                <a:gd name="T90" fmla="*/ 58347 w 525"/>
                <a:gd name="T91" fmla="*/ 94111 h 311"/>
                <a:gd name="T92" fmla="*/ 57041 w 525"/>
                <a:gd name="T93" fmla="*/ 93060 h 311"/>
                <a:gd name="T94" fmla="*/ 39189 w 525"/>
                <a:gd name="T95" fmla="*/ 87277 h 311"/>
                <a:gd name="T96" fmla="*/ 23513 w 525"/>
                <a:gd name="T97" fmla="*/ 77813 h 311"/>
                <a:gd name="T98" fmla="*/ 36576 w 525"/>
                <a:gd name="T99" fmla="*/ 70452 h 311"/>
                <a:gd name="T100" fmla="*/ 52251 w 525"/>
                <a:gd name="T101" fmla="*/ 58360 h 311"/>
                <a:gd name="T102" fmla="*/ 48333 w 525"/>
                <a:gd name="T103" fmla="*/ 54153 h 311"/>
                <a:gd name="T104" fmla="*/ 43543 w 525"/>
                <a:gd name="T105" fmla="*/ 42061 h 311"/>
                <a:gd name="T106" fmla="*/ 55299 w 525"/>
                <a:gd name="T107" fmla="*/ 39958 h 311"/>
                <a:gd name="T108" fmla="*/ 80119 w 525"/>
                <a:gd name="T109" fmla="*/ 30494 h 311"/>
                <a:gd name="T110" fmla="*/ 110599 w 525"/>
                <a:gd name="T111" fmla="*/ 18402 h 31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61" name="Freeform 522">
              <a:extLst>
                <a:ext uri="{FF2B5EF4-FFF2-40B4-BE49-F238E27FC236}">
                  <a16:creationId xmlns:a16="http://schemas.microsoft.com/office/drawing/2014/main" xmlns="" id="{A683349D-4860-9E5B-2552-A64E8230E61C}"/>
                </a:ext>
              </a:extLst>
            </p:cNvPr>
            <p:cNvSpPr>
              <a:spLocks/>
            </p:cNvSpPr>
            <p:nvPr>
              <p:custDataLst>
                <p:tags r:id="rId357"/>
              </p:custDataLst>
            </p:nvPr>
          </p:nvSpPr>
          <p:spPr bwMode="auto">
            <a:xfrm>
              <a:off x="4624472" y="1022853"/>
              <a:ext cx="27467" cy="40672"/>
            </a:xfrm>
            <a:custGeom>
              <a:avLst/>
              <a:gdLst>
                <a:gd name="T0" fmla="*/ 18487 w 79"/>
                <a:gd name="T1" fmla="*/ 0 h 38"/>
                <a:gd name="T2" fmla="*/ 21703 w 79"/>
                <a:gd name="T3" fmla="*/ 1462 h 38"/>
                <a:gd name="T4" fmla="*/ 24918 w 79"/>
                <a:gd name="T5" fmla="*/ 4386 h 38"/>
                <a:gd name="T6" fmla="*/ 27329 w 79"/>
                <a:gd name="T7" fmla="*/ 10235 h 38"/>
                <a:gd name="T8" fmla="*/ 28937 w 79"/>
                <a:gd name="T9" fmla="*/ 17546 h 38"/>
                <a:gd name="T10" fmla="*/ 30142 w 79"/>
                <a:gd name="T11" fmla="*/ 24857 h 38"/>
                <a:gd name="T12" fmla="*/ 30946 w 79"/>
                <a:gd name="T13" fmla="*/ 32167 h 38"/>
                <a:gd name="T14" fmla="*/ 31750 w 79"/>
                <a:gd name="T15" fmla="*/ 39478 h 38"/>
                <a:gd name="T16" fmla="*/ 31750 w 79"/>
                <a:gd name="T17" fmla="*/ 46789 h 38"/>
                <a:gd name="T18" fmla="*/ 30946 w 79"/>
                <a:gd name="T19" fmla="*/ 49713 h 38"/>
                <a:gd name="T20" fmla="*/ 30142 w 79"/>
                <a:gd name="T21" fmla="*/ 51176 h 38"/>
                <a:gd name="T22" fmla="*/ 28937 w 79"/>
                <a:gd name="T23" fmla="*/ 52638 h 38"/>
                <a:gd name="T24" fmla="*/ 27329 w 79"/>
                <a:gd name="T25" fmla="*/ 54100 h 38"/>
                <a:gd name="T26" fmla="*/ 22908 w 79"/>
                <a:gd name="T27" fmla="*/ 55562 h 38"/>
                <a:gd name="T28" fmla="*/ 18487 w 79"/>
                <a:gd name="T29" fmla="*/ 55562 h 38"/>
                <a:gd name="T30" fmla="*/ 15272 w 79"/>
                <a:gd name="T31" fmla="*/ 54100 h 38"/>
                <a:gd name="T32" fmla="*/ 12057 w 79"/>
                <a:gd name="T33" fmla="*/ 52638 h 38"/>
                <a:gd name="T34" fmla="*/ 8440 w 79"/>
                <a:gd name="T35" fmla="*/ 51176 h 38"/>
                <a:gd name="T36" fmla="*/ 6028 w 79"/>
                <a:gd name="T37" fmla="*/ 46789 h 38"/>
                <a:gd name="T38" fmla="*/ 3215 w 79"/>
                <a:gd name="T39" fmla="*/ 42403 h 38"/>
                <a:gd name="T40" fmla="*/ 1608 w 79"/>
                <a:gd name="T41" fmla="*/ 36554 h 38"/>
                <a:gd name="T42" fmla="*/ 804 w 79"/>
                <a:gd name="T43" fmla="*/ 32167 h 38"/>
                <a:gd name="T44" fmla="*/ 402 w 79"/>
                <a:gd name="T45" fmla="*/ 29243 h 38"/>
                <a:gd name="T46" fmla="*/ 0 w 79"/>
                <a:gd name="T47" fmla="*/ 24857 h 38"/>
                <a:gd name="T48" fmla="*/ 0 w 79"/>
                <a:gd name="T49" fmla="*/ 19008 h 38"/>
                <a:gd name="T50" fmla="*/ 402 w 79"/>
                <a:gd name="T51" fmla="*/ 16084 h 38"/>
                <a:gd name="T52" fmla="*/ 1608 w 79"/>
                <a:gd name="T53" fmla="*/ 13159 h 38"/>
                <a:gd name="T54" fmla="*/ 4019 w 79"/>
                <a:gd name="T55" fmla="*/ 8773 h 38"/>
                <a:gd name="T56" fmla="*/ 6832 w 79"/>
                <a:gd name="T57" fmla="*/ 5849 h 38"/>
                <a:gd name="T58" fmla="*/ 12861 w 79"/>
                <a:gd name="T59" fmla="*/ 1462 h 38"/>
                <a:gd name="T60" fmla="*/ 18487 w 79"/>
                <a:gd name="T61" fmla="*/ 0 h 3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62" name="Freeform 523">
              <a:extLst>
                <a:ext uri="{FF2B5EF4-FFF2-40B4-BE49-F238E27FC236}">
                  <a16:creationId xmlns:a16="http://schemas.microsoft.com/office/drawing/2014/main" xmlns="" id="{7FF74C03-4CBC-F30F-E9F9-5C9E7AB00927}"/>
                </a:ext>
              </a:extLst>
            </p:cNvPr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6618612" y="1240156"/>
              <a:ext cx="170298" cy="196388"/>
            </a:xfrm>
            <a:custGeom>
              <a:avLst/>
              <a:gdLst>
                <a:gd name="T0" fmla="*/ 11151 w 459"/>
                <a:gd name="T1" fmla="*/ 23626 h 511"/>
                <a:gd name="T2" fmla="*/ 5146 w 459"/>
                <a:gd name="T3" fmla="*/ 13126 h 511"/>
                <a:gd name="T4" fmla="*/ 0 w 459"/>
                <a:gd name="T5" fmla="*/ 0 h 511"/>
                <a:gd name="T6" fmla="*/ 9435 w 459"/>
                <a:gd name="T7" fmla="*/ 3675 h 511"/>
                <a:gd name="T8" fmla="*/ 14153 w 459"/>
                <a:gd name="T9" fmla="*/ 3150 h 511"/>
                <a:gd name="T10" fmla="*/ 40742 w 459"/>
                <a:gd name="T11" fmla="*/ 35177 h 511"/>
                <a:gd name="T12" fmla="*/ 62615 w 459"/>
                <a:gd name="T13" fmla="*/ 64578 h 511"/>
                <a:gd name="T14" fmla="*/ 92635 w 459"/>
                <a:gd name="T15" fmla="*/ 103955 h 511"/>
                <a:gd name="T16" fmla="*/ 110648 w 459"/>
                <a:gd name="T17" fmla="*/ 124431 h 511"/>
                <a:gd name="T18" fmla="*/ 129947 w 459"/>
                <a:gd name="T19" fmla="*/ 139657 h 511"/>
                <a:gd name="T20" fmla="*/ 159539 w 459"/>
                <a:gd name="T21" fmla="*/ 163283 h 511"/>
                <a:gd name="T22" fmla="*/ 170689 w 459"/>
                <a:gd name="T23" fmla="*/ 176409 h 511"/>
                <a:gd name="T24" fmla="*/ 156536 w 459"/>
                <a:gd name="T25" fmla="*/ 168008 h 511"/>
                <a:gd name="T26" fmla="*/ 138953 w 459"/>
                <a:gd name="T27" fmla="*/ 155408 h 511"/>
                <a:gd name="T28" fmla="*/ 134664 w 459"/>
                <a:gd name="T29" fmla="*/ 156458 h 511"/>
                <a:gd name="T30" fmla="*/ 134235 w 459"/>
                <a:gd name="T31" fmla="*/ 163283 h 511"/>
                <a:gd name="T32" fmla="*/ 135951 w 459"/>
                <a:gd name="T33" fmla="*/ 176934 h 511"/>
                <a:gd name="T34" fmla="*/ 139811 w 459"/>
                <a:gd name="T35" fmla="*/ 187959 h 511"/>
                <a:gd name="T36" fmla="*/ 149246 w 459"/>
                <a:gd name="T37" fmla="*/ 203185 h 511"/>
                <a:gd name="T38" fmla="*/ 168974 w 459"/>
                <a:gd name="T39" fmla="*/ 221036 h 511"/>
                <a:gd name="T40" fmla="*/ 188702 w 459"/>
                <a:gd name="T41" fmla="*/ 240462 h 511"/>
                <a:gd name="T42" fmla="*/ 192132 w 459"/>
                <a:gd name="T43" fmla="*/ 249912 h 511"/>
                <a:gd name="T44" fmla="*/ 183555 w 459"/>
                <a:gd name="T45" fmla="*/ 246237 h 511"/>
                <a:gd name="T46" fmla="*/ 168116 w 459"/>
                <a:gd name="T47" fmla="*/ 242562 h 511"/>
                <a:gd name="T48" fmla="*/ 168545 w 459"/>
                <a:gd name="T49" fmla="*/ 259363 h 511"/>
                <a:gd name="T50" fmla="*/ 170689 w 459"/>
                <a:gd name="T51" fmla="*/ 268288 h 511"/>
                <a:gd name="T52" fmla="*/ 166400 w 459"/>
                <a:gd name="T53" fmla="*/ 258313 h 511"/>
                <a:gd name="T54" fmla="*/ 155679 w 459"/>
                <a:gd name="T55" fmla="*/ 244662 h 511"/>
                <a:gd name="T56" fmla="*/ 147101 w 459"/>
                <a:gd name="T57" fmla="*/ 233636 h 511"/>
                <a:gd name="T58" fmla="*/ 145386 w 459"/>
                <a:gd name="T59" fmla="*/ 226286 h 511"/>
                <a:gd name="T60" fmla="*/ 140668 w 459"/>
                <a:gd name="T61" fmla="*/ 215785 h 511"/>
                <a:gd name="T62" fmla="*/ 132949 w 459"/>
                <a:gd name="T63" fmla="*/ 201610 h 511"/>
                <a:gd name="T64" fmla="*/ 127802 w 459"/>
                <a:gd name="T65" fmla="*/ 192684 h 511"/>
                <a:gd name="T66" fmla="*/ 120083 w 459"/>
                <a:gd name="T67" fmla="*/ 187959 h 511"/>
                <a:gd name="T68" fmla="*/ 113221 w 459"/>
                <a:gd name="T69" fmla="*/ 180084 h 511"/>
                <a:gd name="T70" fmla="*/ 106788 w 459"/>
                <a:gd name="T71" fmla="*/ 164858 h 511"/>
                <a:gd name="T72" fmla="*/ 105072 w 459"/>
                <a:gd name="T73" fmla="*/ 153832 h 511"/>
                <a:gd name="T74" fmla="*/ 100355 w 459"/>
                <a:gd name="T75" fmla="*/ 147532 h 511"/>
                <a:gd name="T76" fmla="*/ 83200 w 459"/>
                <a:gd name="T77" fmla="*/ 128106 h 511"/>
                <a:gd name="T78" fmla="*/ 73336 w 459"/>
                <a:gd name="T79" fmla="*/ 115506 h 511"/>
                <a:gd name="T80" fmla="*/ 69905 w 459"/>
                <a:gd name="T81" fmla="*/ 106580 h 511"/>
                <a:gd name="T82" fmla="*/ 66046 w 459"/>
                <a:gd name="T83" fmla="*/ 98180 h 511"/>
                <a:gd name="T84" fmla="*/ 49320 w 459"/>
                <a:gd name="T85" fmla="*/ 81379 h 511"/>
                <a:gd name="T86" fmla="*/ 30021 w 459"/>
                <a:gd name="T87" fmla="*/ 68253 h 511"/>
                <a:gd name="T88" fmla="*/ 20157 w 459"/>
                <a:gd name="T89" fmla="*/ 57753 h 511"/>
                <a:gd name="T90" fmla="*/ 16297 w 459"/>
                <a:gd name="T91" fmla="*/ 48827 h 511"/>
                <a:gd name="T92" fmla="*/ 14581 w 459"/>
                <a:gd name="T93" fmla="*/ 39377 h 51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grpSp>
          <p:nvGrpSpPr>
            <p:cNvPr id="363" name="Group 524">
              <a:extLst>
                <a:ext uri="{FF2B5EF4-FFF2-40B4-BE49-F238E27FC236}">
                  <a16:creationId xmlns:a16="http://schemas.microsoft.com/office/drawing/2014/main" xmlns="" id="{D07EC34B-9DA3-655F-A655-876F9A6D89B3}"/>
                </a:ext>
              </a:extLst>
            </p:cNvPr>
            <p:cNvGrpSpPr>
              <a:grpSpLocks/>
            </p:cNvGrpSpPr>
            <p:nvPr>
              <p:custDataLst>
                <p:tags r:id="rId359"/>
              </p:custDataLst>
            </p:nvPr>
          </p:nvGrpSpPr>
          <p:grpSpPr bwMode="auto">
            <a:xfrm>
              <a:off x="5572100" y="1207619"/>
              <a:ext cx="580938" cy="281218"/>
              <a:chOff x="4115" y="1551"/>
              <a:chExt cx="504" cy="244"/>
            </a:xfrm>
          </p:grpSpPr>
          <p:sp>
            <p:nvSpPr>
              <p:cNvPr id="388" name="Freeform 525">
                <a:extLst>
                  <a:ext uri="{FF2B5EF4-FFF2-40B4-BE49-F238E27FC236}">
                    <a16:creationId xmlns:a16="http://schemas.microsoft.com/office/drawing/2014/main" xmlns="" id="{2AA82E10-DF66-B492-E5FB-7F97232F3F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4 w 240"/>
                  <a:gd name="T1" fmla="*/ 82 h 259"/>
                  <a:gd name="T2" fmla="*/ 26 w 240"/>
                  <a:gd name="T3" fmla="*/ 86 h 259"/>
                  <a:gd name="T4" fmla="*/ 40 w 240"/>
                  <a:gd name="T5" fmla="*/ 80 h 259"/>
                  <a:gd name="T6" fmla="*/ 44 w 240"/>
                  <a:gd name="T7" fmla="*/ 70 h 259"/>
                  <a:gd name="T8" fmla="*/ 63 w 240"/>
                  <a:gd name="T9" fmla="*/ 53 h 259"/>
                  <a:gd name="T10" fmla="*/ 70 w 240"/>
                  <a:gd name="T11" fmla="*/ 37 h 259"/>
                  <a:gd name="T12" fmla="*/ 79 w 240"/>
                  <a:gd name="T13" fmla="*/ 9 h 259"/>
                  <a:gd name="T14" fmla="*/ 70 w 240"/>
                  <a:gd name="T15" fmla="*/ 0 h 259"/>
                  <a:gd name="T16" fmla="*/ 68 w 240"/>
                  <a:gd name="T17" fmla="*/ 11 h 259"/>
                  <a:gd name="T18" fmla="*/ 66 w 240"/>
                  <a:gd name="T19" fmla="*/ 25 h 259"/>
                  <a:gd name="T20" fmla="*/ 55 w 240"/>
                  <a:gd name="T21" fmla="*/ 35 h 259"/>
                  <a:gd name="T22" fmla="*/ 44 w 240"/>
                  <a:gd name="T23" fmla="*/ 49 h 259"/>
                  <a:gd name="T24" fmla="*/ 37 w 240"/>
                  <a:gd name="T25" fmla="*/ 59 h 259"/>
                  <a:gd name="T26" fmla="*/ 31 w 240"/>
                  <a:gd name="T27" fmla="*/ 72 h 259"/>
                  <a:gd name="T28" fmla="*/ 7 w 240"/>
                  <a:gd name="T29" fmla="*/ 74 h 259"/>
                  <a:gd name="T30" fmla="*/ 0 w 240"/>
                  <a:gd name="T31" fmla="*/ 74 h 259"/>
                  <a:gd name="T32" fmla="*/ 4 w 240"/>
                  <a:gd name="T33" fmla="*/ 82 h 25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389" name="Freeform 526">
                <a:extLst>
                  <a:ext uri="{FF2B5EF4-FFF2-40B4-BE49-F238E27FC236}">
                    <a16:creationId xmlns:a16="http://schemas.microsoft.com/office/drawing/2014/main" xmlns="" id="{E901039D-8C21-C23D-B677-9F20874C52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11 w 259"/>
                  <a:gd name="T1" fmla="*/ 34 h 104"/>
                  <a:gd name="T2" fmla="*/ 8 w 259"/>
                  <a:gd name="T3" fmla="*/ 28 h 104"/>
                  <a:gd name="T4" fmla="*/ 17 w 259"/>
                  <a:gd name="T5" fmla="*/ 20 h 104"/>
                  <a:gd name="T6" fmla="*/ 23 w 259"/>
                  <a:gd name="T7" fmla="*/ 16 h 104"/>
                  <a:gd name="T8" fmla="*/ 41 w 259"/>
                  <a:gd name="T9" fmla="*/ 14 h 104"/>
                  <a:gd name="T10" fmla="*/ 56 w 259"/>
                  <a:gd name="T11" fmla="*/ 14 h 104"/>
                  <a:gd name="T12" fmla="*/ 80 w 259"/>
                  <a:gd name="T13" fmla="*/ 10 h 104"/>
                  <a:gd name="T14" fmla="*/ 84 w 259"/>
                  <a:gd name="T15" fmla="*/ 2 h 104"/>
                  <a:gd name="T16" fmla="*/ 80 w 259"/>
                  <a:gd name="T17" fmla="*/ 0 h 104"/>
                  <a:gd name="T18" fmla="*/ 66 w 259"/>
                  <a:gd name="T19" fmla="*/ 4 h 104"/>
                  <a:gd name="T20" fmla="*/ 49 w 259"/>
                  <a:gd name="T21" fmla="*/ 2 h 104"/>
                  <a:gd name="T22" fmla="*/ 34 w 259"/>
                  <a:gd name="T23" fmla="*/ 4 h 104"/>
                  <a:gd name="T24" fmla="*/ 17 w 259"/>
                  <a:gd name="T25" fmla="*/ 6 h 104"/>
                  <a:gd name="T26" fmla="*/ 8 w 259"/>
                  <a:gd name="T27" fmla="*/ 14 h 104"/>
                  <a:gd name="T28" fmla="*/ 0 w 259"/>
                  <a:gd name="T29" fmla="*/ 22 h 104"/>
                  <a:gd name="T30" fmla="*/ 0 w 259"/>
                  <a:gd name="T31" fmla="*/ 34 h 104"/>
                  <a:gd name="T32" fmla="*/ 11 w 259"/>
                  <a:gd name="T33" fmla="*/ 34 h 10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_tradnl"/>
              </a:p>
            </p:txBody>
          </p:sp>
        </p:grpSp>
        <p:sp>
          <p:nvSpPr>
            <p:cNvPr id="364" name="Freeform 527">
              <a:extLst>
                <a:ext uri="{FF2B5EF4-FFF2-40B4-BE49-F238E27FC236}">
                  <a16:creationId xmlns:a16="http://schemas.microsoft.com/office/drawing/2014/main" xmlns="" id="{94928FF4-0DA8-323B-A777-3F72EC8BCDF9}"/>
                </a:ext>
              </a:extLst>
            </p:cNvPr>
            <p:cNvSpPr>
              <a:spLocks/>
            </p:cNvSpPr>
            <p:nvPr>
              <p:custDataLst>
                <p:tags r:id="rId360"/>
              </p:custDataLst>
            </p:nvPr>
          </p:nvSpPr>
          <p:spPr bwMode="auto">
            <a:xfrm>
              <a:off x="4756316" y="1756110"/>
              <a:ext cx="458707" cy="374182"/>
            </a:xfrm>
            <a:custGeom>
              <a:avLst/>
              <a:gdLst>
                <a:gd name="T0" fmla="*/ 402746 w 1227"/>
                <a:gd name="T1" fmla="*/ 243317 h 979"/>
                <a:gd name="T2" fmla="*/ 402746 w 1227"/>
                <a:gd name="T3" fmla="*/ 230786 h 979"/>
                <a:gd name="T4" fmla="*/ 401882 w 1227"/>
                <a:gd name="T5" fmla="*/ 215122 h 979"/>
                <a:gd name="T6" fmla="*/ 392375 w 1227"/>
                <a:gd name="T7" fmla="*/ 201024 h 979"/>
                <a:gd name="T8" fmla="*/ 388486 w 1227"/>
                <a:gd name="T9" fmla="*/ 191625 h 979"/>
                <a:gd name="T10" fmla="*/ 353051 w 1227"/>
                <a:gd name="T11" fmla="*/ 162908 h 979"/>
                <a:gd name="T12" fmla="*/ 327988 w 1227"/>
                <a:gd name="T13" fmla="*/ 137323 h 979"/>
                <a:gd name="T14" fmla="*/ 324963 w 1227"/>
                <a:gd name="T15" fmla="*/ 119570 h 979"/>
                <a:gd name="T16" fmla="*/ 313727 w 1227"/>
                <a:gd name="T17" fmla="*/ 113827 h 979"/>
                <a:gd name="T18" fmla="*/ 300331 w 1227"/>
                <a:gd name="T19" fmla="*/ 108083 h 979"/>
                <a:gd name="T20" fmla="*/ 275700 w 1227"/>
                <a:gd name="T21" fmla="*/ 102339 h 979"/>
                <a:gd name="T22" fmla="*/ 257550 w 1227"/>
                <a:gd name="T23" fmla="*/ 104950 h 979"/>
                <a:gd name="T24" fmla="*/ 246315 w 1227"/>
                <a:gd name="T25" fmla="*/ 106517 h 979"/>
                <a:gd name="T26" fmla="*/ 229030 w 1227"/>
                <a:gd name="T27" fmla="*/ 101817 h 979"/>
                <a:gd name="T28" fmla="*/ 218226 w 1227"/>
                <a:gd name="T29" fmla="*/ 93463 h 979"/>
                <a:gd name="T30" fmla="*/ 208719 w 1227"/>
                <a:gd name="T31" fmla="*/ 66834 h 979"/>
                <a:gd name="T32" fmla="*/ 200941 w 1227"/>
                <a:gd name="T33" fmla="*/ 53780 h 979"/>
                <a:gd name="T34" fmla="*/ 186681 w 1227"/>
                <a:gd name="T35" fmla="*/ 42293 h 979"/>
                <a:gd name="T36" fmla="*/ 157728 w 1227"/>
                <a:gd name="T37" fmla="*/ 31851 h 979"/>
                <a:gd name="T38" fmla="*/ 130936 w 1227"/>
                <a:gd name="T39" fmla="*/ 16708 h 979"/>
                <a:gd name="T40" fmla="*/ 92476 w 1227"/>
                <a:gd name="T41" fmla="*/ 5221 h 979"/>
                <a:gd name="T42" fmla="*/ 71734 w 1227"/>
                <a:gd name="T43" fmla="*/ 19841 h 979"/>
                <a:gd name="T44" fmla="*/ 65252 w 1227"/>
                <a:gd name="T45" fmla="*/ 31851 h 979"/>
                <a:gd name="T46" fmla="*/ 66116 w 1227"/>
                <a:gd name="T47" fmla="*/ 46993 h 979"/>
                <a:gd name="T48" fmla="*/ 73030 w 1227"/>
                <a:gd name="T49" fmla="*/ 61613 h 979"/>
                <a:gd name="T50" fmla="*/ 65252 w 1227"/>
                <a:gd name="T51" fmla="*/ 78321 h 979"/>
                <a:gd name="T52" fmla="*/ 41052 w 1227"/>
                <a:gd name="T53" fmla="*/ 97118 h 979"/>
                <a:gd name="T54" fmla="*/ 23335 w 1227"/>
                <a:gd name="T55" fmla="*/ 99207 h 979"/>
                <a:gd name="T56" fmla="*/ 3889 w 1227"/>
                <a:gd name="T57" fmla="*/ 95552 h 979"/>
                <a:gd name="T58" fmla="*/ 0 w 1227"/>
                <a:gd name="T59" fmla="*/ 123225 h 979"/>
                <a:gd name="T60" fmla="*/ 3889 w 1227"/>
                <a:gd name="T61" fmla="*/ 140456 h 979"/>
                <a:gd name="T62" fmla="*/ 10803 w 1227"/>
                <a:gd name="T63" fmla="*/ 147243 h 979"/>
                <a:gd name="T64" fmla="*/ 17285 w 1227"/>
                <a:gd name="T65" fmla="*/ 160297 h 979"/>
                <a:gd name="T66" fmla="*/ 35867 w 1227"/>
                <a:gd name="T67" fmla="*/ 190059 h 979"/>
                <a:gd name="T68" fmla="*/ 44077 w 1227"/>
                <a:gd name="T69" fmla="*/ 216166 h 979"/>
                <a:gd name="T70" fmla="*/ 52288 w 1227"/>
                <a:gd name="T71" fmla="*/ 222954 h 979"/>
                <a:gd name="T72" fmla="*/ 57473 w 1227"/>
                <a:gd name="T73" fmla="*/ 228697 h 979"/>
                <a:gd name="T74" fmla="*/ 63955 w 1227"/>
                <a:gd name="T75" fmla="*/ 244884 h 979"/>
                <a:gd name="T76" fmla="*/ 96797 w 1227"/>
                <a:gd name="T77" fmla="*/ 285088 h 979"/>
                <a:gd name="T78" fmla="*/ 107601 w 1227"/>
                <a:gd name="T79" fmla="*/ 305452 h 979"/>
                <a:gd name="T80" fmla="*/ 110626 w 1227"/>
                <a:gd name="T81" fmla="*/ 325815 h 979"/>
                <a:gd name="T82" fmla="*/ 114947 w 1227"/>
                <a:gd name="T83" fmla="*/ 344090 h 979"/>
                <a:gd name="T84" fmla="*/ 129207 w 1227"/>
                <a:gd name="T85" fmla="*/ 366020 h 979"/>
                <a:gd name="T86" fmla="*/ 155999 w 1227"/>
                <a:gd name="T87" fmla="*/ 397348 h 979"/>
                <a:gd name="T88" fmla="*/ 167667 w 1227"/>
                <a:gd name="T89" fmla="*/ 425022 h 979"/>
                <a:gd name="T90" fmla="*/ 183656 w 1227"/>
                <a:gd name="T91" fmla="*/ 452695 h 979"/>
                <a:gd name="T92" fmla="*/ 208719 w 1227"/>
                <a:gd name="T93" fmla="*/ 489767 h 979"/>
                <a:gd name="T94" fmla="*/ 228165 w 1227"/>
                <a:gd name="T95" fmla="*/ 511175 h 979"/>
                <a:gd name="T96" fmla="*/ 234647 w 1227"/>
                <a:gd name="T97" fmla="*/ 497599 h 979"/>
                <a:gd name="T98" fmla="*/ 235944 w 1227"/>
                <a:gd name="T99" fmla="*/ 474625 h 979"/>
                <a:gd name="T100" fmla="*/ 246315 w 1227"/>
                <a:gd name="T101" fmla="*/ 467837 h 979"/>
                <a:gd name="T102" fmla="*/ 261439 w 1227"/>
                <a:gd name="T103" fmla="*/ 467315 h 979"/>
                <a:gd name="T104" fmla="*/ 285207 w 1227"/>
                <a:gd name="T105" fmla="*/ 474625 h 979"/>
                <a:gd name="T106" fmla="*/ 305949 w 1227"/>
                <a:gd name="T107" fmla="*/ 492378 h 979"/>
                <a:gd name="T108" fmla="*/ 340087 w 1227"/>
                <a:gd name="T109" fmla="*/ 437553 h 979"/>
                <a:gd name="T110" fmla="*/ 518125 w 1227"/>
                <a:gd name="T111" fmla="*/ 296053 h 979"/>
                <a:gd name="T112" fmla="*/ 406203 w 1227"/>
                <a:gd name="T113" fmla="*/ 244361 h 97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65" name="Freeform 528">
              <a:extLst>
                <a:ext uri="{FF2B5EF4-FFF2-40B4-BE49-F238E27FC236}">
                  <a16:creationId xmlns:a16="http://schemas.microsoft.com/office/drawing/2014/main" xmlns="" id="{858443A8-F86D-10A5-0365-6E9174A22CE3}"/>
                </a:ext>
              </a:extLst>
            </p:cNvPr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4301729" y="1422600"/>
              <a:ext cx="49441" cy="41835"/>
            </a:xfrm>
            <a:custGeom>
              <a:avLst/>
              <a:gdLst>
                <a:gd name="T0" fmla="*/ 57150 w 146"/>
                <a:gd name="T1" fmla="*/ 12700 h 81"/>
                <a:gd name="T2" fmla="*/ 54018 w 146"/>
                <a:gd name="T3" fmla="*/ 16933 h 81"/>
                <a:gd name="T4" fmla="*/ 50887 w 146"/>
                <a:gd name="T5" fmla="*/ 20461 h 81"/>
                <a:gd name="T6" fmla="*/ 48147 w 146"/>
                <a:gd name="T7" fmla="*/ 24694 h 81"/>
                <a:gd name="T8" fmla="*/ 46190 w 146"/>
                <a:gd name="T9" fmla="*/ 28928 h 81"/>
                <a:gd name="T10" fmla="*/ 42275 w 146"/>
                <a:gd name="T11" fmla="*/ 37394 h 81"/>
                <a:gd name="T12" fmla="*/ 38361 w 146"/>
                <a:gd name="T13" fmla="*/ 45156 h 81"/>
                <a:gd name="T14" fmla="*/ 36404 w 146"/>
                <a:gd name="T15" fmla="*/ 48683 h 81"/>
                <a:gd name="T16" fmla="*/ 33272 w 146"/>
                <a:gd name="T17" fmla="*/ 51506 h 81"/>
                <a:gd name="T18" fmla="*/ 29749 w 146"/>
                <a:gd name="T19" fmla="*/ 54328 h 81"/>
                <a:gd name="T20" fmla="*/ 25835 w 146"/>
                <a:gd name="T21" fmla="*/ 56444 h 81"/>
                <a:gd name="T22" fmla="*/ 20746 w 146"/>
                <a:gd name="T23" fmla="*/ 57150 h 81"/>
                <a:gd name="T24" fmla="*/ 15266 w 146"/>
                <a:gd name="T25" fmla="*/ 56444 h 81"/>
                <a:gd name="T26" fmla="*/ 8220 w 146"/>
                <a:gd name="T27" fmla="*/ 54328 h 81"/>
                <a:gd name="T28" fmla="*/ 0 w 146"/>
                <a:gd name="T29" fmla="*/ 52211 h 81"/>
                <a:gd name="T30" fmla="*/ 0 w 146"/>
                <a:gd name="T31" fmla="*/ 43744 h 81"/>
                <a:gd name="T32" fmla="*/ 0 w 146"/>
                <a:gd name="T33" fmla="*/ 34572 h 81"/>
                <a:gd name="T34" fmla="*/ 0 w 146"/>
                <a:gd name="T35" fmla="*/ 23989 h 81"/>
                <a:gd name="T36" fmla="*/ 0 w 146"/>
                <a:gd name="T37" fmla="*/ 12700 h 81"/>
                <a:gd name="T38" fmla="*/ 5480 w 146"/>
                <a:gd name="T39" fmla="*/ 12700 h 81"/>
                <a:gd name="T40" fmla="*/ 8612 w 146"/>
                <a:gd name="T41" fmla="*/ 12700 h 81"/>
                <a:gd name="T42" fmla="*/ 12135 w 146"/>
                <a:gd name="T43" fmla="*/ 12700 h 81"/>
                <a:gd name="T44" fmla="*/ 15658 w 146"/>
                <a:gd name="T45" fmla="*/ 12700 h 81"/>
                <a:gd name="T46" fmla="*/ 20355 w 146"/>
                <a:gd name="T47" fmla="*/ 12700 h 81"/>
                <a:gd name="T48" fmla="*/ 24661 w 146"/>
                <a:gd name="T49" fmla="*/ 11289 h 81"/>
                <a:gd name="T50" fmla="*/ 28575 w 146"/>
                <a:gd name="T51" fmla="*/ 9878 h 81"/>
                <a:gd name="T52" fmla="*/ 32489 w 146"/>
                <a:gd name="T53" fmla="*/ 7761 h 81"/>
                <a:gd name="T54" fmla="*/ 39535 w 146"/>
                <a:gd name="T55" fmla="*/ 3528 h 81"/>
                <a:gd name="T56" fmla="*/ 46973 w 146"/>
                <a:gd name="T57" fmla="*/ 0 h 81"/>
                <a:gd name="T58" fmla="*/ 50496 w 146"/>
                <a:gd name="T59" fmla="*/ 2822 h 81"/>
                <a:gd name="T60" fmla="*/ 52844 w 146"/>
                <a:gd name="T61" fmla="*/ 6350 h 81"/>
                <a:gd name="T62" fmla="*/ 55193 w 146"/>
                <a:gd name="T63" fmla="*/ 9878 h 81"/>
                <a:gd name="T64" fmla="*/ 57150 w 146"/>
                <a:gd name="T65" fmla="*/ 12700 h 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66" name="Freeform 529">
              <a:extLst>
                <a:ext uri="{FF2B5EF4-FFF2-40B4-BE49-F238E27FC236}">
                  <a16:creationId xmlns:a16="http://schemas.microsoft.com/office/drawing/2014/main" xmlns="" id="{2056644B-DDF6-BCA5-5EB2-539BC4D0E376}"/>
                </a:ext>
              </a:extLst>
            </p:cNvPr>
            <p:cNvSpPr>
              <a:spLocks/>
            </p:cNvSpPr>
            <p:nvPr>
              <p:custDataLst>
                <p:tags r:id="rId362"/>
              </p:custDataLst>
            </p:nvPr>
          </p:nvSpPr>
          <p:spPr bwMode="auto">
            <a:xfrm>
              <a:off x="4076496" y="1578315"/>
              <a:ext cx="13734" cy="41835"/>
            </a:xfrm>
            <a:custGeom>
              <a:avLst/>
              <a:gdLst>
                <a:gd name="T0" fmla="*/ 15875 w 34"/>
                <a:gd name="T1" fmla="*/ 57150 h 49"/>
                <a:gd name="T2" fmla="*/ 15875 w 34"/>
                <a:gd name="T3" fmla="*/ 39655 h 49"/>
                <a:gd name="T4" fmla="*/ 15875 w 34"/>
                <a:gd name="T5" fmla="*/ 29158 h 49"/>
                <a:gd name="T6" fmla="*/ 15408 w 34"/>
                <a:gd name="T7" fmla="*/ 24493 h 49"/>
                <a:gd name="T8" fmla="*/ 15408 w 34"/>
                <a:gd name="T9" fmla="*/ 19828 h 49"/>
                <a:gd name="T10" fmla="*/ 14474 w 34"/>
                <a:gd name="T11" fmla="*/ 17495 h 49"/>
                <a:gd name="T12" fmla="*/ 14007 w 34"/>
                <a:gd name="T13" fmla="*/ 13996 h 49"/>
                <a:gd name="T14" fmla="*/ 11673 w 34"/>
                <a:gd name="T15" fmla="*/ 9331 h 49"/>
                <a:gd name="T16" fmla="*/ 9805 w 34"/>
                <a:gd name="T17" fmla="*/ 0 h 49"/>
                <a:gd name="T18" fmla="*/ 3735 w 34"/>
                <a:gd name="T19" fmla="*/ 0 h 49"/>
                <a:gd name="T20" fmla="*/ 0 w 34"/>
                <a:gd name="T21" fmla="*/ 0 h 49"/>
                <a:gd name="T22" fmla="*/ 1401 w 34"/>
                <a:gd name="T23" fmla="*/ 12830 h 49"/>
                <a:gd name="T24" fmla="*/ 3268 w 34"/>
                <a:gd name="T25" fmla="*/ 23327 h 49"/>
                <a:gd name="T26" fmla="*/ 4669 w 34"/>
                <a:gd name="T27" fmla="*/ 31491 h 49"/>
                <a:gd name="T28" fmla="*/ 6537 w 34"/>
                <a:gd name="T29" fmla="*/ 39655 h 49"/>
                <a:gd name="T30" fmla="*/ 8871 w 34"/>
                <a:gd name="T31" fmla="*/ 45487 h 49"/>
                <a:gd name="T32" fmla="*/ 11206 w 34"/>
                <a:gd name="T33" fmla="*/ 50152 h 49"/>
                <a:gd name="T34" fmla="*/ 13540 w 34"/>
                <a:gd name="T35" fmla="*/ 53651 h 49"/>
                <a:gd name="T36" fmla="*/ 15875 w 34"/>
                <a:gd name="T37" fmla="*/ 57150 h 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67" name="Freeform 530">
              <a:extLst>
                <a:ext uri="{FF2B5EF4-FFF2-40B4-BE49-F238E27FC236}">
                  <a16:creationId xmlns:a16="http://schemas.microsoft.com/office/drawing/2014/main" xmlns="" id="{C0244681-B017-00D0-CF4E-EAC4C84C3A83}"/>
                </a:ext>
              </a:extLst>
            </p:cNvPr>
            <p:cNvSpPr>
              <a:spLocks/>
            </p:cNvSpPr>
            <p:nvPr>
              <p:custDataLst>
                <p:tags r:id="rId363"/>
              </p:custDataLst>
            </p:nvPr>
          </p:nvSpPr>
          <p:spPr bwMode="auto">
            <a:xfrm>
              <a:off x="3723539" y="1831644"/>
              <a:ext cx="24721" cy="41835"/>
            </a:xfrm>
            <a:custGeom>
              <a:avLst/>
              <a:gdLst>
                <a:gd name="T0" fmla="*/ 28575 w 60"/>
                <a:gd name="T1" fmla="*/ 0 h 74"/>
                <a:gd name="T2" fmla="*/ 26670 w 60"/>
                <a:gd name="T3" fmla="*/ 3089 h 74"/>
                <a:gd name="T4" fmla="*/ 24289 w 60"/>
                <a:gd name="T5" fmla="*/ 7723 h 74"/>
                <a:gd name="T6" fmla="*/ 22860 w 60"/>
                <a:gd name="T7" fmla="*/ 11584 h 74"/>
                <a:gd name="T8" fmla="*/ 21908 w 60"/>
                <a:gd name="T9" fmla="*/ 16218 h 74"/>
                <a:gd name="T10" fmla="*/ 19526 w 60"/>
                <a:gd name="T11" fmla="*/ 23941 h 74"/>
                <a:gd name="T12" fmla="*/ 17621 w 60"/>
                <a:gd name="T13" fmla="*/ 32436 h 74"/>
                <a:gd name="T14" fmla="*/ 16669 w 60"/>
                <a:gd name="T15" fmla="*/ 36298 h 74"/>
                <a:gd name="T16" fmla="*/ 15240 w 60"/>
                <a:gd name="T17" fmla="*/ 39387 h 74"/>
                <a:gd name="T18" fmla="*/ 13811 w 60"/>
                <a:gd name="T19" fmla="*/ 43249 h 74"/>
                <a:gd name="T20" fmla="*/ 11906 w 60"/>
                <a:gd name="T21" fmla="*/ 46338 h 74"/>
                <a:gd name="T22" fmla="*/ 9525 w 60"/>
                <a:gd name="T23" fmla="*/ 50199 h 74"/>
                <a:gd name="T24" fmla="*/ 7144 w 60"/>
                <a:gd name="T25" fmla="*/ 53289 h 74"/>
                <a:gd name="T26" fmla="*/ 3810 w 60"/>
                <a:gd name="T27" fmla="*/ 55605 h 74"/>
                <a:gd name="T28" fmla="*/ 0 w 60"/>
                <a:gd name="T29" fmla="*/ 57150 h 74"/>
                <a:gd name="T30" fmla="*/ 2381 w 60"/>
                <a:gd name="T31" fmla="*/ 46338 h 74"/>
                <a:gd name="T32" fmla="*/ 5715 w 60"/>
                <a:gd name="T33" fmla="*/ 36298 h 74"/>
                <a:gd name="T34" fmla="*/ 9049 w 60"/>
                <a:gd name="T35" fmla="*/ 26258 h 74"/>
                <a:gd name="T36" fmla="*/ 12859 w 60"/>
                <a:gd name="T37" fmla="*/ 17763 h 74"/>
                <a:gd name="T38" fmla="*/ 17145 w 60"/>
                <a:gd name="T39" fmla="*/ 10812 h 74"/>
                <a:gd name="T40" fmla="*/ 20479 w 60"/>
                <a:gd name="T41" fmla="*/ 4634 h 74"/>
                <a:gd name="T42" fmla="*/ 22860 w 60"/>
                <a:gd name="T43" fmla="*/ 2317 h 74"/>
                <a:gd name="T44" fmla="*/ 24765 w 60"/>
                <a:gd name="T45" fmla="*/ 772 h 74"/>
                <a:gd name="T46" fmla="*/ 26670 w 60"/>
                <a:gd name="T47" fmla="*/ 0 h 74"/>
                <a:gd name="T48" fmla="*/ 28575 w 60"/>
                <a:gd name="T49" fmla="*/ 0 h 7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68" name="Freeform 531">
              <a:extLst>
                <a:ext uri="{FF2B5EF4-FFF2-40B4-BE49-F238E27FC236}">
                  <a16:creationId xmlns:a16="http://schemas.microsoft.com/office/drawing/2014/main" xmlns="" id="{A61C745F-ADEC-0756-DD88-20DB0B6277F9}"/>
                </a:ext>
              </a:extLst>
            </p:cNvPr>
            <p:cNvSpPr>
              <a:spLocks/>
            </p:cNvSpPr>
            <p:nvPr>
              <p:custDataLst>
                <p:tags r:id="rId364"/>
              </p:custDataLst>
            </p:nvPr>
          </p:nvSpPr>
          <p:spPr bwMode="auto">
            <a:xfrm>
              <a:off x="3672723" y="1843264"/>
              <a:ext cx="20600" cy="44158"/>
            </a:xfrm>
            <a:custGeom>
              <a:avLst/>
              <a:gdLst>
                <a:gd name="T0" fmla="*/ 6586 w 47"/>
                <a:gd name="T1" fmla="*/ 10724 h 45"/>
                <a:gd name="T2" fmla="*/ 11146 w 47"/>
                <a:gd name="T3" fmla="*/ 10724 h 45"/>
                <a:gd name="T4" fmla="*/ 14186 w 47"/>
                <a:gd name="T5" fmla="*/ 8043 h 45"/>
                <a:gd name="T6" fmla="*/ 16212 w 47"/>
                <a:gd name="T7" fmla="*/ 6703 h 45"/>
                <a:gd name="T8" fmla="*/ 17732 w 47"/>
                <a:gd name="T9" fmla="*/ 4022 h 45"/>
                <a:gd name="T10" fmla="*/ 18746 w 47"/>
                <a:gd name="T11" fmla="*/ 1341 h 45"/>
                <a:gd name="T12" fmla="*/ 19759 w 47"/>
                <a:gd name="T13" fmla="*/ 0 h 45"/>
                <a:gd name="T14" fmla="*/ 21785 w 47"/>
                <a:gd name="T15" fmla="*/ 1341 h 45"/>
                <a:gd name="T16" fmla="*/ 23812 w 47"/>
                <a:gd name="T17" fmla="*/ 2681 h 45"/>
                <a:gd name="T18" fmla="*/ 23305 w 47"/>
                <a:gd name="T19" fmla="*/ 9384 h 45"/>
                <a:gd name="T20" fmla="*/ 23305 w 47"/>
                <a:gd name="T21" fmla="*/ 14746 h 45"/>
                <a:gd name="T22" fmla="*/ 22292 w 47"/>
                <a:gd name="T23" fmla="*/ 20108 h 45"/>
                <a:gd name="T24" fmla="*/ 21785 w 47"/>
                <a:gd name="T25" fmla="*/ 25471 h 45"/>
                <a:gd name="T26" fmla="*/ 18746 w 47"/>
                <a:gd name="T27" fmla="*/ 34854 h 45"/>
                <a:gd name="T28" fmla="*/ 15199 w 47"/>
                <a:gd name="T29" fmla="*/ 42898 h 45"/>
                <a:gd name="T30" fmla="*/ 12159 w 47"/>
                <a:gd name="T31" fmla="*/ 50941 h 45"/>
                <a:gd name="T32" fmla="*/ 8106 w 47"/>
                <a:gd name="T33" fmla="*/ 56303 h 45"/>
                <a:gd name="T34" fmla="*/ 3546 w 47"/>
                <a:gd name="T35" fmla="*/ 60325 h 45"/>
                <a:gd name="T36" fmla="*/ 0 w 47"/>
                <a:gd name="T37" fmla="*/ 60325 h 45"/>
                <a:gd name="T38" fmla="*/ 1013 w 47"/>
                <a:gd name="T39" fmla="*/ 50941 h 45"/>
                <a:gd name="T40" fmla="*/ 3040 w 47"/>
                <a:gd name="T41" fmla="*/ 34854 h 45"/>
                <a:gd name="T42" fmla="*/ 5573 w 47"/>
                <a:gd name="T43" fmla="*/ 20108 h 45"/>
                <a:gd name="T44" fmla="*/ 6586 w 47"/>
                <a:gd name="T45" fmla="*/ 10724 h 4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69" name="Freeform 532">
              <a:extLst>
                <a:ext uri="{FF2B5EF4-FFF2-40B4-BE49-F238E27FC236}">
                  <a16:creationId xmlns:a16="http://schemas.microsoft.com/office/drawing/2014/main" xmlns="" id="{FB352E1C-FDFE-2A6E-1B4F-B0116BFEA445}"/>
                </a:ext>
              </a:extLst>
            </p:cNvPr>
            <p:cNvSpPr>
              <a:spLocks/>
            </p:cNvSpPr>
            <p:nvPr>
              <p:custDataLst>
                <p:tags r:id="rId365"/>
              </p:custDataLst>
            </p:nvPr>
          </p:nvSpPr>
          <p:spPr bwMode="auto">
            <a:xfrm>
              <a:off x="3650749" y="1838616"/>
              <a:ext cx="5493" cy="41835"/>
            </a:xfrm>
            <a:custGeom>
              <a:avLst/>
              <a:gdLst>
                <a:gd name="T0" fmla="*/ 1465 w 26"/>
                <a:gd name="T1" fmla="*/ 57150 h 36"/>
                <a:gd name="T2" fmla="*/ 1221 w 26"/>
                <a:gd name="T3" fmla="*/ 47625 h 36"/>
                <a:gd name="T4" fmla="*/ 733 w 26"/>
                <a:gd name="T5" fmla="*/ 31750 h 36"/>
                <a:gd name="T6" fmla="*/ 244 w 26"/>
                <a:gd name="T7" fmla="*/ 15875 h 36"/>
                <a:gd name="T8" fmla="*/ 0 w 26"/>
                <a:gd name="T9" fmla="*/ 0 h 36"/>
                <a:gd name="T10" fmla="*/ 6350 w 26"/>
                <a:gd name="T11" fmla="*/ 0 h 36"/>
                <a:gd name="T12" fmla="*/ 6106 w 26"/>
                <a:gd name="T13" fmla="*/ 19050 h 36"/>
                <a:gd name="T14" fmla="*/ 5862 w 26"/>
                <a:gd name="T15" fmla="*/ 36513 h 36"/>
                <a:gd name="T16" fmla="*/ 5617 w 26"/>
                <a:gd name="T17" fmla="*/ 42863 h 36"/>
                <a:gd name="T18" fmla="*/ 5617 w 26"/>
                <a:gd name="T19" fmla="*/ 49213 h 36"/>
                <a:gd name="T20" fmla="*/ 5862 w 26"/>
                <a:gd name="T21" fmla="*/ 53975 h 36"/>
                <a:gd name="T22" fmla="*/ 6350 w 26"/>
                <a:gd name="T23" fmla="*/ 57150 h 36"/>
                <a:gd name="T24" fmla="*/ 1465 w 26"/>
                <a:gd name="T25" fmla="*/ 57150 h 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70" name="Freeform 533">
              <a:extLst>
                <a:ext uri="{FF2B5EF4-FFF2-40B4-BE49-F238E27FC236}">
                  <a16:creationId xmlns:a16="http://schemas.microsoft.com/office/drawing/2014/main" xmlns="" id="{D20D730A-1D7D-9673-A0A3-80AEDC5E0D6D}"/>
                </a:ext>
              </a:extLst>
            </p:cNvPr>
            <p:cNvSpPr>
              <a:spLocks/>
            </p:cNvSpPr>
            <p:nvPr>
              <p:custDataLst>
                <p:tags r:id="rId366"/>
              </p:custDataLst>
            </p:nvPr>
          </p:nvSpPr>
          <p:spPr bwMode="auto">
            <a:xfrm>
              <a:off x="4750823" y="1639904"/>
              <a:ext cx="151071" cy="116206"/>
            </a:xfrm>
            <a:custGeom>
              <a:avLst/>
              <a:gdLst>
                <a:gd name="T0" fmla="*/ 11210 w 405"/>
                <a:gd name="T1" fmla="*/ 85157 h 302"/>
                <a:gd name="T2" fmla="*/ 12073 w 405"/>
                <a:gd name="T3" fmla="*/ 82003 h 302"/>
                <a:gd name="T4" fmla="*/ 12935 w 405"/>
                <a:gd name="T5" fmla="*/ 80952 h 302"/>
                <a:gd name="T6" fmla="*/ 12073 w 405"/>
                <a:gd name="T7" fmla="*/ 79375 h 302"/>
                <a:gd name="T8" fmla="*/ 7761 w 405"/>
                <a:gd name="T9" fmla="*/ 75170 h 302"/>
                <a:gd name="T10" fmla="*/ 2587 w 405"/>
                <a:gd name="T11" fmla="*/ 66759 h 302"/>
                <a:gd name="T12" fmla="*/ 862 w 405"/>
                <a:gd name="T13" fmla="*/ 60977 h 302"/>
                <a:gd name="T14" fmla="*/ 2156 w 405"/>
                <a:gd name="T15" fmla="*/ 58874 h 302"/>
                <a:gd name="T16" fmla="*/ 2587 w 405"/>
                <a:gd name="T17" fmla="*/ 54669 h 302"/>
                <a:gd name="T18" fmla="*/ 7330 w 405"/>
                <a:gd name="T19" fmla="*/ 50989 h 302"/>
                <a:gd name="T20" fmla="*/ 14660 w 405"/>
                <a:gd name="T21" fmla="*/ 48887 h 302"/>
                <a:gd name="T22" fmla="*/ 20265 w 405"/>
                <a:gd name="T23" fmla="*/ 46258 h 302"/>
                <a:gd name="T24" fmla="*/ 24577 w 405"/>
                <a:gd name="T25" fmla="*/ 43104 h 302"/>
                <a:gd name="T26" fmla="*/ 28889 w 405"/>
                <a:gd name="T27" fmla="*/ 36796 h 302"/>
                <a:gd name="T28" fmla="*/ 32338 w 405"/>
                <a:gd name="T29" fmla="*/ 27334 h 302"/>
                <a:gd name="T30" fmla="*/ 36219 w 405"/>
                <a:gd name="T31" fmla="*/ 24706 h 302"/>
                <a:gd name="T32" fmla="*/ 40961 w 405"/>
                <a:gd name="T33" fmla="*/ 27334 h 302"/>
                <a:gd name="T34" fmla="*/ 50447 w 405"/>
                <a:gd name="T35" fmla="*/ 28386 h 302"/>
                <a:gd name="T36" fmla="*/ 72868 w 405"/>
                <a:gd name="T37" fmla="*/ 24180 h 302"/>
                <a:gd name="T38" fmla="*/ 91409 w 405"/>
                <a:gd name="T39" fmla="*/ 22603 h 302"/>
                <a:gd name="T40" fmla="*/ 100894 w 405"/>
                <a:gd name="T41" fmla="*/ 21552 h 302"/>
                <a:gd name="T42" fmla="*/ 113830 w 405"/>
                <a:gd name="T43" fmla="*/ 18398 h 302"/>
                <a:gd name="T44" fmla="*/ 137113 w 405"/>
                <a:gd name="T45" fmla="*/ 8936 h 302"/>
                <a:gd name="T46" fmla="*/ 154791 w 405"/>
                <a:gd name="T47" fmla="*/ 2103 h 302"/>
                <a:gd name="T48" fmla="*/ 160396 w 405"/>
                <a:gd name="T49" fmla="*/ 1577 h 302"/>
                <a:gd name="T50" fmla="*/ 166002 w 405"/>
                <a:gd name="T51" fmla="*/ 1577 h 302"/>
                <a:gd name="T52" fmla="*/ 171607 w 405"/>
                <a:gd name="T53" fmla="*/ 526 h 302"/>
                <a:gd name="T54" fmla="*/ 170313 w 405"/>
                <a:gd name="T55" fmla="*/ 4205 h 302"/>
                <a:gd name="T56" fmla="*/ 155222 w 405"/>
                <a:gd name="T57" fmla="*/ 21552 h 302"/>
                <a:gd name="T58" fmla="*/ 148323 w 405"/>
                <a:gd name="T59" fmla="*/ 29963 h 302"/>
                <a:gd name="T60" fmla="*/ 146168 w 405"/>
                <a:gd name="T61" fmla="*/ 33642 h 302"/>
                <a:gd name="T62" fmla="*/ 146168 w 405"/>
                <a:gd name="T63" fmla="*/ 50464 h 302"/>
                <a:gd name="T64" fmla="*/ 145305 w 405"/>
                <a:gd name="T65" fmla="*/ 78324 h 302"/>
                <a:gd name="T66" fmla="*/ 144443 w 405"/>
                <a:gd name="T67" fmla="*/ 94619 h 302"/>
                <a:gd name="T68" fmla="*/ 140562 w 405"/>
                <a:gd name="T69" fmla="*/ 104081 h 302"/>
                <a:gd name="T70" fmla="*/ 131508 w 405"/>
                <a:gd name="T71" fmla="*/ 110389 h 302"/>
                <a:gd name="T72" fmla="*/ 114261 w 405"/>
                <a:gd name="T73" fmla="*/ 119325 h 302"/>
                <a:gd name="T74" fmla="*/ 45704 w 405"/>
                <a:gd name="T75" fmla="*/ 158750 h 302"/>
                <a:gd name="T76" fmla="*/ 24577 w 405"/>
                <a:gd name="T77" fmla="*/ 136672 h 302"/>
                <a:gd name="T78" fmla="*/ 30182 w 405"/>
                <a:gd name="T79" fmla="*/ 119851 h 302"/>
                <a:gd name="T80" fmla="*/ 34925 w 405"/>
                <a:gd name="T81" fmla="*/ 109863 h 302"/>
                <a:gd name="T82" fmla="*/ 37081 w 405"/>
                <a:gd name="T83" fmla="*/ 90414 h 302"/>
                <a:gd name="T84" fmla="*/ 30613 w 405"/>
                <a:gd name="T85" fmla="*/ 90940 h 302"/>
                <a:gd name="T86" fmla="*/ 24577 w 405"/>
                <a:gd name="T87" fmla="*/ 88837 h 302"/>
                <a:gd name="T88" fmla="*/ 17678 w 405"/>
                <a:gd name="T89" fmla="*/ 86734 h 302"/>
                <a:gd name="T90" fmla="*/ 11210 w 405"/>
                <a:gd name="T91" fmla="*/ 87260 h 3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71" name="Freeform 534">
              <a:extLst>
                <a:ext uri="{FF2B5EF4-FFF2-40B4-BE49-F238E27FC236}">
                  <a16:creationId xmlns:a16="http://schemas.microsoft.com/office/drawing/2014/main" xmlns="" id="{6DAEF478-3BFA-21E4-6EE6-178AF870FA4D}"/>
                </a:ext>
              </a:extLst>
            </p:cNvPr>
            <p:cNvSpPr>
              <a:spLocks/>
            </p:cNvSpPr>
            <p:nvPr>
              <p:custDataLst>
                <p:tags r:id="rId367"/>
              </p:custDataLst>
            </p:nvPr>
          </p:nvSpPr>
          <p:spPr bwMode="auto">
            <a:xfrm>
              <a:off x="6562304" y="1918799"/>
              <a:ext cx="37081" cy="58103"/>
            </a:xfrm>
            <a:custGeom>
              <a:avLst/>
              <a:gdLst>
                <a:gd name="T0" fmla="*/ 42862 w 100"/>
                <a:gd name="T1" fmla="*/ 512 h 155"/>
                <a:gd name="T2" fmla="*/ 42862 w 100"/>
                <a:gd name="T3" fmla="*/ 15363 h 155"/>
                <a:gd name="T4" fmla="*/ 42862 w 100"/>
                <a:gd name="T5" fmla="*/ 28165 h 155"/>
                <a:gd name="T6" fmla="*/ 42862 w 100"/>
                <a:gd name="T7" fmla="*/ 39944 h 155"/>
                <a:gd name="T8" fmla="*/ 42862 w 100"/>
                <a:gd name="T9" fmla="*/ 50698 h 155"/>
                <a:gd name="T10" fmla="*/ 42005 w 100"/>
                <a:gd name="T11" fmla="*/ 55819 h 155"/>
                <a:gd name="T12" fmla="*/ 40290 w 100"/>
                <a:gd name="T13" fmla="*/ 60427 h 155"/>
                <a:gd name="T14" fmla="*/ 38147 w 100"/>
                <a:gd name="T15" fmla="*/ 65548 h 155"/>
                <a:gd name="T16" fmla="*/ 35147 w 100"/>
                <a:gd name="T17" fmla="*/ 70157 h 155"/>
                <a:gd name="T18" fmla="*/ 31289 w 100"/>
                <a:gd name="T19" fmla="*/ 73742 h 155"/>
                <a:gd name="T20" fmla="*/ 26574 w 100"/>
                <a:gd name="T21" fmla="*/ 76815 h 155"/>
                <a:gd name="T22" fmla="*/ 24431 w 100"/>
                <a:gd name="T23" fmla="*/ 77839 h 155"/>
                <a:gd name="T24" fmla="*/ 21860 w 100"/>
                <a:gd name="T25" fmla="*/ 78863 h 155"/>
                <a:gd name="T26" fmla="*/ 19717 w 100"/>
                <a:gd name="T27" fmla="*/ 79375 h 155"/>
                <a:gd name="T28" fmla="*/ 16716 w 100"/>
                <a:gd name="T29" fmla="*/ 79375 h 155"/>
                <a:gd name="T30" fmla="*/ 15002 w 100"/>
                <a:gd name="T31" fmla="*/ 78863 h 155"/>
                <a:gd name="T32" fmla="*/ 12859 w 100"/>
                <a:gd name="T33" fmla="*/ 78351 h 155"/>
                <a:gd name="T34" fmla="*/ 11144 w 100"/>
                <a:gd name="T35" fmla="*/ 77327 h 155"/>
                <a:gd name="T36" fmla="*/ 9430 w 100"/>
                <a:gd name="T37" fmla="*/ 76302 h 155"/>
                <a:gd name="T38" fmla="*/ 6429 w 100"/>
                <a:gd name="T39" fmla="*/ 72718 h 155"/>
                <a:gd name="T40" fmla="*/ 3858 w 100"/>
                <a:gd name="T41" fmla="*/ 68621 h 155"/>
                <a:gd name="T42" fmla="*/ 2143 w 100"/>
                <a:gd name="T43" fmla="*/ 63500 h 155"/>
                <a:gd name="T44" fmla="*/ 857 w 100"/>
                <a:gd name="T45" fmla="*/ 57867 h 155"/>
                <a:gd name="T46" fmla="*/ 0 w 100"/>
                <a:gd name="T47" fmla="*/ 52746 h 155"/>
                <a:gd name="T48" fmla="*/ 0 w 100"/>
                <a:gd name="T49" fmla="*/ 47625 h 155"/>
                <a:gd name="T50" fmla="*/ 0 w 100"/>
                <a:gd name="T51" fmla="*/ 39431 h 155"/>
                <a:gd name="T52" fmla="*/ 0 w 100"/>
                <a:gd name="T53" fmla="*/ 33286 h 155"/>
                <a:gd name="T54" fmla="*/ 0 w 100"/>
                <a:gd name="T55" fmla="*/ 28677 h 155"/>
                <a:gd name="T56" fmla="*/ 0 w 100"/>
                <a:gd name="T57" fmla="*/ 25605 h 155"/>
                <a:gd name="T58" fmla="*/ 6429 w 100"/>
                <a:gd name="T59" fmla="*/ 25605 h 155"/>
                <a:gd name="T60" fmla="*/ 11144 w 100"/>
                <a:gd name="T61" fmla="*/ 25605 h 155"/>
                <a:gd name="T62" fmla="*/ 11144 w 100"/>
                <a:gd name="T63" fmla="*/ 20484 h 155"/>
                <a:gd name="T64" fmla="*/ 11573 w 100"/>
                <a:gd name="T65" fmla="*/ 15875 h 155"/>
                <a:gd name="T66" fmla="*/ 12430 w 100"/>
                <a:gd name="T67" fmla="*/ 11778 h 155"/>
                <a:gd name="T68" fmla="*/ 13287 w 100"/>
                <a:gd name="T69" fmla="*/ 8706 h 155"/>
                <a:gd name="T70" fmla="*/ 15002 w 100"/>
                <a:gd name="T71" fmla="*/ 6145 h 155"/>
                <a:gd name="T72" fmla="*/ 16716 w 100"/>
                <a:gd name="T73" fmla="*/ 3585 h 155"/>
                <a:gd name="T74" fmla="*/ 18002 w 100"/>
                <a:gd name="T75" fmla="*/ 2048 h 155"/>
                <a:gd name="T76" fmla="*/ 20574 w 100"/>
                <a:gd name="T77" fmla="*/ 1024 h 155"/>
                <a:gd name="T78" fmla="*/ 25289 w 100"/>
                <a:gd name="T79" fmla="*/ 0 h 155"/>
                <a:gd name="T80" fmla="*/ 30432 w 100"/>
                <a:gd name="T81" fmla="*/ 0 h 155"/>
                <a:gd name="T82" fmla="*/ 36004 w 100"/>
                <a:gd name="T83" fmla="*/ 0 h 155"/>
                <a:gd name="T84" fmla="*/ 42862 w 100"/>
                <a:gd name="T85" fmla="*/ 512 h 1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grpSp>
          <p:nvGrpSpPr>
            <p:cNvPr id="372" name="Group 535">
              <a:extLst>
                <a:ext uri="{FF2B5EF4-FFF2-40B4-BE49-F238E27FC236}">
                  <a16:creationId xmlns:a16="http://schemas.microsoft.com/office/drawing/2014/main" xmlns="" id="{0D2E3AC9-8183-E617-4F38-920DE35B4750}"/>
                </a:ext>
              </a:extLst>
            </p:cNvPr>
            <p:cNvGrpSpPr>
              <a:grpSpLocks/>
            </p:cNvGrpSpPr>
            <p:nvPr>
              <p:custDataLst>
                <p:tags r:id="rId368"/>
              </p:custDataLst>
            </p:nvPr>
          </p:nvGrpSpPr>
          <p:grpSpPr bwMode="auto">
            <a:xfrm>
              <a:off x="4526962" y="1529509"/>
              <a:ext cx="417506" cy="147581"/>
              <a:chOff x="3289" y="1830"/>
              <a:chExt cx="363" cy="128"/>
            </a:xfrm>
            <a:solidFill>
              <a:schemeClr val="accent2"/>
            </a:solidFill>
          </p:grpSpPr>
          <p:sp>
            <p:nvSpPr>
              <p:cNvPr id="383" name="Freeform 536">
                <a:extLst>
                  <a:ext uri="{FF2B5EF4-FFF2-40B4-BE49-F238E27FC236}">
                    <a16:creationId xmlns:a16="http://schemas.microsoft.com/office/drawing/2014/main" xmlns="" id="{B671D8C5-25E8-4EA7-38E8-6741D9F5F7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4 w 13"/>
                  <a:gd name="T1" fmla="*/ 0 h 7"/>
                  <a:gd name="T2" fmla="*/ 4 w 13"/>
                  <a:gd name="T3" fmla="*/ 0 h 7"/>
                  <a:gd name="T4" fmla="*/ 3 w 13"/>
                  <a:gd name="T5" fmla="*/ 1 h 7"/>
                  <a:gd name="T6" fmla="*/ 1 w 13"/>
                  <a:gd name="T7" fmla="*/ 2 h 7"/>
                  <a:gd name="T8" fmla="*/ 0 w 13"/>
                  <a:gd name="T9" fmla="*/ 3 h 7"/>
                  <a:gd name="T10" fmla="*/ 2 w 13"/>
                  <a:gd name="T11" fmla="*/ 1 h 7"/>
                  <a:gd name="T12" fmla="*/ 4 w 13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384" name="Freeform 537">
                <a:extLst>
                  <a:ext uri="{FF2B5EF4-FFF2-40B4-BE49-F238E27FC236}">
                    <a16:creationId xmlns:a16="http://schemas.microsoft.com/office/drawing/2014/main" xmlns="" id="{319108AC-B1DF-CBCC-8E7A-44C4D9DB50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2 h 8"/>
                  <a:gd name="T2" fmla="*/ 2 w 34"/>
                  <a:gd name="T3" fmla="*/ 2 h 8"/>
                  <a:gd name="T4" fmla="*/ 4 w 34"/>
                  <a:gd name="T5" fmla="*/ 1 h 8"/>
                  <a:gd name="T6" fmla="*/ 7 w 34"/>
                  <a:gd name="T7" fmla="*/ 0 h 8"/>
                  <a:gd name="T8" fmla="*/ 10 w 34"/>
                  <a:gd name="T9" fmla="*/ 0 h 8"/>
                  <a:gd name="T10" fmla="*/ 9 w 34"/>
                  <a:gd name="T11" fmla="*/ 1 h 8"/>
                  <a:gd name="T12" fmla="*/ 8 w 34"/>
                  <a:gd name="T13" fmla="*/ 2 h 8"/>
                  <a:gd name="T14" fmla="*/ 6 w 34"/>
                  <a:gd name="T15" fmla="*/ 2 h 8"/>
                  <a:gd name="T16" fmla="*/ 5 w 34"/>
                  <a:gd name="T17" fmla="*/ 3 h 8"/>
                  <a:gd name="T18" fmla="*/ 4 w 34"/>
                  <a:gd name="T19" fmla="*/ 3 h 8"/>
                  <a:gd name="T20" fmla="*/ 2 w 34"/>
                  <a:gd name="T21" fmla="*/ 3 h 8"/>
                  <a:gd name="T22" fmla="*/ 1 w 34"/>
                  <a:gd name="T23" fmla="*/ 3 h 8"/>
                  <a:gd name="T24" fmla="*/ 0 w 34"/>
                  <a:gd name="T25" fmla="*/ 2 h 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385" name="Freeform 538">
                <a:extLst>
                  <a:ext uri="{FF2B5EF4-FFF2-40B4-BE49-F238E27FC236}">
                    <a16:creationId xmlns:a16="http://schemas.microsoft.com/office/drawing/2014/main" xmlns="" id="{507D9505-712B-2126-E8B3-E219902E14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8 h 24"/>
                  <a:gd name="T2" fmla="*/ 0 w 13"/>
                  <a:gd name="T3" fmla="*/ 0 h 24"/>
                  <a:gd name="T4" fmla="*/ 4 w 13"/>
                  <a:gd name="T5" fmla="*/ 4 h 24"/>
                  <a:gd name="T6" fmla="*/ 0 w 13"/>
                  <a:gd name="T7" fmla="*/ 8 h 2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386" name="Freeform 539">
                <a:extLst>
                  <a:ext uri="{FF2B5EF4-FFF2-40B4-BE49-F238E27FC236}">
                    <a16:creationId xmlns:a16="http://schemas.microsoft.com/office/drawing/2014/main" xmlns="" id="{29F981E6-A2AE-9968-98F3-91A92E09A9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4 h 69"/>
                  <a:gd name="T2" fmla="*/ 0 w 107"/>
                  <a:gd name="T3" fmla="*/ 9 h 69"/>
                  <a:gd name="T4" fmla="*/ 0 w 107"/>
                  <a:gd name="T5" fmla="*/ 15 h 69"/>
                  <a:gd name="T6" fmla="*/ 0 w 107"/>
                  <a:gd name="T7" fmla="*/ 21 h 69"/>
                  <a:gd name="T8" fmla="*/ 0 w 107"/>
                  <a:gd name="T9" fmla="*/ 23 h 69"/>
                  <a:gd name="T10" fmla="*/ 5 w 107"/>
                  <a:gd name="T11" fmla="*/ 22 h 69"/>
                  <a:gd name="T12" fmla="*/ 16 w 107"/>
                  <a:gd name="T13" fmla="*/ 19 h 69"/>
                  <a:gd name="T14" fmla="*/ 27 w 107"/>
                  <a:gd name="T15" fmla="*/ 17 h 69"/>
                  <a:gd name="T16" fmla="*/ 34 w 107"/>
                  <a:gd name="T17" fmla="*/ 15 h 69"/>
                  <a:gd name="T18" fmla="*/ 32 w 107"/>
                  <a:gd name="T19" fmla="*/ 13 h 69"/>
                  <a:gd name="T20" fmla="*/ 30 w 107"/>
                  <a:gd name="T21" fmla="*/ 11 h 69"/>
                  <a:gd name="T22" fmla="*/ 27 w 107"/>
                  <a:gd name="T23" fmla="*/ 10 h 69"/>
                  <a:gd name="T24" fmla="*/ 25 w 107"/>
                  <a:gd name="T25" fmla="*/ 9 h 69"/>
                  <a:gd name="T26" fmla="*/ 23 w 107"/>
                  <a:gd name="T27" fmla="*/ 8 h 69"/>
                  <a:gd name="T28" fmla="*/ 21 w 107"/>
                  <a:gd name="T29" fmla="*/ 6 h 69"/>
                  <a:gd name="T30" fmla="*/ 20 w 107"/>
                  <a:gd name="T31" fmla="*/ 5 h 69"/>
                  <a:gd name="T32" fmla="*/ 20 w 107"/>
                  <a:gd name="T33" fmla="*/ 4 h 69"/>
                  <a:gd name="T34" fmla="*/ 19 w 107"/>
                  <a:gd name="T35" fmla="*/ 2 h 69"/>
                  <a:gd name="T36" fmla="*/ 19 w 107"/>
                  <a:gd name="T37" fmla="*/ 0 h 69"/>
                  <a:gd name="T38" fmla="*/ 17 w 107"/>
                  <a:gd name="T39" fmla="*/ 0 h 69"/>
                  <a:gd name="T40" fmla="*/ 12 w 107"/>
                  <a:gd name="T41" fmla="*/ 1 h 69"/>
                  <a:gd name="T42" fmla="*/ 6 w 107"/>
                  <a:gd name="T43" fmla="*/ 3 h 69"/>
                  <a:gd name="T44" fmla="*/ 0 w 107"/>
                  <a:gd name="T45" fmla="*/ 4 h 6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  <p:sp>
            <p:nvSpPr>
              <p:cNvPr id="387" name="Freeform 540">
                <a:extLst>
                  <a:ext uri="{FF2B5EF4-FFF2-40B4-BE49-F238E27FC236}">
                    <a16:creationId xmlns:a16="http://schemas.microsoft.com/office/drawing/2014/main" xmlns="" id="{A514BD1E-5F98-98D1-E9A3-A08CA90CC6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324 w 1070"/>
                  <a:gd name="T1" fmla="*/ 42 h 382"/>
                  <a:gd name="T2" fmla="*/ 317 w 1070"/>
                  <a:gd name="T3" fmla="*/ 35 h 382"/>
                  <a:gd name="T4" fmla="*/ 315 w 1070"/>
                  <a:gd name="T5" fmla="*/ 19 h 382"/>
                  <a:gd name="T6" fmla="*/ 306 w 1070"/>
                  <a:gd name="T7" fmla="*/ 12 h 382"/>
                  <a:gd name="T8" fmla="*/ 267 w 1070"/>
                  <a:gd name="T9" fmla="*/ 6 h 382"/>
                  <a:gd name="T10" fmla="*/ 237 w 1070"/>
                  <a:gd name="T11" fmla="*/ 19 h 382"/>
                  <a:gd name="T12" fmla="*/ 222 w 1070"/>
                  <a:gd name="T13" fmla="*/ 22 h 382"/>
                  <a:gd name="T14" fmla="*/ 207 w 1070"/>
                  <a:gd name="T15" fmla="*/ 22 h 382"/>
                  <a:gd name="T16" fmla="*/ 200 w 1070"/>
                  <a:gd name="T17" fmla="*/ 15 h 382"/>
                  <a:gd name="T18" fmla="*/ 183 w 1070"/>
                  <a:gd name="T19" fmla="*/ 12 h 382"/>
                  <a:gd name="T20" fmla="*/ 172 w 1070"/>
                  <a:gd name="T21" fmla="*/ 6 h 382"/>
                  <a:gd name="T22" fmla="*/ 158 w 1070"/>
                  <a:gd name="T23" fmla="*/ 7 h 382"/>
                  <a:gd name="T24" fmla="*/ 152 w 1070"/>
                  <a:gd name="T25" fmla="*/ 0 h 382"/>
                  <a:gd name="T26" fmla="*/ 128 w 1070"/>
                  <a:gd name="T27" fmla="*/ 5 h 382"/>
                  <a:gd name="T28" fmla="*/ 98 w 1070"/>
                  <a:gd name="T29" fmla="*/ 9 h 382"/>
                  <a:gd name="T30" fmla="*/ 84 w 1070"/>
                  <a:gd name="T31" fmla="*/ 15 h 382"/>
                  <a:gd name="T32" fmla="*/ 45 w 1070"/>
                  <a:gd name="T33" fmla="*/ 20 h 382"/>
                  <a:gd name="T34" fmla="*/ 57 w 1070"/>
                  <a:gd name="T35" fmla="*/ 25 h 382"/>
                  <a:gd name="T36" fmla="*/ 54 w 1070"/>
                  <a:gd name="T37" fmla="*/ 30 h 382"/>
                  <a:gd name="T38" fmla="*/ 37 w 1070"/>
                  <a:gd name="T39" fmla="*/ 31 h 382"/>
                  <a:gd name="T40" fmla="*/ 14 w 1070"/>
                  <a:gd name="T41" fmla="*/ 31 h 382"/>
                  <a:gd name="T42" fmla="*/ 3 w 1070"/>
                  <a:gd name="T43" fmla="*/ 37 h 382"/>
                  <a:gd name="T44" fmla="*/ 0 w 1070"/>
                  <a:gd name="T45" fmla="*/ 49 h 382"/>
                  <a:gd name="T46" fmla="*/ 5 w 1070"/>
                  <a:gd name="T47" fmla="*/ 56 h 382"/>
                  <a:gd name="T48" fmla="*/ 7 w 1070"/>
                  <a:gd name="T49" fmla="*/ 65 h 382"/>
                  <a:gd name="T50" fmla="*/ 7 w 1070"/>
                  <a:gd name="T51" fmla="*/ 70 h 382"/>
                  <a:gd name="T52" fmla="*/ 16 w 1070"/>
                  <a:gd name="T53" fmla="*/ 79 h 382"/>
                  <a:gd name="T54" fmla="*/ 18 w 1070"/>
                  <a:gd name="T55" fmla="*/ 87 h 382"/>
                  <a:gd name="T56" fmla="*/ 24 w 1070"/>
                  <a:gd name="T57" fmla="*/ 91 h 382"/>
                  <a:gd name="T58" fmla="*/ 31 w 1070"/>
                  <a:gd name="T59" fmla="*/ 97 h 382"/>
                  <a:gd name="T60" fmla="*/ 67 w 1070"/>
                  <a:gd name="T61" fmla="*/ 118 h 382"/>
                  <a:gd name="T62" fmla="*/ 83 w 1070"/>
                  <a:gd name="T63" fmla="*/ 124 h 382"/>
                  <a:gd name="T64" fmla="*/ 87 w 1070"/>
                  <a:gd name="T65" fmla="*/ 120 h 382"/>
                  <a:gd name="T66" fmla="*/ 91 w 1070"/>
                  <a:gd name="T67" fmla="*/ 113 h 382"/>
                  <a:gd name="T68" fmla="*/ 97 w 1070"/>
                  <a:gd name="T69" fmla="*/ 106 h 382"/>
                  <a:gd name="T70" fmla="*/ 109 w 1070"/>
                  <a:gd name="T71" fmla="*/ 108 h 382"/>
                  <a:gd name="T72" fmla="*/ 118 w 1070"/>
                  <a:gd name="T73" fmla="*/ 120 h 382"/>
                  <a:gd name="T74" fmla="*/ 131 w 1070"/>
                  <a:gd name="T75" fmla="*/ 124 h 382"/>
                  <a:gd name="T76" fmla="*/ 146 w 1070"/>
                  <a:gd name="T77" fmla="*/ 120 h 382"/>
                  <a:gd name="T78" fmla="*/ 161 w 1070"/>
                  <a:gd name="T79" fmla="*/ 112 h 382"/>
                  <a:gd name="T80" fmla="*/ 172 w 1070"/>
                  <a:gd name="T81" fmla="*/ 110 h 382"/>
                  <a:gd name="T82" fmla="*/ 184 w 1070"/>
                  <a:gd name="T83" fmla="*/ 109 h 382"/>
                  <a:gd name="T84" fmla="*/ 185 w 1070"/>
                  <a:gd name="T85" fmla="*/ 123 h 382"/>
                  <a:gd name="T86" fmla="*/ 193 w 1070"/>
                  <a:gd name="T87" fmla="*/ 126 h 382"/>
                  <a:gd name="T88" fmla="*/ 201 w 1070"/>
                  <a:gd name="T89" fmla="*/ 121 h 382"/>
                  <a:gd name="T90" fmla="*/ 212 w 1070"/>
                  <a:gd name="T91" fmla="*/ 113 h 382"/>
                  <a:gd name="T92" fmla="*/ 246 w 1070"/>
                  <a:gd name="T93" fmla="*/ 110 h 382"/>
                  <a:gd name="T94" fmla="*/ 272 w 1070"/>
                  <a:gd name="T95" fmla="*/ 106 h 382"/>
                  <a:gd name="T96" fmla="*/ 300 w 1070"/>
                  <a:gd name="T97" fmla="*/ 95 h 382"/>
                  <a:gd name="T98" fmla="*/ 316 w 1070"/>
                  <a:gd name="T99" fmla="*/ 96 h 382"/>
                  <a:gd name="T100" fmla="*/ 329 w 1070"/>
                  <a:gd name="T101" fmla="*/ 98 h 382"/>
                  <a:gd name="T102" fmla="*/ 345 w 1070"/>
                  <a:gd name="T103" fmla="*/ 103 h 382"/>
                  <a:gd name="T104" fmla="*/ 345 w 1070"/>
                  <a:gd name="T105" fmla="*/ 90 h 382"/>
                  <a:gd name="T106" fmla="*/ 336 w 1070"/>
                  <a:gd name="T107" fmla="*/ 73 h 382"/>
                  <a:gd name="T108" fmla="*/ 333 w 1070"/>
                  <a:gd name="T109" fmla="*/ 56 h 38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ES_tradnl"/>
              </a:p>
            </p:txBody>
          </p:sp>
        </p:grpSp>
        <p:sp>
          <p:nvSpPr>
            <p:cNvPr id="373" name="Freeform 541">
              <a:extLst>
                <a:ext uri="{FF2B5EF4-FFF2-40B4-BE49-F238E27FC236}">
                  <a16:creationId xmlns:a16="http://schemas.microsoft.com/office/drawing/2014/main" xmlns="" id="{909744FF-E847-05B6-EC94-EABF3B8F0900}"/>
                </a:ext>
              </a:extLst>
            </p:cNvPr>
            <p:cNvSpPr>
              <a:spLocks/>
            </p:cNvSpPr>
            <p:nvPr>
              <p:custDataLst>
                <p:tags r:id="rId369"/>
              </p:custDataLst>
            </p:nvPr>
          </p:nvSpPr>
          <p:spPr bwMode="auto">
            <a:xfrm>
              <a:off x="2786896" y="2373162"/>
              <a:ext cx="86523" cy="89478"/>
            </a:xfrm>
            <a:custGeom>
              <a:avLst/>
              <a:gdLst>
                <a:gd name="T0" fmla="*/ 27880 w 226"/>
                <a:gd name="T1" fmla="*/ 121721 h 237"/>
                <a:gd name="T2" fmla="*/ 30092 w 226"/>
                <a:gd name="T3" fmla="*/ 122237 h 237"/>
                <a:gd name="T4" fmla="*/ 33190 w 226"/>
                <a:gd name="T5" fmla="*/ 121205 h 237"/>
                <a:gd name="T6" fmla="*/ 36730 w 226"/>
                <a:gd name="T7" fmla="*/ 120690 h 237"/>
                <a:gd name="T8" fmla="*/ 39386 w 226"/>
                <a:gd name="T9" fmla="*/ 118627 h 237"/>
                <a:gd name="T10" fmla="*/ 42483 w 226"/>
                <a:gd name="T11" fmla="*/ 115016 h 237"/>
                <a:gd name="T12" fmla="*/ 43811 w 226"/>
                <a:gd name="T13" fmla="*/ 110374 h 237"/>
                <a:gd name="T14" fmla="*/ 54432 w 226"/>
                <a:gd name="T15" fmla="*/ 107795 h 237"/>
                <a:gd name="T16" fmla="*/ 73461 w 226"/>
                <a:gd name="T17" fmla="*/ 105732 h 237"/>
                <a:gd name="T18" fmla="*/ 86294 w 226"/>
                <a:gd name="T19" fmla="*/ 102122 h 237"/>
                <a:gd name="T20" fmla="*/ 92490 w 226"/>
                <a:gd name="T21" fmla="*/ 98512 h 237"/>
                <a:gd name="T22" fmla="*/ 97358 w 226"/>
                <a:gd name="T23" fmla="*/ 93354 h 237"/>
                <a:gd name="T24" fmla="*/ 99570 w 226"/>
                <a:gd name="T25" fmla="*/ 86649 h 237"/>
                <a:gd name="T26" fmla="*/ 100013 w 226"/>
                <a:gd name="T27" fmla="*/ 78912 h 237"/>
                <a:gd name="T28" fmla="*/ 98685 w 226"/>
                <a:gd name="T29" fmla="*/ 72208 h 237"/>
                <a:gd name="T30" fmla="*/ 95145 w 226"/>
                <a:gd name="T31" fmla="*/ 63439 h 237"/>
                <a:gd name="T32" fmla="*/ 89835 w 226"/>
                <a:gd name="T33" fmla="*/ 51577 h 237"/>
                <a:gd name="T34" fmla="*/ 86737 w 226"/>
                <a:gd name="T35" fmla="*/ 43325 h 237"/>
                <a:gd name="T36" fmla="*/ 85409 w 226"/>
                <a:gd name="T37" fmla="*/ 38167 h 237"/>
                <a:gd name="T38" fmla="*/ 86294 w 226"/>
                <a:gd name="T39" fmla="*/ 30430 h 237"/>
                <a:gd name="T40" fmla="*/ 88507 w 226"/>
                <a:gd name="T41" fmla="*/ 22178 h 237"/>
                <a:gd name="T42" fmla="*/ 94260 w 226"/>
                <a:gd name="T43" fmla="*/ 12894 h 237"/>
                <a:gd name="T44" fmla="*/ 94260 w 226"/>
                <a:gd name="T45" fmla="*/ 7221 h 237"/>
                <a:gd name="T46" fmla="*/ 84524 w 226"/>
                <a:gd name="T47" fmla="*/ 3610 h 237"/>
                <a:gd name="T48" fmla="*/ 68150 w 226"/>
                <a:gd name="T49" fmla="*/ 1032 h 237"/>
                <a:gd name="T50" fmla="*/ 8851 w 226"/>
                <a:gd name="T51" fmla="*/ 3095 h 237"/>
                <a:gd name="T52" fmla="*/ 7966 w 226"/>
                <a:gd name="T53" fmla="*/ 15989 h 237"/>
                <a:gd name="T54" fmla="*/ 4425 w 226"/>
                <a:gd name="T55" fmla="*/ 27851 h 237"/>
                <a:gd name="T56" fmla="*/ 1328 w 226"/>
                <a:gd name="T57" fmla="*/ 40746 h 237"/>
                <a:gd name="T58" fmla="*/ 0 w 226"/>
                <a:gd name="T59" fmla="*/ 57250 h 237"/>
                <a:gd name="T60" fmla="*/ 1328 w 226"/>
                <a:gd name="T61" fmla="*/ 67050 h 237"/>
                <a:gd name="T62" fmla="*/ 4425 w 226"/>
                <a:gd name="T63" fmla="*/ 75302 h 237"/>
                <a:gd name="T64" fmla="*/ 13276 w 226"/>
                <a:gd name="T65" fmla="*/ 89228 h 237"/>
                <a:gd name="T66" fmla="*/ 22569 w 226"/>
                <a:gd name="T67" fmla="*/ 102638 h 237"/>
                <a:gd name="T68" fmla="*/ 25225 w 226"/>
                <a:gd name="T69" fmla="*/ 111406 h 237"/>
                <a:gd name="T70" fmla="*/ 26995 w 226"/>
                <a:gd name="T71" fmla="*/ 120690 h 23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74" name="Freeform 542">
              <a:extLst>
                <a:ext uri="{FF2B5EF4-FFF2-40B4-BE49-F238E27FC236}">
                  <a16:creationId xmlns:a16="http://schemas.microsoft.com/office/drawing/2014/main" xmlns="" id="{CC647C65-FB76-3CE3-C4EC-0EC5007541C5}"/>
                </a:ext>
              </a:extLst>
            </p:cNvPr>
            <p:cNvSpPr>
              <a:spLocks/>
            </p:cNvSpPr>
            <p:nvPr>
              <p:custDataLst>
                <p:tags r:id="rId370"/>
              </p:custDataLst>
            </p:nvPr>
          </p:nvSpPr>
          <p:spPr bwMode="auto">
            <a:xfrm>
              <a:off x="6199733" y="1960632"/>
              <a:ext cx="179912" cy="335835"/>
            </a:xfrm>
            <a:custGeom>
              <a:avLst/>
              <a:gdLst>
                <a:gd name="T0" fmla="*/ 124864 w 478"/>
                <a:gd name="T1" fmla="*/ 57152 h 875"/>
                <a:gd name="T2" fmla="*/ 108767 w 478"/>
                <a:gd name="T3" fmla="*/ 72357 h 875"/>
                <a:gd name="T4" fmla="*/ 86578 w 478"/>
                <a:gd name="T5" fmla="*/ 103293 h 875"/>
                <a:gd name="T6" fmla="*/ 86143 w 478"/>
                <a:gd name="T7" fmla="*/ 111682 h 875"/>
                <a:gd name="T8" fmla="*/ 89624 w 478"/>
                <a:gd name="T9" fmla="*/ 125315 h 875"/>
                <a:gd name="T10" fmla="*/ 96150 w 478"/>
                <a:gd name="T11" fmla="*/ 138947 h 875"/>
                <a:gd name="T12" fmla="*/ 104416 w 478"/>
                <a:gd name="T13" fmla="*/ 151007 h 875"/>
                <a:gd name="T14" fmla="*/ 112682 w 478"/>
                <a:gd name="T15" fmla="*/ 157823 h 875"/>
                <a:gd name="T16" fmla="*/ 121384 w 478"/>
                <a:gd name="T17" fmla="*/ 172504 h 875"/>
                <a:gd name="T18" fmla="*/ 128345 w 478"/>
                <a:gd name="T19" fmla="*/ 189283 h 875"/>
                <a:gd name="T20" fmla="*/ 132695 w 478"/>
                <a:gd name="T21" fmla="*/ 193477 h 875"/>
                <a:gd name="T22" fmla="*/ 190559 w 478"/>
                <a:gd name="T23" fmla="*/ 261640 h 875"/>
                <a:gd name="T24" fmla="*/ 204917 w 478"/>
                <a:gd name="T25" fmla="*/ 308830 h 875"/>
                <a:gd name="T26" fmla="*/ 207962 w 478"/>
                <a:gd name="T27" fmla="*/ 339241 h 875"/>
                <a:gd name="T28" fmla="*/ 207092 w 478"/>
                <a:gd name="T29" fmla="*/ 360214 h 875"/>
                <a:gd name="T30" fmla="*/ 207962 w 478"/>
                <a:gd name="T31" fmla="*/ 371225 h 875"/>
                <a:gd name="T32" fmla="*/ 194475 w 478"/>
                <a:gd name="T33" fmla="*/ 376468 h 875"/>
                <a:gd name="T34" fmla="*/ 182728 w 478"/>
                <a:gd name="T35" fmla="*/ 384333 h 875"/>
                <a:gd name="T36" fmla="*/ 170111 w 478"/>
                <a:gd name="T37" fmla="*/ 396393 h 875"/>
                <a:gd name="T38" fmla="*/ 158799 w 478"/>
                <a:gd name="T39" fmla="*/ 413696 h 875"/>
                <a:gd name="T40" fmla="*/ 151403 w 478"/>
                <a:gd name="T41" fmla="*/ 411598 h 875"/>
                <a:gd name="T42" fmla="*/ 138786 w 478"/>
                <a:gd name="T43" fmla="*/ 413696 h 875"/>
                <a:gd name="T44" fmla="*/ 136176 w 478"/>
                <a:gd name="T45" fmla="*/ 421561 h 875"/>
                <a:gd name="T46" fmla="*/ 125734 w 478"/>
                <a:gd name="T47" fmla="*/ 439388 h 875"/>
                <a:gd name="T48" fmla="*/ 111377 w 478"/>
                <a:gd name="T49" fmla="*/ 455118 h 875"/>
                <a:gd name="T50" fmla="*/ 103981 w 478"/>
                <a:gd name="T51" fmla="*/ 458788 h 875"/>
                <a:gd name="T52" fmla="*/ 100936 w 478"/>
                <a:gd name="T53" fmla="*/ 455118 h 875"/>
                <a:gd name="T54" fmla="*/ 97890 w 478"/>
                <a:gd name="T55" fmla="*/ 442534 h 875"/>
                <a:gd name="T56" fmla="*/ 100500 w 478"/>
                <a:gd name="T57" fmla="*/ 419463 h 875"/>
                <a:gd name="T58" fmla="*/ 110072 w 478"/>
                <a:gd name="T59" fmla="*/ 406355 h 875"/>
                <a:gd name="T60" fmla="*/ 120514 w 478"/>
                <a:gd name="T61" fmla="*/ 398490 h 875"/>
                <a:gd name="T62" fmla="*/ 128345 w 478"/>
                <a:gd name="T63" fmla="*/ 394820 h 875"/>
                <a:gd name="T64" fmla="*/ 132695 w 478"/>
                <a:gd name="T65" fmla="*/ 389577 h 875"/>
                <a:gd name="T66" fmla="*/ 136611 w 478"/>
                <a:gd name="T67" fmla="*/ 374371 h 875"/>
                <a:gd name="T68" fmla="*/ 143572 w 478"/>
                <a:gd name="T69" fmla="*/ 359690 h 875"/>
                <a:gd name="T70" fmla="*/ 158799 w 478"/>
                <a:gd name="T71" fmla="*/ 337144 h 875"/>
                <a:gd name="T72" fmla="*/ 161410 w 478"/>
                <a:gd name="T73" fmla="*/ 281040 h 875"/>
                <a:gd name="T74" fmla="*/ 158364 w 478"/>
                <a:gd name="T75" fmla="*/ 249056 h 875"/>
                <a:gd name="T76" fmla="*/ 148358 w 478"/>
                <a:gd name="T77" fmla="*/ 223889 h 875"/>
                <a:gd name="T78" fmla="*/ 129215 w 478"/>
                <a:gd name="T79" fmla="*/ 197672 h 875"/>
                <a:gd name="T80" fmla="*/ 95280 w 478"/>
                <a:gd name="T81" fmla="*/ 161493 h 875"/>
                <a:gd name="T82" fmla="*/ 70046 w 478"/>
                <a:gd name="T83" fmla="*/ 133704 h 875"/>
                <a:gd name="T84" fmla="*/ 46987 w 478"/>
                <a:gd name="T85" fmla="*/ 103817 h 875"/>
                <a:gd name="T86" fmla="*/ 31325 w 478"/>
                <a:gd name="T87" fmla="*/ 76552 h 875"/>
                <a:gd name="T88" fmla="*/ 18273 w 478"/>
                <a:gd name="T89" fmla="*/ 54530 h 875"/>
                <a:gd name="T90" fmla="*/ 20013 w 478"/>
                <a:gd name="T91" fmla="*/ 21497 h 875"/>
                <a:gd name="T92" fmla="*/ 56124 w 478"/>
                <a:gd name="T93" fmla="*/ 9962 h 875"/>
                <a:gd name="T94" fmla="*/ 64390 w 478"/>
                <a:gd name="T95" fmla="*/ 2622 h 875"/>
                <a:gd name="T96" fmla="*/ 76137 w 478"/>
                <a:gd name="T97" fmla="*/ 8389 h 875"/>
                <a:gd name="T98" fmla="*/ 96150 w 478"/>
                <a:gd name="T99" fmla="*/ 18352 h 875"/>
                <a:gd name="T100" fmla="*/ 117033 w 478"/>
                <a:gd name="T101" fmla="*/ 35130 h 87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75" name="Freeform 543">
              <a:extLst>
                <a:ext uri="{FF2B5EF4-FFF2-40B4-BE49-F238E27FC236}">
                  <a16:creationId xmlns:a16="http://schemas.microsoft.com/office/drawing/2014/main" xmlns="" id="{90575130-6BC7-ADDC-18AA-8A6EC0AF146D}"/>
                </a:ext>
              </a:extLst>
            </p:cNvPr>
            <p:cNvSpPr>
              <a:spLocks/>
            </p:cNvSpPr>
            <p:nvPr>
              <p:custDataLst>
                <p:tags r:id="rId371"/>
              </p:custDataLst>
            </p:nvPr>
          </p:nvSpPr>
          <p:spPr bwMode="auto">
            <a:xfrm>
              <a:off x="6275268" y="2462641"/>
              <a:ext cx="21974" cy="41835"/>
            </a:xfrm>
            <a:custGeom>
              <a:avLst/>
              <a:gdLst>
                <a:gd name="T0" fmla="*/ 25400 w 59"/>
                <a:gd name="T1" fmla="*/ 11061 h 31"/>
                <a:gd name="T2" fmla="*/ 24539 w 59"/>
                <a:gd name="T3" fmla="*/ 20279 h 31"/>
                <a:gd name="T4" fmla="*/ 22817 w 59"/>
                <a:gd name="T5" fmla="*/ 27653 h 31"/>
                <a:gd name="T6" fmla="*/ 21095 w 59"/>
                <a:gd name="T7" fmla="*/ 35027 h 31"/>
                <a:gd name="T8" fmla="*/ 19373 w 59"/>
                <a:gd name="T9" fmla="*/ 44245 h 31"/>
                <a:gd name="T10" fmla="*/ 17220 w 59"/>
                <a:gd name="T11" fmla="*/ 49776 h 31"/>
                <a:gd name="T12" fmla="*/ 15498 w 59"/>
                <a:gd name="T13" fmla="*/ 53463 h 31"/>
                <a:gd name="T14" fmla="*/ 12915 w 59"/>
                <a:gd name="T15" fmla="*/ 57150 h 31"/>
                <a:gd name="T16" fmla="*/ 11193 w 59"/>
                <a:gd name="T17" fmla="*/ 57150 h 31"/>
                <a:gd name="T18" fmla="*/ 9041 w 59"/>
                <a:gd name="T19" fmla="*/ 57150 h 31"/>
                <a:gd name="T20" fmla="*/ 7319 w 59"/>
                <a:gd name="T21" fmla="*/ 55306 h 31"/>
                <a:gd name="T22" fmla="*/ 6027 w 59"/>
                <a:gd name="T23" fmla="*/ 53463 h 31"/>
                <a:gd name="T24" fmla="*/ 4736 w 59"/>
                <a:gd name="T25" fmla="*/ 49776 h 31"/>
                <a:gd name="T26" fmla="*/ 1722 w 59"/>
                <a:gd name="T27" fmla="*/ 36871 h 31"/>
                <a:gd name="T28" fmla="*/ 0 w 59"/>
                <a:gd name="T29" fmla="*/ 22123 h 31"/>
                <a:gd name="T30" fmla="*/ 431 w 59"/>
                <a:gd name="T31" fmla="*/ 16592 h 31"/>
                <a:gd name="T32" fmla="*/ 1292 w 59"/>
                <a:gd name="T33" fmla="*/ 11061 h 31"/>
                <a:gd name="T34" fmla="*/ 2153 w 59"/>
                <a:gd name="T35" fmla="*/ 7374 h 31"/>
                <a:gd name="T36" fmla="*/ 3444 w 59"/>
                <a:gd name="T37" fmla="*/ 5531 h 31"/>
                <a:gd name="T38" fmla="*/ 6888 w 59"/>
                <a:gd name="T39" fmla="*/ 1844 h 31"/>
                <a:gd name="T40" fmla="*/ 10332 w 59"/>
                <a:gd name="T41" fmla="*/ 0 h 31"/>
                <a:gd name="T42" fmla="*/ 14637 w 59"/>
                <a:gd name="T43" fmla="*/ 0 h 31"/>
                <a:gd name="T44" fmla="*/ 18081 w 59"/>
                <a:gd name="T45" fmla="*/ 3687 h 31"/>
                <a:gd name="T46" fmla="*/ 21956 w 59"/>
                <a:gd name="T47" fmla="*/ 7374 h 31"/>
                <a:gd name="T48" fmla="*/ 25400 w 59"/>
                <a:gd name="T49" fmla="*/ 11061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chemeClr val="accent2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76" name="Freeform 544">
              <a:extLst>
                <a:ext uri="{FF2B5EF4-FFF2-40B4-BE49-F238E27FC236}">
                  <a16:creationId xmlns:a16="http://schemas.microsoft.com/office/drawing/2014/main" xmlns="" id="{BEC88E06-2E49-BCD3-8BAD-B9404FB21C1A}"/>
                </a:ext>
              </a:extLst>
            </p:cNvPr>
            <p:cNvSpPr>
              <a:spLocks/>
            </p:cNvSpPr>
            <p:nvPr>
              <p:custDataLst>
                <p:tags r:id="rId372"/>
              </p:custDataLst>
            </p:nvPr>
          </p:nvSpPr>
          <p:spPr bwMode="auto">
            <a:xfrm>
              <a:off x="5143608" y="1919960"/>
              <a:ext cx="151071" cy="198712"/>
            </a:xfrm>
            <a:custGeom>
              <a:avLst/>
              <a:gdLst>
                <a:gd name="T0" fmla="*/ 87531 w 399"/>
                <a:gd name="T1" fmla="*/ 4192 h 518"/>
                <a:gd name="T2" fmla="*/ 88407 w 399"/>
                <a:gd name="T3" fmla="*/ 11529 h 518"/>
                <a:gd name="T4" fmla="*/ 91033 w 399"/>
                <a:gd name="T5" fmla="*/ 18866 h 518"/>
                <a:gd name="T6" fmla="*/ 93659 w 399"/>
                <a:gd name="T7" fmla="*/ 25679 h 518"/>
                <a:gd name="T8" fmla="*/ 98035 w 399"/>
                <a:gd name="T9" fmla="*/ 33016 h 518"/>
                <a:gd name="T10" fmla="*/ 102849 w 399"/>
                <a:gd name="T11" fmla="*/ 39304 h 518"/>
                <a:gd name="T12" fmla="*/ 108977 w 399"/>
                <a:gd name="T13" fmla="*/ 45069 h 518"/>
                <a:gd name="T14" fmla="*/ 115541 w 399"/>
                <a:gd name="T15" fmla="*/ 49786 h 518"/>
                <a:gd name="T16" fmla="*/ 138299 w 399"/>
                <a:gd name="T17" fmla="*/ 55550 h 518"/>
                <a:gd name="T18" fmla="*/ 159745 w 399"/>
                <a:gd name="T19" fmla="*/ 62363 h 518"/>
                <a:gd name="T20" fmla="*/ 166310 w 399"/>
                <a:gd name="T21" fmla="*/ 66555 h 518"/>
                <a:gd name="T22" fmla="*/ 171561 w 399"/>
                <a:gd name="T23" fmla="*/ 71796 h 518"/>
                <a:gd name="T24" fmla="*/ 174187 w 399"/>
                <a:gd name="T25" fmla="*/ 79133 h 518"/>
                <a:gd name="T26" fmla="*/ 174187 w 399"/>
                <a:gd name="T27" fmla="*/ 91186 h 518"/>
                <a:gd name="T28" fmla="*/ 170686 w 399"/>
                <a:gd name="T29" fmla="*/ 104812 h 518"/>
                <a:gd name="T30" fmla="*/ 161495 w 399"/>
                <a:gd name="T31" fmla="*/ 125250 h 518"/>
                <a:gd name="T32" fmla="*/ 150554 w 399"/>
                <a:gd name="T33" fmla="*/ 144640 h 518"/>
                <a:gd name="T34" fmla="*/ 143551 w 399"/>
                <a:gd name="T35" fmla="*/ 158790 h 518"/>
                <a:gd name="T36" fmla="*/ 137424 w 399"/>
                <a:gd name="T37" fmla="*/ 172939 h 518"/>
                <a:gd name="T38" fmla="*/ 134361 w 399"/>
                <a:gd name="T39" fmla="*/ 188661 h 518"/>
                <a:gd name="T40" fmla="*/ 129984 w 399"/>
                <a:gd name="T41" fmla="*/ 197570 h 518"/>
                <a:gd name="T42" fmla="*/ 117292 w 399"/>
                <a:gd name="T43" fmla="*/ 202810 h 518"/>
                <a:gd name="T44" fmla="*/ 107664 w 399"/>
                <a:gd name="T45" fmla="*/ 209099 h 518"/>
                <a:gd name="T46" fmla="*/ 102849 w 399"/>
                <a:gd name="T47" fmla="*/ 213816 h 518"/>
                <a:gd name="T48" fmla="*/ 99348 w 399"/>
                <a:gd name="T49" fmla="*/ 218532 h 518"/>
                <a:gd name="T50" fmla="*/ 98035 w 399"/>
                <a:gd name="T51" fmla="*/ 223773 h 518"/>
                <a:gd name="T52" fmla="*/ 93221 w 399"/>
                <a:gd name="T53" fmla="*/ 229537 h 518"/>
                <a:gd name="T54" fmla="*/ 82279 w 399"/>
                <a:gd name="T55" fmla="*/ 235826 h 518"/>
                <a:gd name="T56" fmla="*/ 75715 w 399"/>
                <a:gd name="T57" fmla="*/ 238970 h 518"/>
                <a:gd name="T58" fmla="*/ 72651 w 399"/>
                <a:gd name="T59" fmla="*/ 244735 h 518"/>
                <a:gd name="T60" fmla="*/ 69150 w 399"/>
                <a:gd name="T61" fmla="*/ 252072 h 518"/>
                <a:gd name="T62" fmla="*/ 63898 w 399"/>
                <a:gd name="T63" fmla="*/ 256788 h 518"/>
                <a:gd name="T64" fmla="*/ 57333 w 399"/>
                <a:gd name="T65" fmla="*/ 258885 h 518"/>
                <a:gd name="T66" fmla="*/ 44641 w 399"/>
                <a:gd name="T67" fmla="*/ 260981 h 518"/>
                <a:gd name="T68" fmla="*/ 31949 w 399"/>
                <a:gd name="T69" fmla="*/ 264125 h 518"/>
                <a:gd name="T70" fmla="*/ 24071 w 399"/>
                <a:gd name="T71" fmla="*/ 268318 h 518"/>
                <a:gd name="T72" fmla="*/ 20132 w 399"/>
                <a:gd name="T73" fmla="*/ 269366 h 518"/>
                <a:gd name="T74" fmla="*/ 18819 w 399"/>
                <a:gd name="T75" fmla="*/ 265173 h 518"/>
                <a:gd name="T76" fmla="*/ 16631 w 399"/>
                <a:gd name="T77" fmla="*/ 260457 h 518"/>
                <a:gd name="T78" fmla="*/ 14880 w 399"/>
                <a:gd name="T79" fmla="*/ 255216 h 518"/>
                <a:gd name="T80" fmla="*/ 14443 w 399"/>
                <a:gd name="T81" fmla="*/ 245259 h 518"/>
                <a:gd name="T82" fmla="*/ 12692 w 399"/>
                <a:gd name="T83" fmla="*/ 233206 h 518"/>
                <a:gd name="T84" fmla="*/ 7440 w 399"/>
                <a:gd name="T85" fmla="*/ 219056 h 518"/>
                <a:gd name="T86" fmla="*/ 0 w 399"/>
                <a:gd name="T87" fmla="*/ 187613 h 518"/>
                <a:gd name="T88" fmla="*/ 84905 w 399"/>
                <a:gd name="T89" fmla="*/ 96951 h 518"/>
                <a:gd name="T90" fmla="*/ 87531 w 399"/>
                <a:gd name="T91" fmla="*/ 0 h 51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77" name="Freeform 545">
              <a:extLst>
                <a:ext uri="{FF2B5EF4-FFF2-40B4-BE49-F238E27FC236}">
                  <a16:creationId xmlns:a16="http://schemas.microsoft.com/office/drawing/2014/main" xmlns="" id="{3653A146-5300-D549-60E6-C978336AC25C}"/>
                </a:ext>
              </a:extLst>
            </p:cNvPr>
            <p:cNvSpPr>
              <a:spLocks/>
            </p:cNvSpPr>
            <p:nvPr>
              <p:custDataLst>
                <p:tags r:id="rId373"/>
              </p:custDataLst>
            </p:nvPr>
          </p:nvSpPr>
          <p:spPr bwMode="auto">
            <a:xfrm>
              <a:off x="4042161" y="1959470"/>
              <a:ext cx="325490" cy="282380"/>
            </a:xfrm>
            <a:custGeom>
              <a:avLst/>
              <a:gdLst>
                <a:gd name="T0" fmla="*/ 100359 w 866"/>
                <a:gd name="T1" fmla="*/ 140751 h 740"/>
                <a:gd name="T2" fmla="*/ 106441 w 866"/>
                <a:gd name="T3" fmla="*/ 137623 h 740"/>
                <a:gd name="T4" fmla="*/ 118172 w 866"/>
                <a:gd name="T5" fmla="*/ 141794 h 740"/>
                <a:gd name="T6" fmla="*/ 284134 w 866"/>
                <a:gd name="T7" fmla="*/ 521 h 740"/>
                <a:gd name="T8" fmla="*/ 294995 w 866"/>
                <a:gd name="T9" fmla="*/ 3128 h 740"/>
                <a:gd name="T10" fmla="*/ 308897 w 866"/>
                <a:gd name="T11" fmla="*/ 10947 h 740"/>
                <a:gd name="T12" fmla="*/ 317152 w 866"/>
                <a:gd name="T13" fmla="*/ 18246 h 740"/>
                <a:gd name="T14" fmla="*/ 330186 w 866"/>
                <a:gd name="T15" fmla="*/ 29714 h 740"/>
                <a:gd name="T16" fmla="*/ 343654 w 866"/>
                <a:gd name="T17" fmla="*/ 30757 h 740"/>
                <a:gd name="T18" fmla="*/ 361032 w 866"/>
                <a:gd name="T19" fmla="*/ 22416 h 740"/>
                <a:gd name="T20" fmla="*/ 371025 w 866"/>
                <a:gd name="T21" fmla="*/ 86536 h 740"/>
                <a:gd name="T22" fmla="*/ 376238 w 866"/>
                <a:gd name="T23" fmla="*/ 106866 h 740"/>
                <a:gd name="T24" fmla="*/ 369287 w 866"/>
                <a:gd name="T25" fmla="*/ 156911 h 740"/>
                <a:gd name="T26" fmla="*/ 368418 w 866"/>
                <a:gd name="T27" fmla="*/ 196009 h 740"/>
                <a:gd name="T28" fmla="*/ 362335 w 866"/>
                <a:gd name="T29" fmla="*/ 219467 h 740"/>
                <a:gd name="T30" fmla="*/ 348433 w 866"/>
                <a:gd name="T31" fmla="*/ 243447 h 740"/>
                <a:gd name="T32" fmla="*/ 337572 w 866"/>
                <a:gd name="T33" fmla="*/ 260129 h 740"/>
                <a:gd name="T34" fmla="*/ 329317 w 866"/>
                <a:gd name="T35" fmla="*/ 295577 h 740"/>
                <a:gd name="T36" fmla="*/ 308897 w 866"/>
                <a:gd name="T37" fmla="*/ 327898 h 740"/>
                <a:gd name="T38" fmla="*/ 295429 w 866"/>
                <a:gd name="T39" fmla="*/ 336760 h 740"/>
                <a:gd name="T40" fmla="*/ 279789 w 866"/>
                <a:gd name="T41" fmla="*/ 332589 h 740"/>
                <a:gd name="T42" fmla="*/ 265452 w 866"/>
                <a:gd name="T43" fmla="*/ 325813 h 740"/>
                <a:gd name="T44" fmla="*/ 245902 w 866"/>
                <a:gd name="T45" fmla="*/ 329983 h 740"/>
                <a:gd name="T46" fmla="*/ 230261 w 866"/>
                <a:gd name="T47" fmla="*/ 343537 h 740"/>
                <a:gd name="T48" fmla="*/ 222006 w 866"/>
                <a:gd name="T49" fmla="*/ 354484 h 740"/>
                <a:gd name="T50" fmla="*/ 213317 w 866"/>
                <a:gd name="T51" fmla="*/ 356569 h 740"/>
                <a:gd name="T52" fmla="*/ 204194 w 866"/>
                <a:gd name="T53" fmla="*/ 348228 h 740"/>
                <a:gd name="T54" fmla="*/ 193767 w 866"/>
                <a:gd name="T55" fmla="*/ 333111 h 740"/>
                <a:gd name="T56" fmla="*/ 182906 w 866"/>
                <a:gd name="T57" fmla="*/ 331026 h 740"/>
                <a:gd name="T58" fmla="*/ 175954 w 866"/>
                <a:gd name="T59" fmla="*/ 337281 h 740"/>
                <a:gd name="T60" fmla="*/ 166831 w 866"/>
                <a:gd name="T61" fmla="*/ 339888 h 740"/>
                <a:gd name="T62" fmla="*/ 152059 w 866"/>
                <a:gd name="T63" fmla="*/ 332589 h 740"/>
                <a:gd name="T64" fmla="*/ 132943 w 866"/>
                <a:gd name="T65" fmla="*/ 316950 h 740"/>
                <a:gd name="T66" fmla="*/ 117737 w 866"/>
                <a:gd name="T67" fmla="*/ 314865 h 740"/>
                <a:gd name="T68" fmla="*/ 102966 w 866"/>
                <a:gd name="T69" fmla="*/ 323206 h 740"/>
                <a:gd name="T70" fmla="*/ 90801 w 866"/>
                <a:gd name="T71" fmla="*/ 340409 h 740"/>
                <a:gd name="T72" fmla="*/ 82546 w 866"/>
                <a:gd name="T73" fmla="*/ 360740 h 740"/>
                <a:gd name="T74" fmla="*/ 77333 w 866"/>
                <a:gd name="T75" fmla="*/ 374815 h 740"/>
                <a:gd name="T76" fmla="*/ 64734 w 866"/>
                <a:gd name="T77" fmla="*/ 365953 h 740"/>
                <a:gd name="T78" fmla="*/ 43445 w 866"/>
                <a:gd name="T79" fmla="*/ 385762 h 740"/>
                <a:gd name="T80" fmla="*/ 28674 w 866"/>
                <a:gd name="T81" fmla="*/ 364389 h 740"/>
                <a:gd name="T82" fmla="*/ 27805 w 866"/>
                <a:gd name="T83" fmla="*/ 335717 h 740"/>
                <a:gd name="T84" fmla="*/ 21723 w 866"/>
                <a:gd name="T85" fmla="*/ 319557 h 740"/>
                <a:gd name="T86" fmla="*/ 8689 w 866"/>
                <a:gd name="T87" fmla="*/ 306003 h 740"/>
                <a:gd name="T88" fmla="*/ 2172 w 866"/>
                <a:gd name="T89" fmla="*/ 290885 h 740"/>
                <a:gd name="T90" fmla="*/ 23026 w 866"/>
                <a:gd name="T91" fmla="*/ 276289 h 740"/>
                <a:gd name="T92" fmla="*/ 33019 w 866"/>
                <a:gd name="T93" fmla="*/ 270033 h 740"/>
                <a:gd name="T94" fmla="*/ 60389 w 866"/>
                <a:gd name="T95" fmla="*/ 265863 h 740"/>
                <a:gd name="T96" fmla="*/ 79071 w 866"/>
                <a:gd name="T97" fmla="*/ 260650 h 740"/>
                <a:gd name="T98" fmla="*/ 87325 w 866"/>
                <a:gd name="T99" fmla="*/ 247617 h 740"/>
                <a:gd name="T100" fmla="*/ 95146 w 866"/>
                <a:gd name="T101" fmla="*/ 221031 h 740"/>
                <a:gd name="T102" fmla="*/ 97318 w 866"/>
                <a:gd name="T103" fmla="*/ 191317 h 740"/>
                <a:gd name="T104" fmla="*/ 95146 w 866"/>
                <a:gd name="T105" fmla="*/ 166816 h 7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78" name="Freeform 546">
              <a:extLst>
                <a:ext uri="{FF2B5EF4-FFF2-40B4-BE49-F238E27FC236}">
                  <a16:creationId xmlns:a16="http://schemas.microsoft.com/office/drawing/2014/main" xmlns="" id="{CCF85D48-CAA9-C34A-1A28-85101312A19D}"/>
                </a:ext>
              </a:extLst>
            </p:cNvPr>
            <p:cNvSpPr>
              <a:spLocks/>
            </p:cNvSpPr>
            <p:nvPr>
              <p:custDataLst>
                <p:tags r:id="rId374"/>
              </p:custDataLst>
            </p:nvPr>
          </p:nvSpPr>
          <p:spPr bwMode="auto">
            <a:xfrm>
              <a:off x="3650487" y="1672494"/>
              <a:ext cx="376306" cy="346293"/>
            </a:xfrm>
            <a:custGeom>
              <a:avLst/>
              <a:gdLst>
                <a:gd name="T0" fmla="*/ 278945 w 697"/>
                <a:gd name="T1" fmla="*/ 27597 h 500"/>
                <a:gd name="T2" fmla="*/ 282819 w 697"/>
                <a:gd name="T3" fmla="*/ 83833 h 500"/>
                <a:gd name="T4" fmla="*/ 284541 w 697"/>
                <a:gd name="T5" fmla="*/ 86957 h 500"/>
                <a:gd name="T6" fmla="*/ 291429 w 697"/>
                <a:gd name="T7" fmla="*/ 92164 h 500"/>
                <a:gd name="T8" fmla="*/ 298747 w 697"/>
                <a:gd name="T9" fmla="*/ 98412 h 500"/>
                <a:gd name="T10" fmla="*/ 300038 w 697"/>
                <a:gd name="T11" fmla="*/ 103099 h 500"/>
                <a:gd name="T12" fmla="*/ 298747 w 697"/>
                <a:gd name="T13" fmla="*/ 109868 h 500"/>
                <a:gd name="T14" fmla="*/ 294872 w 697"/>
                <a:gd name="T15" fmla="*/ 112992 h 500"/>
                <a:gd name="T16" fmla="*/ 281958 w 697"/>
                <a:gd name="T17" fmla="*/ 113513 h 500"/>
                <a:gd name="T18" fmla="*/ 260435 w 697"/>
                <a:gd name="T19" fmla="*/ 118720 h 500"/>
                <a:gd name="T20" fmla="*/ 244077 w 697"/>
                <a:gd name="T21" fmla="*/ 130175 h 500"/>
                <a:gd name="T22" fmla="*/ 236328 w 697"/>
                <a:gd name="T23" fmla="*/ 139027 h 500"/>
                <a:gd name="T24" fmla="*/ 232024 w 697"/>
                <a:gd name="T25" fmla="*/ 149962 h 500"/>
                <a:gd name="T26" fmla="*/ 224275 w 697"/>
                <a:gd name="T27" fmla="*/ 157251 h 500"/>
                <a:gd name="T28" fmla="*/ 211361 w 697"/>
                <a:gd name="T29" fmla="*/ 168707 h 500"/>
                <a:gd name="T30" fmla="*/ 195864 w 697"/>
                <a:gd name="T31" fmla="*/ 183286 h 500"/>
                <a:gd name="T32" fmla="*/ 180798 w 697"/>
                <a:gd name="T33" fmla="*/ 192659 h 500"/>
                <a:gd name="T34" fmla="*/ 160135 w 697"/>
                <a:gd name="T35" fmla="*/ 196304 h 500"/>
                <a:gd name="T36" fmla="*/ 148082 w 697"/>
                <a:gd name="T37" fmla="*/ 197866 h 500"/>
                <a:gd name="T38" fmla="*/ 136029 w 697"/>
                <a:gd name="T39" fmla="*/ 206197 h 500"/>
                <a:gd name="T40" fmla="*/ 124836 w 697"/>
                <a:gd name="T41" fmla="*/ 217132 h 500"/>
                <a:gd name="T42" fmla="*/ 114075 w 697"/>
                <a:gd name="T43" fmla="*/ 221818 h 500"/>
                <a:gd name="T44" fmla="*/ 2152 w 697"/>
                <a:gd name="T45" fmla="*/ 258267 h 500"/>
                <a:gd name="T46" fmla="*/ 13775 w 697"/>
                <a:gd name="T47" fmla="*/ 253581 h 500"/>
                <a:gd name="T48" fmla="*/ 36590 w 697"/>
                <a:gd name="T49" fmla="*/ 246291 h 500"/>
                <a:gd name="T50" fmla="*/ 40034 w 697"/>
                <a:gd name="T51" fmla="*/ 239001 h 500"/>
                <a:gd name="T52" fmla="*/ 42617 w 697"/>
                <a:gd name="T53" fmla="*/ 228067 h 500"/>
                <a:gd name="T54" fmla="*/ 51226 w 697"/>
                <a:gd name="T55" fmla="*/ 219735 h 500"/>
                <a:gd name="T56" fmla="*/ 68875 w 697"/>
                <a:gd name="T57" fmla="*/ 207759 h 500"/>
                <a:gd name="T58" fmla="*/ 77915 w 697"/>
                <a:gd name="T59" fmla="*/ 198907 h 500"/>
                <a:gd name="T60" fmla="*/ 82650 w 697"/>
                <a:gd name="T61" fmla="*/ 185890 h 500"/>
                <a:gd name="T62" fmla="*/ 83081 w 697"/>
                <a:gd name="T63" fmla="*/ 164541 h 500"/>
                <a:gd name="T64" fmla="*/ 83942 w 697"/>
                <a:gd name="T65" fmla="*/ 132258 h 500"/>
                <a:gd name="T66" fmla="*/ 82650 w 697"/>
                <a:gd name="T67" fmla="*/ 99974 h 500"/>
                <a:gd name="T68" fmla="*/ 92121 w 697"/>
                <a:gd name="T69" fmla="*/ 98412 h 500"/>
                <a:gd name="T70" fmla="*/ 98147 w 697"/>
                <a:gd name="T71" fmla="*/ 93205 h 500"/>
                <a:gd name="T72" fmla="*/ 103743 w 697"/>
                <a:gd name="T73" fmla="*/ 85916 h 500"/>
                <a:gd name="T74" fmla="*/ 108479 w 697"/>
                <a:gd name="T75" fmla="*/ 79146 h 500"/>
                <a:gd name="T76" fmla="*/ 120962 w 697"/>
                <a:gd name="T77" fmla="*/ 76022 h 500"/>
                <a:gd name="T78" fmla="*/ 135168 w 697"/>
                <a:gd name="T79" fmla="*/ 74460 h 500"/>
                <a:gd name="T80" fmla="*/ 146360 w 697"/>
                <a:gd name="T81" fmla="*/ 68212 h 500"/>
                <a:gd name="T82" fmla="*/ 154969 w 697"/>
                <a:gd name="T83" fmla="*/ 56236 h 500"/>
                <a:gd name="T84" fmla="*/ 167023 w 697"/>
                <a:gd name="T85" fmla="*/ 24994 h 500"/>
                <a:gd name="T86" fmla="*/ 175202 w 697"/>
                <a:gd name="T87" fmla="*/ 6248 h 500"/>
                <a:gd name="T88" fmla="*/ 183380 w 697"/>
                <a:gd name="T89" fmla="*/ 4166 h 500"/>
                <a:gd name="T90" fmla="*/ 193281 w 697"/>
                <a:gd name="T91" fmla="*/ 10414 h 500"/>
                <a:gd name="T92" fmla="*/ 220401 w 697"/>
                <a:gd name="T93" fmla="*/ 9373 h 500"/>
                <a:gd name="T94" fmla="*/ 253978 w 697"/>
                <a:gd name="T95" fmla="*/ 6769 h 500"/>
                <a:gd name="T96" fmla="*/ 256991 w 697"/>
                <a:gd name="T97" fmla="*/ 8852 h 500"/>
                <a:gd name="T98" fmla="*/ 260435 w 697"/>
                <a:gd name="T99" fmla="*/ 18745 h 500"/>
                <a:gd name="T100" fmla="*/ 263018 w 697"/>
                <a:gd name="T101" fmla="*/ 26556 h 500"/>
                <a:gd name="T102" fmla="*/ 266031 w 697"/>
                <a:gd name="T103" fmla="*/ 26035 h 5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79" name="Freeform 547">
              <a:extLst>
                <a:ext uri="{FF2B5EF4-FFF2-40B4-BE49-F238E27FC236}">
                  <a16:creationId xmlns:a16="http://schemas.microsoft.com/office/drawing/2014/main" xmlns="" id="{25845238-B9AF-7F71-EDB0-92A6CDF45E9E}"/>
                </a:ext>
              </a:extLst>
            </p:cNvPr>
            <p:cNvSpPr>
              <a:spLocks/>
            </p:cNvSpPr>
            <p:nvPr>
              <p:custDataLst>
                <p:tags r:id="rId375"/>
              </p:custDataLst>
            </p:nvPr>
          </p:nvSpPr>
          <p:spPr bwMode="auto">
            <a:xfrm>
              <a:off x="4362158" y="896189"/>
              <a:ext cx="204632" cy="67399"/>
            </a:xfrm>
            <a:custGeom>
              <a:avLst/>
              <a:gdLst>
                <a:gd name="T0" fmla="*/ 32058 w 546"/>
                <a:gd name="T1" fmla="*/ 10112 h 173"/>
                <a:gd name="T2" fmla="*/ 40722 w 546"/>
                <a:gd name="T3" fmla="*/ 18096 h 173"/>
                <a:gd name="T4" fmla="*/ 47654 w 546"/>
                <a:gd name="T5" fmla="*/ 14370 h 173"/>
                <a:gd name="T6" fmla="*/ 57185 w 546"/>
                <a:gd name="T7" fmla="*/ 14370 h 173"/>
                <a:gd name="T8" fmla="*/ 69748 w 546"/>
                <a:gd name="T9" fmla="*/ 23418 h 173"/>
                <a:gd name="T10" fmla="*/ 90543 w 546"/>
                <a:gd name="T11" fmla="*/ 10112 h 173"/>
                <a:gd name="T12" fmla="*/ 105272 w 546"/>
                <a:gd name="T13" fmla="*/ 10112 h 173"/>
                <a:gd name="T14" fmla="*/ 112637 w 546"/>
                <a:gd name="T15" fmla="*/ 8516 h 173"/>
                <a:gd name="T16" fmla="*/ 116536 w 546"/>
                <a:gd name="T17" fmla="*/ 7451 h 173"/>
                <a:gd name="T18" fmla="*/ 120868 w 546"/>
                <a:gd name="T19" fmla="*/ 5854 h 173"/>
                <a:gd name="T20" fmla="*/ 123900 w 546"/>
                <a:gd name="T21" fmla="*/ 1597 h 173"/>
                <a:gd name="T22" fmla="*/ 139063 w 546"/>
                <a:gd name="T23" fmla="*/ 2661 h 173"/>
                <a:gd name="T24" fmla="*/ 144262 w 546"/>
                <a:gd name="T25" fmla="*/ 6387 h 173"/>
                <a:gd name="T26" fmla="*/ 150760 w 546"/>
                <a:gd name="T27" fmla="*/ 3726 h 173"/>
                <a:gd name="T28" fmla="*/ 152926 w 546"/>
                <a:gd name="T29" fmla="*/ 0 h 173"/>
                <a:gd name="T30" fmla="*/ 158991 w 546"/>
                <a:gd name="T31" fmla="*/ 3726 h 173"/>
                <a:gd name="T32" fmla="*/ 168522 w 546"/>
                <a:gd name="T33" fmla="*/ 3726 h 173"/>
                <a:gd name="T34" fmla="*/ 188883 w 546"/>
                <a:gd name="T35" fmla="*/ 532 h 173"/>
                <a:gd name="T36" fmla="*/ 208811 w 546"/>
                <a:gd name="T37" fmla="*/ 3193 h 173"/>
                <a:gd name="T38" fmla="*/ 228739 w 546"/>
                <a:gd name="T39" fmla="*/ 6387 h 173"/>
                <a:gd name="T40" fmla="*/ 236104 w 546"/>
                <a:gd name="T41" fmla="*/ 26079 h 173"/>
                <a:gd name="T42" fmla="*/ 232638 w 546"/>
                <a:gd name="T43" fmla="*/ 31934 h 173"/>
                <a:gd name="T44" fmla="*/ 222241 w 546"/>
                <a:gd name="T45" fmla="*/ 32998 h 173"/>
                <a:gd name="T46" fmla="*/ 209244 w 546"/>
                <a:gd name="T47" fmla="*/ 28740 h 173"/>
                <a:gd name="T48" fmla="*/ 178919 w 546"/>
                <a:gd name="T49" fmla="*/ 23418 h 173"/>
                <a:gd name="T50" fmla="*/ 189749 w 546"/>
                <a:gd name="T51" fmla="*/ 43110 h 173"/>
                <a:gd name="T52" fmla="*/ 204046 w 546"/>
                <a:gd name="T53" fmla="*/ 54287 h 173"/>
                <a:gd name="T54" fmla="*/ 213576 w 546"/>
                <a:gd name="T55" fmla="*/ 63335 h 173"/>
                <a:gd name="T56" fmla="*/ 205779 w 546"/>
                <a:gd name="T57" fmla="*/ 72383 h 173"/>
                <a:gd name="T58" fmla="*/ 194515 w 546"/>
                <a:gd name="T59" fmla="*/ 75576 h 173"/>
                <a:gd name="T60" fmla="*/ 184551 w 546"/>
                <a:gd name="T61" fmla="*/ 75044 h 173"/>
                <a:gd name="T62" fmla="*/ 178486 w 546"/>
                <a:gd name="T63" fmla="*/ 71318 h 173"/>
                <a:gd name="T64" fmla="*/ 172854 w 546"/>
                <a:gd name="T65" fmla="*/ 69189 h 173"/>
                <a:gd name="T66" fmla="*/ 166789 w 546"/>
                <a:gd name="T67" fmla="*/ 64399 h 173"/>
                <a:gd name="T68" fmla="*/ 162457 w 546"/>
                <a:gd name="T69" fmla="*/ 55351 h 173"/>
                <a:gd name="T70" fmla="*/ 158125 w 546"/>
                <a:gd name="T71" fmla="*/ 48965 h 173"/>
                <a:gd name="T72" fmla="*/ 149027 w 546"/>
                <a:gd name="T73" fmla="*/ 44707 h 173"/>
                <a:gd name="T74" fmla="*/ 140796 w 546"/>
                <a:gd name="T75" fmla="*/ 40449 h 173"/>
                <a:gd name="T76" fmla="*/ 131265 w 546"/>
                <a:gd name="T77" fmla="*/ 46304 h 173"/>
                <a:gd name="T78" fmla="*/ 111770 w 546"/>
                <a:gd name="T79" fmla="*/ 71318 h 173"/>
                <a:gd name="T80" fmla="*/ 102239 w 546"/>
                <a:gd name="T81" fmla="*/ 86753 h 173"/>
                <a:gd name="T82" fmla="*/ 95308 w 546"/>
                <a:gd name="T83" fmla="*/ 91543 h 173"/>
                <a:gd name="T84" fmla="*/ 81445 w 546"/>
                <a:gd name="T85" fmla="*/ 88882 h 173"/>
                <a:gd name="T86" fmla="*/ 71481 w 546"/>
                <a:gd name="T87" fmla="*/ 82495 h 173"/>
                <a:gd name="T88" fmla="*/ 48954 w 546"/>
                <a:gd name="T89" fmla="*/ 55884 h 173"/>
                <a:gd name="T90" fmla="*/ 41156 w 546"/>
                <a:gd name="T91" fmla="*/ 48433 h 173"/>
                <a:gd name="T92" fmla="*/ 25993 w 546"/>
                <a:gd name="T93" fmla="*/ 40449 h 173"/>
                <a:gd name="T94" fmla="*/ 6931 w 546"/>
                <a:gd name="T95" fmla="*/ 30869 h 173"/>
                <a:gd name="T96" fmla="*/ 4765 w 546"/>
                <a:gd name="T97" fmla="*/ 18096 h 173"/>
                <a:gd name="T98" fmla="*/ 12130 w 546"/>
                <a:gd name="T99" fmla="*/ 10112 h 173"/>
                <a:gd name="T100" fmla="*/ 20361 w 546"/>
                <a:gd name="T101" fmla="*/ 638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80" name="Freeform 548">
              <a:extLst>
                <a:ext uri="{FF2B5EF4-FFF2-40B4-BE49-F238E27FC236}">
                  <a16:creationId xmlns:a16="http://schemas.microsoft.com/office/drawing/2014/main" xmlns="" id="{0943E763-5212-FFD0-BF70-B8B64952A22E}"/>
                </a:ext>
              </a:extLst>
            </p:cNvPr>
            <p:cNvSpPr>
              <a:spLocks/>
            </p:cNvSpPr>
            <p:nvPr>
              <p:custDataLst>
                <p:tags r:id="rId376"/>
              </p:custDataLst>
            </p:nvPr>
          </p:nvSpPr>
          <p:spPr bwMode="auto">
            <a:xfrm>
              <a:off x="4804384" y="884567"/>
              <a:ext cx="93389" cy="44158"/>
            </a:xfrm>
            <a:custGeom>
              <a:avLst/>
              <a:gdLst>
                <a:gd name="T0" fmla="*/ 11848 w 246"/>
                <a:gd name="T1" fmla="*/ 51707 h 42"/>
                <a:gd name="T2" fmla="*/ 15798 w 246"/>
                <a:gd name="T3" fmla="*/ 51707 h 42"/>
                <a:gd name="T4" fmla="*/ 19747 w 246"/>
                <a:gd name="T5" fmla="*/ 50271 h 42"/>
                <a:gd name="T6" fmla="*/ 23258 w 246"/>
                <a:gd name="T7" fmla="*/ 47398 h 42"/>
                <a:gd name="T8" fmla="*/ 25890 w 246"/>
                <a:gd name="T9" fmla="*/ 44526 h 42"/>
                <a:gd name="T10" fmla="*/ 28962 w 246"/>
                <a:gd name="T11" fmla="*/ 43089 h 42"/>
                <a:gd name="T12" fmla="*/ 31595 w 246"/>
                <a:gd name="T13" fmla="*/ 41653 h 42"/>
                <a:gd name="T14" fmla="*/ 35106 w 246"/>
                <a:gd name="T15" fmla="*/ 41653 h 42"/>
                <a:gd name="T16" fmla="*/ 38177 w 246"/>
                <a:gd name="T17" fmla="*/ 43089 h 42"/>
                <a:gd name="T18" fmla="*/ 38177 w 246"/>
                <a:gd name="T19" fmla="*/ 60325 h 42"/>
                <a:gd name="T20" fmla="*/ 67578 w 246"/>
                <a:gd name="T21" fmla="*/ 60325 h 42"/>
                <a:gd name="T22" fmla="*/ 67578 w 246"/>
                <a:gd name="T23" fmla="*/ 56016 h 42"/>
                <a:gd name="T24" fmla="*/ 68456 w 246"/>
                <a:gd name="T25" fmla="*/ 51707 h 42"/>
                <a:gd name="T26" fmla="*/ 69773 w 246"/>
                <a:gd name="T27" fmla="*/ 47398 h 42"/>
                <a:gd name="T28" fmla="*/ 71528 w 246"/>
                <a:gd name="T29" fmla="*/ 44526 h 42"/>
                <a:gd name="T30" fmla="*/ 76794 w 246"/>
                <a:gd name="T31" fmla="*/ 37344 h 42"/>
                <a:gd name="T32" fmla="*/ 83376 w 246"/>
                <a:gd name="T33" fmla="*/ 33035 h 42"/>
                <a:gd name="T34" fmla="*/ 96979 w 246"/>
                <a:gd name="T35" fmla="*/ 24417 h 42"/>
                <a:gd name="T36" fmla="*/ 107950 w 246"/>
                <a:gd name="T37" fmla="*/ 17236 h 42"/>
                <a:gd name="T38" fmla="*/ 93030 w 246"/>
                <a:gd name="T39" fmla="*/ 18672 h 42"/>
                <a:gd name="T40" fmla="*/ 81621 w 246"/>
                <a:gd name="T41" fmla="*/ 20108 h 42"/>
                <a:gd name="T42" fmla="*/ 78110 w 246"/>
                <a:gd name="T43" fmla="*/ 21545 h 42"/>
                <a:gd name="T44" fmla="*/ 75038 w 246"/>
                <a:gd name="T45" fmla="*/ 21545 h 42"/>
                <a:gd name="T46" fmla="*/ 73722 w 246"/>
                <a:gd name="T47" fmla="*/ 20108 h 42"/>
                <a:gd name="T48" fmla="*/ 73283 w 246"/>
                <a:gd name="T49" fmla="*/ 17236 h 42"/>
                <a:gd name="T50" fmla="*/ 69773 w 246"/>
                <a:gd name="T51" fmla="*/ 22981 h 42"/>
                <a:gd name="T52" fmla="*/ 66701 w 246"/>
                <a:gd name="T53" fmla="*/ 24417 h 42"/>
                <a:gd name="T54" fmla="*/ 64507 w 246"/>
                <a:gd name="T55" fmla="*/ 24417 h 42"/>
                <a:gd name="T56" fmla="*/ 61874 w 246"/>
                <a:gd name="T57" fmla="*/ 21545 h 42"/>
                <a:gd name="T58" fmla="*/ 60118 w 246"/>
                <a:gd name="T59" fmla="*/ 17236 h 42"/>
                <a:gd name="T60" fmla="*/ 58363 w 246"/>
                <a:gd name="T61" fmla="*/ 12927 h 42"/>
                <a:gd name="T62" fmla="*/ 56608 w 246"/>
                <a:gd name="T63" fmla="*/ 7182 h 42"/>
                <a:gd name="T64" fmla="*/ 55291 w 246"/>
                <a:gd name="T65" fmla="*/ 0 h 42"/>
                <a:gd name="T66" fmla="*/ 53097 w 246"/>
                <a:gd name="T67" fmla="*/ 2873 h 42"/>
                <a:gd name="T68" fmla="*/ 49587 w 246"/>
                <a:gd name="T69" fmla="*/ 5745 h 42"/>
                <a:gd name="T70" fmla="*/ 45199 w 246"/>
                <a:gd name="T71" fmla="*/ 7182 h 42"/>
                <a:gd name="T72" fmla="*/ 40810 w 246"/>
                <a:gd name="T73" fmla="*/ 7182 h 42"/>
                <a:gd name="T74" fmla="*/ 32473 w 246"/>
                <a:gd name="T75" fmla="*/ 8618 h 42"/>
                <a:gd name="T76" fmla="*/ 26329 w 246"/>
                <a:gd name="T77" fmla="*/ 8618 h 42"/>
                <a:gd name="T78" fmla="*/ 25452 w 246"/>
                <a:gd name="T79" fmla="*/ 12927 h 42"/>
                <a:gd name="T80" fmla="*/ 24574 w 246"/>
                <a:gd name="T81" fmla="*/ 17236 h 42"/>
                <a:gd name="T82" fmla="*/ 23696 w 246"/>
                <a:gd name="T83" fmla="*/ 21545 h 42"/>
                <a:gd name="T84" fmla="*/ 21941 w 246"/>
                <a:gd name="T85" fmla="*/ 24417 h 42"/>
                <a:gd name="T86" fmla="*/ 18430 w 246"/>
                <a:gd name="T87" fmla="*/ 28726 h 42"/>
                <a:gd name="T88" fmla="*/ 14481 w 246"/>
                <a:gd name="T89" fmla="*/ 31599 h 42"/>
                <a:gd name="T90" fmla="*/ 6143 w 246"/>
                <a:gd name="T91" fmla="*/ 34471 h 42"/>
                <a:gd name="T92" fmla="*/ 0 w 246"/>
                <a:gd name="T93" fmla="*/ 34471 h 42"/>
                <a:gd name="T94" fmla="*/ 439 w 246"/>
                <a:gd name="T95" fmla="*/ 38780 h 42"/>
                <a:gd name="T96" fmla="*/ 1316 w 246"/>
                <a:gd name="T97" fmla="*/ 41653 h 42"/>
                <a:gd name="T98" fmla="*/ 2194 w 246"/>
                <a:gd name="T99" fmla="*/ 44526 h 42"/>
                <a:gd name="T100" fmla="*/ 3949 w 246"/>
                <a:gd name="T101" fmla="*/ 47398 h 42"/>
                <a:gd name="T102" fmla="*/ 7460 w 246"/>
                <a:gd name="T103" fmla="*/ 50271 h 42"/>
                <a:gd name="T104" fmla="*/ 11848 w 246"/>
                <a:gd name="T105" fmla="*/ 5170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81" name="Freeform 549">
              <a:extLst>
                <a:ext uri="{FF2B5EF4-FFF2-40B4-BE49-F238E27FC236}">
                  <a16:creationId xmlns:a16="http://schemas.microsoft.com/office/drawing/2014/main" xmlns="" id="{78BA7DEC-970C-F418-50FC-F3A304BAB07B}"/>
                </a:ext>
              </a:extLst>
            </p:cNvPr>
            <p:cNvSpPr>
              <a:spLocks/>
            </p:cNvSpPr>
            <p:nvPr>
              <p:custDataLst>
                <p:tags r:id="rId377"/>
              </p:custDataLst>
            </p:nvPr>
          </p:nvSpPr>
          <p:spPr bwMode="auto">
            <a:xfrm>
              <a:off x="4927988" y="871784"/>
              <a:ext cx="54935" cy="41835"/>
            </a:xfrm>
            <a:custGeom>
              <a:avLst/>
              <a:gdLst>
                <a:gd name="T0" fmla="*/ 43896 w 149"/>
                <a:gd name="T1" fmla="*/ 0 h 61"/>
                <a:gd name="T2" fmla="*/ 50289 w 149"/>
                <a:gd name="T3" fmla="*/ 937 h 61"/>
                <a:gd name="T4" fmla="*/ 57107 w 149"/>
                <a:gd name="T5" fmla="*/ 2811 h 61"/>
                <a:gd name="T6" fmla="*/ 61795 w 149"/>
                <a:gd name="T7" fmla="*/ 4684 h 61"/>
                <a:gd name="T8" fmla="*/ 63500 w 149"/>
                <a:gd name="T9" fmla="*/ 5621 h 61"/>
                <a:gd name="T10" fmla="*/ 63500 w 149"/>
                <a:gd name="T11" fmla="*/ 7495 h 61"/>
                <a:gd name="T12" fmla="*/ 62648 w 149"/>
                <a:gd name="T13" fmla="*/ 9369 h 61"/>
                <a:gd name="T14" fmla="*/ 61795 w 149"/>
                <a:gd name="T15" fmla="*/ 11243 h 61"/>
                <a:gd name="T16" fmla="*/ 60091 w 149"/>
                <a:gd name="T17" fmla="*/ 12180 h 61"/>
                <a:gd name="T18" fmla="*/ 58386 w 149"/>
                <a:gd name="T19" fmla="*/ 13116 h 61"/>
                <a:gd name="T20" fmla="*/ 56255 w 149"/>
                <a:gd name="T21" fmla="*/ 13116 h 61"/>
                <a:gd name="T22" fmla="*/ 54124 w 149"/>
                <a:gd name="T23" fmla="*/ 13116 h 61"/>
                <a:gd name="T24" fmla="*/ 52419 w 149"/>
                <a:gd name="T25" fmla="*/ 11243 h 61"/>
                <a:gd name="T26" fmla="*/ 52419 w 149"/>
                <a:gd name="T27" fmla="*/ 21548 h 61"/>
                <a:gd name="T28" fmla="*/ 52419 w 149"/>
                <a:gd name="T29" fmla="*/ 30917 h 61"/>
                <a:gd name="T30" fmla="*/ 52419 w 149"/>
                <a:gd name="T31" fmla="*/ 38412 h 61"/>
                <a:gd name="T32" fmla="*/ 52419 w 149"/>
                <a:gd name="T33" fmla="*/ 45907 h 61"/>
                <a:gd name="T34" fmla="*/ 49436 w 149"/>
                <a:gd name="T35" fmla="*/ 46844 h 61"/>
                <a:gd name="T36" fmla="*/ 46453 w 149"/>
                <a:gd name="T37" fmla="*/ 47781 h 61"/>
                <a:gd name="T38" fmla="*/ 44322 w 149"/>
                <a:gd name="T39" fmla="*/ 49655 h 61"/>
                <a:gd name="T40" fmla="*/ 42617 w 149"/>
                <a:gd name="T41" fmla="*/ 51529 h 61"/>
                <a:gd name="T42" fmla="*/ 40060 w 149"/>
                <a:gd name="T43" fmla="*/ 53402 h 61"/>
                <a:gd name="T44" fmla="*/ 37930 w 149"/>
                <a:gd name="T45" fmla="*/ 55276 h 61"/>
                <a:gd name="T46" fmla="*/ 35372 w 149"/>
                <a:gd name="T47" fmla="*/ 57150 h 61"/>
                <a:gd name="T48" fmla="*/ 32389 w 149"/>
                <a:gd name="T49" fmla="*/ 57150 h 61"/>
                <a:gd name="T50" fmla="*/ 28554 w 149"/>
                <a:gd name="T51" fmla="*/ 56213 h 61"/>
                <a:gd name="T52" fmla="*/ 22587 w 149"/>
                <a:gd name="T53" fmla="*/ 53402 h 61"/>
                <a:gd name="T54" fmla="*/ 16621 w 149"/>
                <a:gd name="T55" fmla="*/ 50592 h 61"/>
                <a:gd name="T56" fmla="*/ 10654 w 149"/>
                <a:gd name="T57" fmla="*/ 45907 h 61"/>
                <a:gd name="T58" fmla="*/ 5114 w 149"/>
                <a:gd name="T59" fmla="*/ 42160 h 61"/>
                <a:gd name="T60" fmla="*/ 1279 w 149"/>
                <a:gd name="T61" fmla="*/ 38412 h 61"/>
                <a:gd name="T62" fmla="*/ 426 w 149"/>
                <a:gd name="T63" fmla="*/ 36539 h 61"/>
                <a:gd name="T64" fmla="*/ 0 w 149"/>
                <a:gd name="T65" fmla="*/ 35602 h 61"/>
                <a:gd name="T66" fmla="*/ 0 w 149"/>
                <a:gd name="T67" fmla="*/ 34665 h 61"/>
                <a:gd name="T68" fmla="*/ 1279 w 149"/>
                <a:gd name="T69" fmla="*/ 34665 h 61"/>
                <a:gd name="T70" fmla="*/ 8097 w 149"/>
                <a:gd name="T71" fmla="*/ 33728 h 61"/>
                <a:gd name="T72" fmla="*/ 14916 w 149"/>
                <a:gd name="T73" fmla="*/ 32791 h 61"/>
                <a:gd name="T74" fmla="*/ 20456 w 149"/>
                <a:gd name="T75" fmla="*/ 29980 h 61"/>
                <a:gd name="T76" fmla="*/ 25570 w 149"/>
                <a:gd name="T77" fmla="*/ 25296 h 61"/>
                <a:gd name="T78" fmla="*/ 30685 w 149"/>
                <a:gd name="T79" fmla="*/ 20611 h 61"/>
                <a:gd name="T80" fmla="*/ 34946 w 149"/>
                <a:gd name="T81" fmla="*/ 14990 h 61"/>
                <a:gd name="T82" fmla="*/ 39634 w 149"/>
                <a:gd name="T83" fmla="*/ 7495 h 61"/>
                <a:gd name="T84" fmla="*/ 43896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  <p:sp>
          <p:nvSpPr>
            <p:cNvPr id="382" name="Freeform 550">
              <a:extLst>
                <a:ext uri="{FF2B5EF4-FFF2-40B4-BE49-F238E27FC236}">
                  <a16:creationId xmlns:a16="http://schemas.microsoft.com/office/drawing/2014/main" xmlns="" id="{5A7DCAEE-A0F1-A8DA-5045-B21AE5870ADB}"/>
                </a:ext>
              </a:extLst>
            </p:cNvPr>
            <p:cNvSpPr>
              <a:spLocks/>
            </p:cNvSpPr>
            <p:nvPr>
              <p:custDataLst>
                <p:tags r:id="rId378"/>
              </p:custDataLst>
            </p:nvPr>
          </p:nvSpPr>
          <p:spPr bwMode="auto">
            <a:xfrm>
              <a:off x="4959576" y="877595"/>
              <a:ext cx="112617" cy="41835"/>
            </a:xfrm>
            <a:custGeom>
              <a:avLst/>
              <a:gdLst>
                <a:gd name="T0" fmla="*/ 57904 w 299"/>
                <a:gd name="T1" fmla="*/ 55605 h 74"/>
                <a:gd name="T2" fmla="*/ 67047 w 299"/>
                <a:gd name="T3" fmla="*/ 50199 h 74"/>
                <a:gd name="T4" fmla="*/ 77495 w 299"/>
                <a:gd name="T5" fmla="*/ 41704 h 74"/>
                <a:gd name="T6" fmla="*/ 86638 w 299"/>
                <a:gd name="T7" fmla="*/ 32436 h 74"/>
                <a:gd name="T8" fmla="*/ 90121 w 299"/>
                <a:gd name="T9" fmla="*/ 30892 h 74"/>
                <a:gd name="T10" fmla="*/ 91863 w 299"/>
                <a:gd name="T11" fmla="*/ 35526 h 74"/>
                <a:gd name="T12" fmla="*/ 95781 w 299"/>
                <a:gd name="T13" fmla="*/ 39387 h 74"/>
                <a:gd name="T14" fmla="*/ 105794 w 299"/>
                <a:gd name="T15" fmla="*/ 42476 h 74"/>
                <a:gd name="T16" fmla="*/ 117114 w 299"/>
                <a:gd name="T17" fmla="*/ 42476 h 74"/>
                <a:gd name="T18" fmla="*/ 124515 w 299"/>
                <a:gd name="T19" fmla="*/ 42476 h 74"/>
                <a:gd name="T20" fmla="*/ 127563 w 299"/>
                <a:gd name="T21" fmla="*/ 35526 h 74"/>
                <a:gd name="T22" fmla="*/ 129740 w 299"/>
                <a:gd name="T23" fmla="*/ 23941 h 74"/>
                <a:gd name="T24" fmla="*/ 121468 w 299"/>
                <a:gd name="T25" fmla="*/ 19307 h 74"/>
                <a:gd name="T26" fmla="*/ 106230 w 299"/>
                <a:gd name="T27" fmla="*/ 19307 h 74"/>
                <a:gd name="T28" fmla="*/ 97958 w 299"/>
                <a:gd name="T29" fmla="*/ 19307 h 74"/>
                <a:gd name="T30" fmla="*/ 93169 w 299"/>
                <a:gd name="T31" fmla="*/ 20852 h 74"/>
                <a:gd name="T32" fmla="*/ 88815 w 299"/>
                <a:gd name="T33" fmla="*/ 25486 h 74"/>
                <a:gd name="T34" fmla="*/ 74883 w 299"/>
                <a:gd name="T35" fmla="*/ 28575 h 74"/>
                <a:gd name="T36" fmla="*/ 76625 w 299"/>
                <a:gd name="T37" fmla="*/ 21624 h 74"/>
                <a:gd name="T38" fmla="*/ 78366 w 299"/>
                <a:gd name="T39" fmla="*/ 16218 h 74"/>
                <a:gd name="T40" fmla="*/ 84461 w 299"/>
                <a:gd name="T41" fmla="*/ 10040 h 74"/>
                <a:gd name="T42" fmla="*/ 91427 w 299"/>
                <a:gd name="T43" fmla="*/ 6951 h 74"/>
                <a:gd name="T44" fmla="*/ 97958 w 299"/>
                <a:gd name="T45" fmla="*/ 0 h 74"/>
                <a:gd name="T46" fmla="*/ 80543 w 299"/>
                <a:gd name="T47" fmla="*/ 2317 h 74"/>
                <a:gd name="T48" fmla="*/ 68353 w 299"/>
                <a:gd name="T49" fmla="*/ 8495 h 74"/>
                <a:gd name="T50" fmla="*/ 58339 w 299"/>
                <a:gd name="T51" fmla="*/ 19307 h 74"/>
                <a:gd name="T52" fmla="*/ 49632 w 299"/>
                <a:gd name="T53" fmla="*/ 30892 h 74"/>
                <a:gd name="T54" fmla="*/ 43537 w 299"/>
                <a:gd name="T55" fmla="*/ 40932 h 74"/>
                <a:gd name="T56" fmla="*/ 37877 w 299"/>
                <a:gd name="T57" fmla="*/ 45566 h 74"/>
                <a:gd name="T58" fmla="*/ 27864 w 299"/>
                <a:gd name="T59" fmla="*/ 48655 h 74"/>
                <a:gd name="T60" fmla="*/ 13932 w 299"/>
                <a:gd name="T61" fmla="*/ 49427 h 74"/>
                <a:gd name="T62" fmla="*/ 5224 w 299"/>
                <a:gd name="T63" fmla="*/ 51744 h 74"/>
                <a:gd name="T64" fmla="*/ 871 w 299"/>
                <a:gd name="T65" fmla="*/ 54061 h 74"/>
                <a:gd name="T66" fmla="*/ 16979 w 299"/>
                <a:gd name="T67" fmla="*/ 57150 h 74"/>
                <a:gd name="T68" fmla="*/ 44408 w 299"/>
                <a:gd name="T69" fmla="*/ 57150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ES_tradnl"/>
            </a:p>
          </p:txBody>
        </p:sp>
      </p:grpSp>
      <p:pic>
        <p:nvPicPr>
          <p:cNvPr id="549" name="A68F3214-CA98-471B-86E6-3517698FD8A5" descr="cid:61A12279-98D3-400C-8B5A-8AD9956B2630">
            <a:extLst>
              <a:ext uri="{FF2B5EF4-FFF2-40B4-BE49-F238E27FC236}">
                <a16:creationId xmlns:a16="http://schemas.microsoft.com/office/drawing/2014/main" xmlns="" id="{8839DE11-A696-1164-E9E2-03184C4388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1" r:link="rId38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6843" y="1321919"/>
            <a:ext cx="739096" cy="739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0" name="FC0CE856-0C99-4D0A-8D86-B0559F748337" descr="cid:3FD6EDC1-F5D4-43CB-966B-BB807AA9EED0">
            <a:extLst>
              <a:ext uri="{FF2B5EF4-FFF2-40B4-BE49-F238E27FC236}">
                <a16:creationId xmlns:a16="http://schemas.microsoft.com/office/drawing/2014/main" xmlns="" id="{C6217201-8C91-2343-8128-BE0E44CB50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3" r:link="rId38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3408" y="2295935"/>
            <a:ext cx="798438" cy="7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1" name="66460842-3BDB-4C12-861A-91B9E1F76E8C" descr="B6B13515-042F-4DD0-840C-BB68393E2F92">
            <a:extLst>
              <a:ext uri="{FF2B5EF4-FFF2-40B4-BE49-F238E27FC236}">
                <a16:creationId xmlns:a16="http://schemas.microsoft.com/office/drawing/2014/main" xmlns="" id="{77C4C4A5-3000-4648-6005-351FC9F47C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4223" y="1543631"/>
            <a:ext cx="559061" cy="5590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2" name="7F07CE81-8B96-447F-98FF-C29F763BF226" descr="cid:C183DBC1-6B05-48FA-BDA3-B98A2B4F90FC">
            <a:extLst>
              <a:ext uri="{FF2B5EF4-FFF2-40B4-BE49-F238E27FC236}">
                <a16:creationId xmlns:a16="http://schemas.microsoft.com/office/drawing/2014/main" xmlns="" id="{C793096F-B241-2125-9A41-F176F4B125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6" r:link="rId38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9926" y="1802243"/>
            <a:ext cx="708936" cy="708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3" name="E84BB4A9-67FC-4D0E-8B59-81C302DDEA6F" descr="F7C2B9A8-404B-4774-A48F-F50A5CD9E8F6">
            <a:extLst>
              <a:ext uri="{FF2B5EF4-FFF2-40B4-BE49-F238E27FC236}">
                <a16:creationId xmlns:a16="http://schemas.microsoft.com/office/drawing/2014/main" xmlns="" id="{2F695CC1-8440-BD44-C76A-4686E141E4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0729" y="1241786"/>
            <a:ext cx="748496" cy="748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4" name="Picture 3">
            <a:extLst>
              <a:ext uri="{FF2B5EF4-FFF2-40B4-BE49-F238E27FC236}">
                <a16:creationId xmlns:a16="http://schemas.microsoft.com/office/drawing/2014/main" xmlns="" id="{1BCC6B33-08A5-EF60-722E-6A9E4AE8BA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5948" y="3054396"/>
            <a:ext cx="650936" cy="659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5" name="Picture 4">
            <a:extLst>
              <a:ext uri="{FF2B5EF4-FFF2-40B4-BE49-F238E27FC236}">
                <a16:creationId xmlns:a16="http://schemas.microsoft.com/office/drawing/2014/main" xmlns="" id="{907B2071-4F5F-1AE3-6DDC-44D5A5EB21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9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7580" y="2848445"/>
            <a:ext cx="563236" cy="574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6" name="Picture 5">
            <a:extLst>
              <a:ext uri="{FF2B5EF4-FFF2-40B4-BE49-F238E27FC236}">
                <a16:creationId xmlns:a16="http://schemas.microsoft.com/office/drawing/2014/main" xmlns="" id="{76154413-D44A-F05C-8D82-ECB37CA028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9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4250" y="2367304"/>
            <a:ext cx="566566" cy="5717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7" name="Picture 6">
            <a:extLst>
              <a:ext uri="{FF2B5EF4-FFF2-40B4-BE49-F238E27FC236}">
                <a16:creationId xmlns:a16="http://schemas.microsoft.com/office/drawing/2014/main" xmlns="" id="{37D40BC0-DBED-C93D-6A45-7B74B02BA2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9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9412" y="1654245"/>
            <a:ext cx="572092" cy="5873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58" name="10 CuadroTexto">
            <a:extLst>
              <a:ext uri="{FF2B5EF4-FFF2-40B4-BE49-F238E27FC236}">
                <a16:creationId xmlns:a16="http://schemas.microsoft.com/office/drawing/2014/main" xmlns="" id="{D9E484F0-0EAD-2115-04EF-60C6E99EDBE0}"/>
              </a:ext>
            </a:extLst>
          </p:cNvPr>
          <p:cNvSpPr txBox="1"/>
          <p:nvPr/>
        </p:nvSpPr>
        <p:spPr>
          <a:xfrm>
            <a:off x="172451" y="3709646"/>
            <a:ext cx="87003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 b="1" dirty="0">
                <a:solidFill>
                  <a:schemeClr val="accent2">
                    <a:lumMod val="75000"/>
                  </a:schemeClr>
                </a:solidFill>
              </a:rPr>
              <a:t>Oficinas                           en:</a:t>
            </a:r>
          </a:p>
          <a:p>
            <a:pPr algn="ctr"/>
            <a:r>
              <a:rPr lang="es-ES" sz="1600" b="1" dirty="0">
                <a:solidFill>
                  <a:schemeClr val="accent2">
                    <a:lumMod val="75000"/>
                  </a:schemeClr>
                </a:solidFill>
              </a:rPr>
              <a:t> Japón, Corea del Sur, China, India</a:t>
            </a:r>
            <a:r>
              <a:rPr lang="es-ES" sz="1600" dirty="0">
                <a:solidFill>
                  <a:schemeClr val="accent2">
                    <a:lumMod val="75000"/>
                  </a:schemeClr>
                </a:solidFill>
              </a:rPr>
              <a:t>, </a:t>
            </a:r>
            <a:r>
              <a:rPr lang="es-ES" sz="1600" b="1" dirty="0">
                <a:solidFill>
                  <a:schemeClr val="accent2">
                    <a:lumMod val="75000"/>
                  </a:schemeClr>
                </a:solidFill>
              </a:rPr>
              <a:t>EEUU, Marruecos, Chile, Brasil, México (además de Bruselas)</a:t>
            </a:r>
          </a:p>
          <a:p>
            <a:pPr algn="ctr"/>
            <a:r>
              <a:rPr lang="es-ES" sz="1600" b="1" dirty="0">
                <a:solidFill>
                  <a:schemeClr val="accent6"/>
                </a:solidFill>
              </a:rPr>
              <a:t>Convenio CDTI con Ministerio de Asuntos Exteriores, Unión Europea y Cooperación </a:t>
            </a:r>
            <a:endParaRPr lang="es-ES" sz="1600" dirty="0">
              <a:solidFill>
                <a:schemeClr val="accent6"/>
              </a:solidFill>
            </a:endParaRPr>
          </a:p>
        </p:txBody>
      </p:sp>
      <p:pic>
        <p:nvPicPr>
          <p:cNvPr id="559" name="Imagen 558">
            <a:extLst>
              <a:ext uri="{FF2B5EF4-FFF2-40B4-BE49-F238E27FC236}">
                <a16:creationId xmlns:a16="http://schemas.microsoft.com/office/drawing/2014/main" xmlns="" id="{87A0A0B6-D732-AD92-44DE-362E98BD2FDC}"/>
              </a:ext>
            </a:extLst>
          </p:cNvPr>
          <p:cNvPicPr>
            <a:picLocks noChangeAspect="1"/>
          </p:cNvPicPr>
          <p:nvPr/>
        </p:nvPicPr>
        <p:blipFill>
          <a:blip r:embed="rId393"/>
          <a:stretch>
            <a:fillRect/>
          </a:stretch>
        </p:blipFill>
        <p:spPr>
          <a:xfrm>
            <a:off x="4281484" y="3519725"/>
            <a:ext cx="792130" cy="458390"/>
          </a:xfrm>
          <a:prstGeom prst="rect">
            <a:avLst/>
          </a:prstGeom>
        </p:spPr>
      </p:pic>
      <p:sp>
        <p:nvSpPr>
          <p:cNvPr id="561" name="Marcador de texto 5">
            <a:extLst>
              <a:ext uri="{FF2B5EF4-FFF2-40B4-BE49-F238E27FC236}">
                <a16:creationId xmlns:a16="http://schemas.microsoft.com/office/drawing/2014/main" xmlns="" id="{5304669D-A447-330F-9C79-BAB28C6A0E1D}"/>
              </a:ext>
            </a:extLst>
          </p:cNvPr>
          <p:cNvSpPr txBox="1">
            <a:spLocks/>
          </p:cNvSpPr>
          <p:nvPr/>
        </p:nvSpPr>
        <p:spPr>
          <a:xfrm>
            <a:off x="1103224" y="102528"/>
            <a:ext cx="7111830" cy="40663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36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342887" indent="0" algn="l" defTabSz="914400" rtl="0" eaLnBrk="1" latinLnBrk="0" hangingPunct="1">
              <a:spcBef>
                <a:spcPct val="20000"/>
              </a:spcBef>
              <a:buFontTx/>
              <a:buNone/>
              <a:defRPr sz="21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685773" indent="0" algn="l" defTabSz="914400" rtl="0" eaLnBrk="1" latinLnBrk="0" hangingPunct="1">
              <a:spcBef>
                <a:spcPct val="20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59" indent="0" algn="l" defTabSz="914400" rtl="0" eaLnBrk="1" latinLnBrk="0" hangingPunct="1">
              <a:spcBef>
                <a:spcPct val="2000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45" indent="0" algn="l" defTabSz="914400" rtl="0" eaLnBrk="1" latinLnBrk="0" hangingPunct="1">
              <a:spcBef>
                <a:spcPct val="2000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_tradnl" sz="2700" dirty="0">
                <a:solidFill>
                  <a:srgbClr val="1DB5DE"/>
                </a:solidFill>
              </a:rPr>
              <a:t>Apoyo Red Exterior CDTI</a:t>
            </a:r>
          </a:p>
        </p:txBody>
      </p:sp>
    </p:spTree>
    <p:extLst>
      <p:ext uri="{BB962C8B-B14F-4D97-AF65-F5344CB8AC3E}">
        <p14:creationId xmlns:p14="http://schemas.microsoft.com/office/powerpoint/2010/main" val="219192939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8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07D090CB-FDC8-8E55-3844-B1E7406FF2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6585" y="4506965"/>
            <a:ext cx="1485165" cy="556482"/>
          </a:xfrm>
          <a:prstGeom prst="rect">
            <a:avLst/>
          </a:prstGeom>
        </p:spPr>
      </p:pic>
      <p:pic>
        <p:nvPicPr>
          <p:cNvPr id="4" name="Picture 4">
            <a:extLst>
              <a:ext uri="{FF2B5EF4-FFF2-40B4-BE49-F238E27FC236}">
                <a16:creationId xmlns:a16="http://schemas.microsoft.com/office/drawing/2014/main" xmlns="" id="{4946BD1A-FCC6-AFDF-A75B-11E54004B8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73016" y="858656"/>
            <a:ext cx="3110627" cy="3627470"/>
          </a:xfrm>
          <a:prstGeom prst="rect">
            <a:avLst/>
          </a:prstGeom>
          <a:ln w="12700">
            <a:solidFill>
              <a:srgbClr val="161949"/>
            </a:solidFill>
          </a:ln>
        </p:spPr>
      </p:pic>
      <p:sp>
        <p:nvSpPr>
          <p:cNvPr id="6" name="TextBox 6">
            <a:extLst>
              <a:ext uri="{FF2B5EF4-FFF2-40B4-BE49-F238E27FC236}">
                <a16:creationId xmlns:a16="http://schemas.microsoft.com/office/drawing/2014/main" xmlns="" id="{1DF20F74-1FBA-FA6C-B121-E0ECD4EE47FE}"/>
              </a:ext>
            </a:extLst>
          </p:cNvPr>
          <p:cNvSpPr txBox="1"/>
          <p:nvPr/>
        </p:nvSpPr>
        <p:spPr>
          <a:xfrm>
            <a:off x="1016605" y="2032013"/>
            <a:ext cx="3236787" cy="40011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GB" sz="2000" b="1" dirty="0">
                <a:solidFill>
                  <a:srgbClr val="1DB5DE"/>
                </a:solidFill>
                <a:latin typeface="Inconsolata" panose="00000509000000000000" pitchFamily="49" charset="0"/>
                <a:hlinkClick r:id="rId4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Innowwide/partner-search </a:t>
            </a:r>
            <a:endParaRPr lang="aa-ET" sz="2000" b="1" dirty="0">
              <a:solidFill>
                <a:srgbClr val="1DB5DE"/>
              </a:solidFill>
              <a:latin typeface="Inconsolata" panose="00000509000000000000" pitchFamily="49" charset="0"/>
            </a:endParaRPr>
          </a:p>
        </p:txBody>
      </p:sp>
      <p:sp>
        <p:nvSpPr>
          <p:cNvPr id="7" name="Marcador de texto 5">
            <a:extLst>
              <a:ext uri="{FF2B5EF4-FFF2-40B4-BE49-F238E27FC236}">
                <a16:creationId xmlns:a16="http://schemas.microsoft.com/office/drawing/2014/main" xmlns="" id="{A43A1CC1-03A9-E86B-D21F-FD6407E087C7}"/>
              </a:ext>
            </a:extLst>
          </p:cNvPr>
          <p:cNvSpPr txBox="1">
            <a:spLocks/>
          </p:cNvSpPr>
          <p:nvPr/>
        </p:nvSpPr>
        <p:spPr>
          <a:xfrm>
            <a:off x="1286635" y="237058"/>
            <a:ext cx="7111830" cy="40663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36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342887" indent="0" algn="l" defTabSz="914400" rtl="0" eaLnBrk="1" latinLnBrk="0" hangingPunct="1">
              <a:spcBef>
                <a:spcPct val="20000"/>
              </a:spcBef>
              <a:buFontTx/>
              <a:buNone/>
              <a:defRPr sz="21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685773" indent="0" algn="l" defTabSz="914400" rtl="0" eaLnBrk="1" latinLnBrk="0" hangingPunct="1">
              <a:spcBef>
                <a:spcPct val="20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59" indent="0" algn="l" defTabSz="914400" rtl="0" eaLnBrk="1" latinLnBrk="0" hangingPunct="1">
              <a:spcBef>
                <a:spcPct val="2000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45" indent="0" algn="l" defTabSz="914400" rtl="0" eaLnBrk="1" latinLnBrk="0" hangingPunct="1">
              <a:spcBef>
                <a:spcPct val="2000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_tradnl" sz="2700" dirty="0">
                <a:solidFill>
                  <a:srgbClr val="1DB5DE"/>
                </a:solidFill>
              </a:rPr>
              <a:t>Recomendaciones: </a:t>
            </a:r>
            <a:r>
              <a:rPr lang="es-ES_tradnl" sz="2700" dirty="0" err="1">
                <a:solidFill>
                  <a:srgbClr val="1DB5DE"/>
                </a:solidFill>
              </a:rPr>
              <a:t>Partner</a:t>
            </a:r>
            <a:r>
              <a:rPr lang="es-ES_tradnl" sz="2700" dirty="0">
                <a:solidFill>
                  <a:srgbClr val="1DB5DE"/>
                </a:solidFill>
              </a:rPr>
              <a:t> </a:t>
            </a:r>
            <a:r>
              <a:rPr lang="es-ES_tradnl" sz="2700" dirty="0" err="1">
                <a:solidFill>
                  <a:srgbClr val="1DB5DE"/>
                </a:solidFill>
              </a:rPr>
              <a:t>Search</a:t>
            </a:r>
            <a:endParaRPr lang="es-ES_tradnl" sz="2700" dirty="0">
              <a:solidFill>
                <a:srgbClr val="1DB5D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7740658"/>
      </p:ext>
    </p:extLst>
  </p:cSld>
  <p:clrMapOvr>
    <a:masterClrMapping/>
  </p:clrMapOvr>
  <p:transition spd="slow">
    <p:push dir="u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1" name="Rectangle 2"/>
          <p:cNvSpPr>
            <a:spLocks noChangeArrowheads="1"/>
          </p:cNvSpPr>
          <p:nvPr/>
        </p:nvSpPr>
        <p:spPr bwMode="auto">
          <a:xfrm>
            <a:off x="962564" y="330607"/>
            <a:ext cx="6763810" cy="28917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spcBef>
                <a:spcPct val="20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buFontTx/>
              <a:buNone/>
              <a:defRPr/>
            </a:pPr>
            <a:r>
              <a:rPr lang="es-ES_tradnl" altLang="es-ES_tradnl" sz="3600" b="1" dirty="0">
                <a:solidFill>
                  <a:schemeClr val="tx2"/>
                </a:solidFill>
                <a:ea typeface="+mj-ea"/>
                <a:cs typeface="Calibri" panose="020F0502020204030204" pitchFamily="34" charset="0"/>
              </a:rPr>
              <a:t>Gracias por su atención</a:t>
            </a:r>
          </a:p>
          <a:p>
            <a:pPr algn="ctr">
              <a:buNone/>
              <a:defRPr/>
            </a:pPr>
            <a:endParaRPr lang="es-ES" altLang="es-ES" sz="2400" b="1" dirty="0">
              <a:solidFill>
                <a:srgbClr val="2F6EBB"/>
              </a:solidFill>
            </a:endParaRPr>
          </a:p>
          <a:p>
            <a:pPr algn="ctr">
              <a:buFontTx/>
              <a:buNone/>
              <a:defRPr/>
            </a:pPr>
            <a:endParaRPr lang="es-ES_tradnl" altLang="es-ES_tradnl" sz="2600" b="0" dirty="0">
              <a:solidFill>
                <a:schemeClr val="accent2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algn="ctr">
              <a:buFontTx/>
              <a:buNone/>
              <a:defRPr/>
            </a:pPr>
            <a:r>
              <a:rPr lang="es-ES_tradnl" altLang="es-ES_tradnl" sz="3200" dirty="0">
                <a:solidFill>
                  <a:srgbClr val="2F6EBB"/>
                </a:solidFill>
                <a:latin typeface="Arial Narrow" pitchFamily="34" charset="0"/>
              </a:rPr>
              <a:t>  </a:t>
            </a:r>
            <a:endParaRPr lang="es-ES_tradnl" altLang="es-ES_tradnl" sz="3000" b="0" dirty="0">
              <a:solidFill>
                <a:srgbClr val="000099"/>
              </a:solidFill>
              <a:latin typeface="Arial Narrow" pitchFamily="34" charset="0"/>
            </a:endParaRPr>
          </a:p>
          <a:p>
            <a:pPr algn="ctr">
              <a:buFontTx/>
              <a:buNone/>
              <a:defRPr/>
            </a:pPr>
            <a:endParaRPr lang="es-ES" altLang="es-ES_tradnl" sz="3200" b="0" dirty="0">
              <a:solidFill>
                <a:srgbClr val="000099"/>
              </a:solidFill>
              <a:latin typeface="Arial Narrow" pitchFamily="34" charset="0"/>
            </a:endParaRPr>
          </a:p>
        </p:txBody>
      </p:sp>
      <p:sp>
        <p:nvSpPr>
          <p:cNvPr id="3" name="2 Rectángulo"/>
          <p:cNvSpPr/>
          <p:nvPr/>
        </p:nvSpPr>
        <p:spPr>
          <a:xfrm>
            <a:off x="1072551" y="3838144"/>
            <a:ext cx="664008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s-ES_tradnl" sz="2400" b="1" i="1" dirty="0">
                <a:solidFill>
                  <a:srgbClr val="013A81"/>
                </a:solidFill>
                <a:ea typeface="MS PGothic" pitchFamily="34" charset="-128"/>
              </a:rPr>
              <a:t> </a:t>
            </a:r>
          </a:p>
        </p:txBody>
      </p:sp>
      <p:pic>
        <p:nvPicPr>
          <p:cNvPr id="2" name="1 Imagen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3250" y="1127461"/>
            <a:ext cx="4045441" cy="2275561"/>
          </a:xfrm>
          <a:prstGeom prst="rect">
            <a:avLst/>
          </a:prstGeom>
        </p:spPr>
      </p:pic>
      <p:sp>
        <p:nvSpPr>
          <p:cNvPr id="4" name="3 CuadroTexto"/>
          <p:cNvSpPr txBox="1"/>
          <p:nvPr/>
        </p:nvSpPr>
        <p:spPr>
          <a:xfrm rot="19775544">
            <a:off x="3502944" y="1711663"/>
            <a:ext cx="246734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 algn="ctr" eaLnBrk="0" hangingPunct="0">
              <a:spcBef>
                <a:spcPct val="20000"/>
              </a:spcBef>
              <a:defRPr/>
            </a:pPr>
            <a:r>
              <a:rPr lang="es-ES" sz="3200" b="1" i="1" dirty="0">
                <a:solidFill>
                  <a:srgbClr val="013A81"/>
                </a:solidFill>
                <a:ea typeface="MS PGothic" pitchFamily="34" charset="-128"/>
              </a:rPr>
              <a:t>Un paso más 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3649806B-46EE-7D38-E735-AB66EEA01DD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2564" y="4523945"/>
            <a:ext cx="1347882" cy="505043"/>
          </a:xfrm>
          <a:prstGeom prst="rect">
            <a:avLst/>
          </a:prstGeom>
        </p:spPr>
      </p:pic>
      <p:sp>
        <p:nvSpPr>
          <p:cNvPr id="7" name="1 Subtítulo">
            <a:extLst>
              <a:ext uri="{FF2B5EF4-FFF2-40B4-BE49-F238E27FC236}">
                <a16:creationId xmlns:a16="http://schemas.microsoft.com/office/drawing/2014/main" xmlns="" id="{5D5027FC-25E6-B660-B1D3-D29F42F12391}"/>
              </a:ext>
            </a:extLst>
          </p:cNvPr>
          <p:cNvSpPr txBox="1">
            <a:spLocks/>
          </p:cNvSpPr>
          <p:nvPr/>
        </p:nvSpPr>
        <p:spPr>
          <a:xfrm>
            <a:off x="3200669" y="3547497"/>
            <a:ext cx="2586466" cy="752312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0" indent="0" algn="r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2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ES_tradnl" sz="2400" dirty="0">
                <a:solidFill>
                  <a:srgbClr val="057CFF"/>
                </a:solidFill>
                <a:latin typeface="+mj-lt"/>
                <a:ea typeface="+mj-ea"/>
                <a:cs typeface="+mj-cs"/>
                <a:hlinkClick r:id="rId5"/>
              </a:rPr>
              <a:t>eurostars3@cdti.es</a:t>
            </a:r>
            <a:endParaRPr lang="es-ES_tradnl" sz="2400" dirty="0">
              <a:solidFill>
                <a:srgbClr val="057CFF"/>
              </a:solidFill>
              <a:latin typeface="+mj-lt"/>
              <a:ea typeface="+mj-ea"/>
              <a:cs typeface="+mj-cs"/>
            </a:endParaRPr>
          </a:p>
          <a:p>
            <a:pPr algn="ctr"/>
            <a:r>
              <a:rPr lang="es-ES_tradnl" sz="2400" dirty="0">
                <a:solidFill>
                  <a:srgbClr val="057CFF"/>
                </a:solidFill>
                <a:latin typeface="+mj-lt"/>
                <a:ea typeface="+mj-ea"/>
                <a:cs typeface="+mj-cs"/>
                <a:hlinkClick r:id="rId6"/>
              </a:rPr>
              <a:t>luis.tejero@cdti.es</a:t>
            </a:r>
            <a:r>
              <a:rPr lang="es-ES_tradnl" sz="2400" dirty="0">
                <a:solidFill>
                  <a:srgbClr val="057CFF"/>
                </a:solidFill>
                <a:latin typeface="+mj-lt"/>
                <a:ea typeface="+mj-ea"/>
                <a:cs typeface="+mj-cs"/>
              </a:rPr>
              <a:t>  </a:t>
            </a:r>
          </a:p>
          <a:p>
            <a:pPr algn="l"/>
            <a:endParaRPr lang="es-ES_tradnl" sz="2400" dirty="0">
              <a:solidFill>
                <a:srgbClr val="057C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xmlns="" id="{610462E3-BF48-5574-DC46-42F0D30499F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1520" y="3667831"/>
            <a:ext cx="2166124" cy="631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7582749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16">
            <a:extLst>
              <a:ext uri="{FF2B5EF4-FFF2-40B4-BE49-F238E27FC236}">
                <a16:creationId xmlns:a16="http://schemas.microsoft.com/office/drawing/2014/main" xmlns="" id="{A13F60E5-9D08-DEAD-9A78-A017AE2D303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2017" y="151998"/>
            <a:ext cx="8526177" cy="50783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s-ES"/>
            </a:defPPr>
            <a:lvl1pPr algn="ctr">
              <a:defRPr sz="2400" b="1">
                <a:solidFill>
                  <a:srgbClr val="2F6EBB"/>
                </a:solidFill>
                <a:latin typeface="Calibri" pitchFamily="34" charset="0"/>
                <a:cs typeface="Arial" charset="0"/>
              </a:defRPr>
            </a:lvl1pPr>
            <a:lvl2pPr marL="742950" indent="-285750">
              <a:defRPr>
                <a:latin typeface="Arial" charset="0"/>
                <a:cs typeface="Arial" charset="0"/>
              </a:defRPr>
            </a:lvl2pPr>
            <a:lvl3pPr marL="1143000" indent="-228600">
              <a:defRPr>
                <a:latin typeface="Arial" charset="0"/>
                <a:cs typeface="Arial" charset="0"/>
              </a:defRPr>
            </a:lvl3pPr>
            <a:lvl4pPr marL="1600200" indent="-228600">
              <a:defRPr>
                <a:latin typeface="Arial" charset="0"/>
                <a:cs typeface="Arial" charset="0"/>
              </a:defRPr>
            </a:lvl4pPr>
            <a:lvl5pPr marL="2057400" indent="-228600">
              <a:defRPr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9pPr>
          </a:lstStyle>
          <a:p>
            <a:r>
              <a:rPr lang="es-ES_tradnl" sz="2700" dirty="0">
                <a:ea typeface="+mj-ea"/>
                <a:cs typeface="Calibri" panose="020F0502020204030204" pitchFamily="34" charset="0"/>
              </a:rPr>
              <a:t>Partenariado europeo de pymes innovadoras</a:t>
            </a:r>
          </a:p>
        </p:txBody>
      </p:sp>
      <p:grpSp>
        <p:nvGrpSpPr>
          <p:cNvPr id="2" name="4 Grupo">
            <a:extLst>
              <a:ext uri="{FF2B5EF4-FFF2-40B4-BE49-F238E27FC236}">
                <a16:creationId xmlns:a16="http://schemas.microsoft.com/office/drawing/2014/main" xmlns="" id="{66198D10-2303-84E7-32A0-E2906917264A}"/>
              </a:ext>
            </a:extLst>
          </p:cNvPr>
          <p:cNvGrpSpPr/>
          <p:nvPr/>
        </p:nvGrpSpPr>
        <p:grpSpPr>
          <a:xfrm>
            <a:off x="566555" y="1130000"/>
            <a:ext cx="8121265" cy="1257966"/>
            <a:chOff x="287744" y="929949"/>
            <a:chExt cx="8121265" cy="1257966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xmlns="" id="{3CB9B5B7-2A5A-18CE-ED74-DE2A9B4236DF}"/>
                </a:ext>
              </a:extLst>
            </p:cNvPr>
            <p:cNvSpPr/>
            <p:nvPr/>
          </p:nvSpPr>
          <p:spPr>
            <a:xfrm>
              <a:off x="287744" y="1480029"/>
              <a:ext cx="2339657" cy="70788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s-ES_tradnl" sz="1600" dirty="0">
                  <a:solidFill>
                    <a:srgbClr val="2D6BB5"/>
                  </a:solidFill>
                  <a:latin typeface="Arial"/>
                  <a:cs typeface="Arial"/>
                </a:rPr>
                <a:t>Partenariado cofinanciado</a:t>
              </a:r>
              <a:r>
                <a:rPr lang="es-ES" sz="1400" dirty="0">
                  <a:latin typeface="Arial"/>
                  <a:cs typeface="Arial"/>
                </a:rPr>
                <a:t> de Horizonte Europa</a:t>
              </a:r>
              <a:endParaRPr lang="en-GB" sz="1400" dirty="0">
                <a:latin typeface="Arial"/>
                <a:cs typeface="Arial"/>
              </a:endParaRPr>
            </a:p>
          </p:txBody>
        </p:sp>
        <p:sp>
          <p:nvSpPr>
            <p:cNvPr id="5" name="Rectangle 41">
              <a:extLst>
                <a:ext uri="{FF2B5EF4-FFF2-40B4-BE49-F238E27FC236}">
                  <a16:creationId xmlns:a16="http://schemas.microsoft.com/office/drawing/2014/main" xmlns="" id="{DDC0F13B-7D76-43AF-F59F-34AD816B1CEC}"/>
                </a:ext>
              </a:extLst>
            </p:cNvPr>
            <p:cNvSpPr/>
            <p:nvPr/>
          </p:nvSpPr>
          <p:spPr>
            <a:xfrm>
              <a:off x="2872713" y="1486731"/>
              <a:ext cx="2435825" cy="49244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s-ES_tradnl" sz="1600" dirty="0">
                  <a:solidFill>
                    <a:srgbClr val="2D6BB5"/>
                  </a:solidFill>
                  <a:latin typeface="Arial"/>
                  <a:cs typeface="Arial"/>
                </a:rPr>
                <a:t>Pymes innovadoras </a:t>
              </a:r>
              <a:r>
                <a:rPr lang="es-ES_tradnl" sz="1600" dirty="0">
                  <a:latin typeface="Arial"/>
                  <a:cs typeface="Arial"/>
                </a:rPr>
                <a:t>en</a:t>
              </a:r>
              <a:r>
                <a:rPr lang="es-ES_tradnl" sz="1600" dirty="0">
                  <a:solidFill>
                    <a:srgbClr val="2D6BB5"/>
                  </a:solidFill>
                  <a:latin typeface="Arial"/>
                  <a:cs typeface="Arial"/>
                </a:rPr>
                <a:t> cooperación internacional</a:t>
              </a:r>
              <a:endParaRPr lang="en-US" sz="1600" dirty="0">
                <a:solidFill>
                  <a:srgbClr val="2D6BB5"/>
                </a:solidFill>
                <a:latin typeface="Arial"/>
                <a:cs typeface="Arial"/>
              </a:endParaRPr>
            </a:p>
          </p:txBody>
        </p:sp>
        <p:cxnSp>
          <p:nvCxnSpPr>
            <p:cNvPr id="6" name="Straight Connector 29">
              <a:extLst>
                <a:ext uri="{FF2B5EF4-FFF2-40B4-BE49-F238E27FC236}">
                  <a16:creationId xmlns:a16="http://schemas.microsoft.com/office/drawing/2014/main" xmlns="" id="{83DDEC7F-25D9-6BFE-EAF2-B1C5AE96F5BE}"/>
                </a:ext>
              </a:extLst>
            </p:cNvPr>
            <p:cNvCxnSpPr/>
            <p:nvPr/>
          </p:nvCxnSpPr>
          <p:spPr>
            <a:xfrm>
              <a:off x="287744" y="1385833"/>
              <a:ext cx="2126320" cy="6702"/>
            </a:xfrm>
            <a:prstGeom prst="line">
              <a:avLst/>
            </a:prstGeom>
            <a:ln w="31750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46">
              <a:extLst>
                <a:ext uri="{FF2B5EF4-FFF2-40B4-BE49-F238E27FC236}">
                  <a16:creationId xmlns:a16="http://schemas.microsoft.com/office/drawing/2014/main" xmlns="" id="{98E28FC9-D8A2-53BC-5345-8D445F23A251}"/>
                </a:ext>
              </a:extLst>
            </p:cNvPr>
            <p:cNvCxnSpPr/>
            <p:nvPr/>
          </p:nvCxnSpPr>
          <p:spPr>
            <a:xfrm>
              <a:off x="2751160" y="1369982"/>
              <a:ext cx="2392110" cy="0"/>
            </a:xfrm>
            <a:prstGeom prst="line">
              <a:avLst/>
            </a:prstGeom>
            <a:ln w="31750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Rectangle 50">
              <a:extLst>
                <a:ext uri="{FF2B5EF4-FFF2-40B4-BE49-F238E27FC236}">
                  <a16:creationId xmlns:a16="http://schemas.microsoft.com/office/drawing/2014/main" xmlns="" id="{642E6B79-02E6-57DC-6F81-C788C1944E6E}"/>
                </a:ext>
              </a:extLst>
            </p:cNvPr>
            <p:cNvSpPr/>
            <p:nvPr/>
          </p:nvSpPr>
          <p:spPr>
            <a:xfrm>
              <a:off x="5916045" y="1463691"/>
              <a:ext cx="2176148" cy="70788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sz="1600" dirty="0" err="1">
                  <a:solidFill>
                    <a:srgbClr val="2D6BB5"/>
                  </a:solidFill>
                  <a:latin typeface="Arial"/>
                  <a:cs typeface="Arial"/>
                </a:rPr>
                <a:t>Evaluación</a:t>
              </a:r>
              <a:r>
                <a:rPr lang="en-US" sz="1600" dirty="0">
                  <a:solidFill>
                    <a:srgbClr val="2D6BB5"/>
                  </a:solidFill>
                  <a:latin typeface="Arial"/>
                  <a:cs typeface="Arial"/>
                </a:rPr>
                <a:t> </a:t>
              </a:r>
              <a:r>
                <a:rPr lang="en-US" sz="1600" dirty="0" err="1">
                  <a:solidFill>
                    <a:srgbClr val="2D6BB5"/>
                  </a:solidFill>
                  <a:latin typeface="Arial"/>
                  <a:cs typeface="Arial"/>
                </a:rPr>
                <a:t>centralizada</a:t>
              </a:r>
              <a:r>
                <a:rPr lang="en-US" sz="1600" dirty="0">
                  <a:solidFill>
                    <a:srgbClr val="2D6BB5"/>
                  </a:solidFill>
                  <a:latin typeface="Arial"/>
                  <a:cs typeface="Arial"/>
                </a:rPr>
                <a:t> y </a:t>
              </a:r>
              <a:r>
                <a:rPr lang="en-US" sz="1600" dirty="0" err="1">
                  <a:solidFill>
                    <a:srgbClr val="2D6BB5"/>
                  </a:solidFill>
                  <a:latin typeface="Arial"/>
                  <a:cs typeface="Arial"/>
                </a:rPr>
                <a:t>competitiva</a:t>
              </a:r>
              <a:r>
                <a:rPr lang="en-US" sz="1600" dirty="0">
                  <a:solidFill>
                    <a:srgbClr val="2D6BB5"/>
                  </a:solidFill>
                  <a:latin typeface="Arial"/>
                  <a:cs typeface="Arial"/>
                </a:rPr>
                <a:t/>
              </a:r>
              <a:br>
                <a:rPr lang="en-US" sz="1600" dirty="0">
                  <a:solidFill>
                    <a:srgbClr val="2D6BB5"/>
                  </a:solidFill>
                  <a:latin typeface="Arial"/>
                  <a:cs typeface="Arial"/>
                </a:rPr>
              </a:br>
              <a:endParaRPr lang="en-US" sz="1400" dirty="0">
                <a:solidFill>
                  <a:srgbClr val="2D6BB5"/>
                </a:solidFill>
                <a:latin typeface="Arial"/>
                <a:cs typeface="Arial"/>
              </a:endParaRPr>
            </a:p>
          </p:txBody>
        </p:sp>
        <p:cxnSp>
          <p:nvCxnSpPr>
            <p:cNvPr id="10" name="Straight Connector 46">
              <a:extLst>
                <a:ext uri="{FF2B5EF4-FFF2-40B4-BE49-F238E27FC236}">
                  <a16:creationId xmlns:a16="http://schemas.microsoft.com/office/drawing/2014/main" xmlns="" id="{A2CE49ED-D657-D518-1070-E98DE0B90980}"/>
                </a:ext>
              </a:extLst>
            </p:cNvPr>
            <p:cNvCxnSpPr/>
            <p:nvPr/>
          </p:nvCxnSpPr>
          <p:spPr>
            <a:xfrm>
              <a:off x="5599229" y="1385832"/>
              <a:ext cx="2809780" cy="1"/>
            </a:xfrm>
            <a:prstGeom prst="line">
              <a:avLst/>
            </a:prstGeom>
            <a:ln w="31750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40 CuadroTexto">
              <a:extLst>
                <a:ext uri="{FF2B5EF4-FFF2-40B4-BE49-F238E27FC236}">
                  <a16:creationId xmlns:a16="http://schemas.microsoft.com/office/drawing/2014/main" xmlns="" id="{00FE13C7-6036-A91D-A338-490421CE9F04}"/>
                </a:ext>
              </a:extLst>
            </p:cNvPr>
            <p:cNvSpPr txBox="1"/>
            <p:nvPr/>
          </p:nvSpPr>
          <p:spPr>
            <a:xfrm>
              <a:off x="2872713" y="1034165"/>
              <a:ext cx="174118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_tradnl" sz="1400" i="1" dirty="0" err="1">
                  <a:latin typeface="Lucida Handwriting" panose="03010101010101010101" pitchFamily="66" charset="0"/>
                </a:rPr>
                <a:t>Innovative</a:t>
              </a:r>
              <a:r>
                <a:rPr lang="es-ES_tradnl" sz="1400" i="1" dirty="0">
                  <a:latin typeface="Lucida Handwriting" panose="03010101010101010101" pitchFamily="66" charset="0"/>
                </a:rPr>
                <a:t> SME</a:t>
              </a:r>
            </a:p>
          </p:txBody>
        </p:sp>
        <p:pic>
          <p:nvPicPr>
            <p:cNvPr id="12" name="Picture 2" descr="http://www.informata.com.br/home/_imagens/produtos/modulo-de-cadastro-centralizado_1.jpg">
              <a:extLst>
                <a:ext uri="{FF2B5EF4-FFF2-40B4-BE49-F238E27FC236}">
                  <a16:creationId xmlns:a16="http://schemas.microsoft.com/office/drawing/2014/main" xmlns="" id="{6F91539D-2E34-383C-FBF8-AAD6359672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28598" y="929949"/>
              <a:ext cx="1717232" cy="4178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4" name="Imagen 13" descr="Un dibujo de una cara feliz&#10;&#10;Descripción generada automáticamente con confianza baja">
            <a:extLst>
              <a:ext uri="{FF2B5EF4-FFF2-40B4-BE49-F238E27FC236}">
                <a16:creationId xmlns:a16="http://schemas.microsoft.com/office/drawing/2014/main" xmlns="" id="{EB5D24B5-1FCE-26FB-95F9-CEF63972609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555" y="1149746"/>
            <a:ext cx="884598" cy="318028"/>
          </a:xfrm>
          <a:prstGeom prst="rect">
            <a:avLst/>
          </a:prstGeom>
        </p:spPr>
      </p:pic>
      <p:sp>
        <p:nvSpPr>
          <p:cNvPr id="15" name="30 Rectángulo">
            <a:extLst>
              <a:ext uri="{FF2B5EF4-FFF2-40B4-BE49-F238E27FC236}">
                <a16:creationId xmlns:a16="http://schemas.microsoft.com/office/drawing/2014/main" xmlns="" id="{A6AE532D-8FF4-8467-7709-705157D936E1}"/>
              </a:ext>
            </a:extLst>
          </p:cNvPr>
          <p:cNvSpPr/>
          <p:nvPr/>
        </p:nvSpPr>
        <p:spPr>
          <a:xfrm>
            <a:off x="3131410" y="2797779"/>
            <a:ext cx="5857723" cy="132343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000" dirty="0">
                <a:cs typeface="Arial" panose="020B0604020202020204" pitchFamily="34" charset="0"/>
              </a:rPr>
              <a:t>Proyectos de I+D: </a:t>
            </a:r>
            <a:r>
              <a:rPr lang="es-ES" sz="2000" b="1" dirty="0">
                <a:cs typeface="Arial" panose="020B0604020202020204" pitchFamily="34" charset="0"/>
              </a:rPr>
              <a:t>Eurostars-3</a:t>
            </a:r>
          </a:p>
          <a:p>
            <a:endParaRPr lang="es-ES" sz="2000" b="1" dirty="0">
              <a:cs typeface="Arial" panose="020B0604020202020204" pitchFamily="34" charset="0"/>
            </a:endParaRPr>
          </a:p>
          <a:p>
            <a:r>
              <a:rPr lang="es-ES" sz="2000" dirty="0">
                <a:cs typeface="Arial" panose="020B0604020202020204" pitchFamily="34" charset="0"/>
              </a:rPr>
              <a:t>Acciones de viabilidad en terceros países: </a:t>
            </a:r>
            <a:r>
              <a:rPr lang="es-ES" sz="2000" b="1" dirty="0" err="1">
                <a:cs typeface="Arial" panose="020B0604020202020204" pitchFamily="34" charset="0"/>
              </a:rPr>
              <a:t>InnoWwide</a:t>
            </a:r>
            <a:r>
              <a:rPr lang="es-ES" sz="2000" dirty="0">
                <a:cs typeface="Arial" panose="020B0604020202020204" pitchFamily="34" charset="0"/>
              </a:rPr>
              <a:t>		</a:t>
            </a:r>
          </a:p>
        </p:txBody>
      </p:sp>
      <p:sp>
        <p:nvSpPr>
          <p:cNvPr id="16" name="30 Rectángulo">
            <a:extLst>
              <a:ext uri="{FF2B5EF4-FFF2-40B4-BE49-F238E27FC236}">
                <a16:creationId xmlns:a16="http://schemas.microsoft.com/office/drawing/2014/main" xmlns="" id="{8A7CF451-FE4B-2818-E10A-344DCFE97768}"/>
              </a:ext>
            </a:extLst>
          </p:cNvPr>
          <p:cNvSpPr/>
          <p:nvPr/>
        </p:nvSpPr>
        <p:spPr>
          <a:xfrm>
            <a:off x="222017" y="3128727"/>
            <a:ext cx="3055171" cy="3693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b="1" dirty="0">
                <a:cs typeface="Arial" panose="020B0604020202020204" pitchFamily="34" charset="0"/>
              </a:rPr>
              <a:t>2 grandes instrumentos</a:t>
            </a:r>
          </a:p>
        </p:txBody>
      </p:sp>
      <p:cxnSp>
        <p:nvCxnSpPr>
          <p:cNvPr id="17" name="Conector recto de flecha 16">
            <a:extLst>
              <a:ext uri="{FF2B5EF4-FFF2-40B4-BE49-F238E27FC236}">
                <a16:creationId xmlns:a16="http://schemas.microsoft.com/office/drawing/2014/main" xmlns="" id="{A792B587-A614-5C14-E17C-FC0F0F315327}"/>
              </a:ext>
            </a:extLst>
          </p:cNvPr>
          <p:cNvCxnSpPr>
            <a:cxnSpLocks/>
          </p:cNvCxnSpPr>
          <p:nvPr/>
        </p:nvCxnSpPr>
        <p:spPr>
          <a:xfrm flipV="1">
            <a:off x="2692875" y="3015891"/>
            <a:ext cx="458649" cy="2365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cto de flecha 17">
            <a:extLst>
              <a:ext uri="{FF2B5EF4-FFF2-40B4-BE49-F238E27FC236}">
                <a16:creationId xmlns:a16="http://schemas.microsoft.com/office/drawing/2014/main" xmlns="" id="{499FE5BE-6CBF-332C-0FE3-C207C72D7A0D}"/>
              </a:ext>
            </a:extLst>
          </p:cNvPr>
          <p:cNvCxnSpPr>
            <a:cxnSpLocks/>
          </p:cNvCxnSpPr>
          <p:nvPr/>
        </p:nvCxnSpPr>
        <p:spPr>
          <a:xfrm>
            <a:off x="2681849" y="3383328"/>
            <a:ext cx="449561" cy="22756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Imagen 18">
            <a:extLst>
              <a:ext uri="{FF2B5EF4-FFF2-40B4-BE49-F238E27FC236}">
                <a16:creationId xmlns:a16="http://schemas.microsoft.com/office/drawing/2014/main" xmlns="" id="{396D1620-50C1-A49C-83A1-FFA831783CD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6585" y="4506965"/>
            <a:ext cx="1485165" cy="556482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xmlns="" id="{17A29612-6E1F-6130-A723-20E1AFFECEB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51153" y="1114972"/>
            <a:ext cx="1370252" cy="399777"/>
          </a:xfrm>
          <a:prstGeom prst="rect">
            <a:avLst/>
          </a:prstGeom>
        </p:spPr>
      </p:pic>
      <p:sp>
        <p:nvSpPr>
          <p:cNvPr id="22" name="30 Rectángulo">
            <a:extLst>
              <a:ext uri="{FF2B5EF4-FFF2-40B4-BE49-F238E27FC236}">
                <a16:creationId xmlns:a16="http://schemas.microsoft.com/office/drawing/2014/main" xmlns="" id="{1626D0EE-D663-4C05-F605-D8485CA5D99E}"/>
              </a:ext>
            </a:extLst>
          </p:cNvPr>
          <p:cNvSpPr/>
          <p:nvPr/>
        </p:nvSpPr>
        <p:spPr>
          <a:xfrm>
            <a:off x="227517" y="3892990"/>
            <a:ext cx="8767117" cy="6463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400" b="1" dirty="0">
                <a:cs typeface="Arial" panose="020B0604020202020204" pitchFamily="34" charset="0"/>
              </a:rPr>
              <a:t>+</a:t>
            </a:r>
            <a:r>
              <a:rPr lang="es-ES" b="1" dirty="0">
                <a:cs typeface="Arial" panose="020B0604020202020204" pitchFamily="34" charset="0"/>
              </a:rPr>
              <a:t> otras medidas de acompañamiento</a:t>
            </a:r>
          </a:p>
          <a:p>
            <a:r>
              <a:rPr lang="es-ES" sz="1200" i="1" dirty="0">
                <a:cs typeface="Arial" panose="020B0604020202020204" pitchFamily="34" charset="0"/>
              </a:rPr>
              <a:t>(</a:t>
            </a:r>
            <a:r>
              <a:rPr lang="es-ES" sz="1200" i="1" dirty="0" err="1">
                <a:cs typeface="Arial" panose="020B0604020202020204" pitchFamily="34" charset="0"/>
              </a:rPr>
              <a:t>Fast</a:t>
            </a:r>
            <a:r>
              <a:rPr lang="es-ES" sz="1200" i="1" dirty="0">
                <a:cs typeface="Arial" panose="020B0604020202020204" pitchFamily="34" charset="0"/>
              </a:rPr>
              <a:t> </a:t>
            </a:r>
            <a:r>
              <a:rPr lang="es-ES" sz="1200" i="1" dirty="0" err="1">
                <a:cs typeface="Arial" panose="020B0604020202020204" pitchFamily="34" charset="0"/>
              </a:rPr>
              <a:t>track</a:t>
            </a:r>
            <a:r>
              <a:rPr lang="es-ES" sz="1200" i="1" dirty="0">
                <a:cs typeface="Arial" panose="020B0604020202020204" pitchFamily="34" charset="0"/>
              </a:rPr>
              <a:t> </a:t>
            </a:r>
            <a:r>
              <a:rPr lang="es-ES" sz="1200" i="1" dirty="0" err="1">
                <a:cs typeface="Arial" panose="020B0604020202020204" pitchFamily="34" charset="0"/>
              </a:rPr>
              <a:t>to</a:t>
            </a:r>
            <a:r>
              <a:rPr lang="es-ES" sz="1200" i="1" dirty="0">
                <a:cs typeface="Arial" panose="020B0604020202020204" pitchFamily="34" charset="0"/>
              </a:rPr>
              <a:t> Accelerator, lanzamiento nuevo acuerdo con Red EEN e impulsar nuevas sinergias, otras medidas de apoyo a la inversión, …. ).  </a:t>
            </a:r>
            <a:endParaRPr lang="es-ES" i="1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7317536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5 Título">
            <a:extLst>
              <a:ext uri="{FF2B5EF4-FFF2-40B4-BE49-F238E27FC236}">
                <a16:creationId xmlns:a16="http://schemas.microsoft.com/office/drawing/2014/main" xmlns="" id="{D2DA1A2A-F71C-5BB1-46CC-9EC9AFB95EE7}"/>
              </a:ext>
            </a:extLst>
          </p:cNvPr>
          <p:cNvSpPr txBox="1">
            <a:spLocks/>
          </p:cNvSpPr>
          <p:nvPr/>
        </p:nvSpPr>
        <p:spPr>
          <a:xfrm>
            <a:off x="161510" y="1311610"/>
            <a:ext cx="7875875" cy="945105"/>
          </a:xfrm>
          <a:prstGeom prst="rect">
            <a:avLst/>
          </a:prstGeom>
        </p:spPr>
        <p:txBody>
          <a:bodyPr>
            <a:noAutofit/>
          </a:bodyPr>
          <a:lstStyle>
            <a:lvl1pPr algn="r" defTabSz="914400" rtl="0" eaLnBrk="1" latinLnBrk="0" hangingPunct="1">
              <a:spcBef>
                <a:spcPct val="0"/>
              </a:spcBef>
              <a:buNone/>
              <a:defRPr sz="32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_tradnl" sz="6600" b="1" dirty="0">
                <a:solidFill>
                  <a:schemeClr val="tx2"/>
                </a:solidFill>
              </a:rPr>
              <a:t>Eurostars-3</a:t>
            </a:r>
            <a:endParaRPr lang="es-ES_tradnl" sz="5400" dirty="0">
              <a:solidFill>
                <a:schemeClr val="tx2"/>
              </a:solidFill>
            </a:endParaRPr>
          </a:p>
        </p:txBody>
      </p:sp>
      <p:pic>
        <p:nvPicPr>
          <p:cNvPr id="3" name="Imagen 2" descr="Logotipo, nombre de la empresa&#10;&#10;Descripción generada automáticamente">
            <a:extLst>
              <a:ext uri="{FF2B5EF4-FFF2-40B4-BE49-F238E27FC236}">
                <a16:creationId xmlns:a16="http://schemas.microsoft.com/office/drawing/2014/main" xmlns="" id="{ABBCAE11-9724-CF77-AD04-48DDB88B231F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2547" y="778765"/>
            <a:ext cx="4584868" cy="3735415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xmlns="" id="{2EB5EAD5-D7CE-0BC2-DA77-1CD787BCDA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6585" y="4506965"/>
            <a:ext cx="1485165" cy="556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8403253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1 Título"/>
          <p:cNvSpPr txBox="1">
            <a:spLocks/>
          </p:cNvSpPr>
          <p:nvPr/>
        </p:nvSpPr>
        <p:spPr>
          <a:xfrm>
            <a:off x="533400" y="182069"/>
            <a:ext cx="8077200" cy="512377"/>
          </a:xfrm>
          <a:prstGeom prst="rect">
            <a:avLst/>
          </a:prstGeom>
        </p:spPr>
        <p:txBody>
          <a:bodyPr lIns="68580" tIns="34290" rIns="68580" bIns="34290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2700" b="1" dirty="0">
                <a:solidFill>
                  <a:srgbClr val="2F6EB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racterísticas de los proyectos Eurostars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968" r="30092"/>
          <a:stretch/>
        </p:blipFill>
        <p:spPr bwMode="auto">
          <a:xfrm>
            <a:off x="2597946" y="1161428"/>
            <a:ext cx="2995332" cy="2938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8 CuadroTexto"/>
          <p:cNvSpPr txBox="1"/>
          <p:nvPr/>
        </p:nvSpPr>
        <p:spPr>
          <a:xfrm rot="21145260">
            <a:off x="1128570" y="1780199"/>
            <a:ext cx="142378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dirty="0">
                <a:solidFill>
                  <a:schemeClr val="tx1">
                    <a:lumMod val="65000"/>
                    <a:lumOff val="35000"/>
                  </a:schemeClr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orientados </a:t>
            </a:r>
            <a:br>
              <a:rPr lang="es-ES_tradnl" dirty="0">
                <a:solidFill>
                  <a:schemeClr val="tx1">
                    <a:lumMod val="65000"/>
                    <a:lumOff val="35000"/>
                  </a:schemeClr>
                </a:solidFill>
                <a:latin typeface="Aharoni" panose="02010803020104030203" pitchFamily="2" charset="-79"/>
                <a:cs typeface="Aharoni" panose="02010803020104030203" pitchFamily="2" charset="-79"/>
              </a:rPr>
            </a:br>
            <a:r>
              <a:rPr lang="es-ES_tradnl" dirty="0">
                <a:solidFill>
                  <a:schemeClr val="tx1">
                    <a:lumMod val="65000"/>
                    <a:lumOff val="35000"/>
                  </a:schemeClr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a mercado</a:t>
            </a:r>
          </a:p>
        </p:txBody>
      </p:sp>
      <p:sp>
        <p:nvSpPr>
          <p:cNvPr id="11" name="10 CuadroTexto"/>
          <p:cNvSpPr txBox="1"/>
          <p:nvPr/>
        </p:nvSpPr>
        <p:spPr>
          <a:xfrm rot="21145260">
            <a:off x="5780371" y="1116277"/>
            <a:ext cx="275908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dirty="0">
                <a:solidFill>
                  <a:schemeClr val="tx1">
                    <a:lumMod val="65000"/>
                    <a:lumOff val="35000"/>
                  </a:schemeClr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productos, procesos </a:t>
            </a:r>
          </a:p>
          <a:p>
            <a:r>
              <a:rPr lang="es-ES_tradnl" dirty="0">
                <a:solidFill>
                  <a:schemeClr val="tx1">
                    <a:lumMod val="65000"/>
                    <a:lumOff val="35000"/>
                  </a:schemeClr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o servicios innovadores</a:t>
            </a:r>
          </a:p>
        </p:txBody>
      </p:sp>
      <p:sp>
        <p:nvSpPr>
          <p:cNvPr id="12" name="11 CuadroTexto"/>
          <p:cNvSpPr txBox="1"/>
          <p:nvPr/>
        </p:nvSpPr>
        <p:spPr>
          <a:xfrm rot="21145260">
            <a:off x="1183069" y="3414476"/>
            <a:ext cx="13147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bottom</a:t>
            </a:r>
            <a:r>
              <a:rPr lang="es-ES_tradnl" dirty="0">
                <a:solidFill>
                  <a:schemeClr val="tx1">
                    <a:lumMod val="65000"/>
                    <a:lumOff val="35000"/>
                  </a:schemeClr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-up</a:t>
            </a:r>
          </a:p>
        </p:txBody>
      </p:sp>
      <p:sp>
        <p:nvSpPr>
          <p:cNvPr id="13" name="12 CuadroTexto"/>
          <p:cNvSpPr txBox="1"/>
          <p:nvPr/>
        </p:nvSpPr>
        <p:spPr>
          <a:xfrm rot="21145260">
            <a:off x="5936591" y="2735578"/>
            <a:ext cx="16225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dirty="0">
                <a:solidFill>
                  <a:schemeClr val="tx1">
                    <a:lumMod val="65000"/>
                    <a:lumOff val="35000"/>
                  </a:schemeClr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cooperaci</a:t>
            </a:r>
            <a:r>
              <a:rPr lang="es-ES_tradnl" b="1" dirty="0">
                <a:solidFill>
                  <a:schemeClr val="tx1">
                    <a:lumMod val="65000"/>
                    <a:lumOff val="35000"/>
                  </a:schemeClr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ó</a:t>
            </a:r>
            <a:r>
              <a:rPr lang="es-ES_tradnl" dirty="0">
                <a:solidFill>
                  <a:schemeClr val="tx1">
                    <a:lumMod val="65000"/>
                    <a:lumOff val="35000"/>
                  </a:schemeClr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n </a:t>
            </a:r>
          </a:p>
          <a:p>
            <a:r>
              <a:rPr lang="es-ES_tradnl" dirty="0">
                <a:solidFill>
                  <a:schemeClr val="tx1">
                    <a:lumMod val="65000"/>
                    <a:lumOff val="35000"/>
                  </a:schemeClr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internacional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xmlns="" id="{7E05D171-7D4D-E546-8E90-EE5F299FFB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6585" y="4506965"/>
            <a:ext cx="1485165" cy="556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4471991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1 Título">
            <a:extLst>
              <a:ext uri="{FF2B5EF4-FFF2-40B4-BE49-F238E27FC236}">
                <a16:creationId xmlns:a16="http://schemas.microsoft.com/office/drawing/2014/main" xmlns="" id="{4C49A8A7-1094-4C5A-B792-A5BC652C7E9A}"/>
              </a:ext>
            </a:extLst>
          </p:cNvPr>
          <p:cNvSpPr txBox="1">
            <a:spLocks/>
          </p:cNvSpPr>
          <p:nvPr/>
        </p:nvSpPr>
        <p:spPr>
          <a:xfrm>
            <a:off x="533400" y="185615"/>
            <a:ext cx="8077200" cy="381622"/>
          </a:xfrm>
          <a:prstGeom prst="rect">
            <a:avLst/>
          </a:prstGeom>
        </p:spPr>
        <p:txBody>
          <a:bodyPr lIns="68580" tIns="34290" rIns="68580" bIns="34290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2700" b="1" dirty="0">
                <a:solidFill>
                  <a:srgbClr val="2F6EB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7 Criterios internacionales de elegibilidad</a:t>
            </a:r>
          </a:p>
        </p:txBody>
      </p:sp>
      <p:grpSp>
        <p:nvGrpSpPr>
          <p:cNvPr id="65" name="Group 24">
            <a:extLst>
              <a:ext uri="{FF2B5EF4-FFF2-40B4-BE49-F238E27FC236}">
                <a16:creationId xmlns:a16="http://schemas.microsoft.com/office/drawing/2014/main" xmlns="" id="{CB66F3DA-797E-48AB-BAC7-45D19BBE1D59}"/>
              </a:ext>
            </a:extLst>
          </p:cNvPr>
          <p:cNvGrpSpPr/>
          <p:nvPr/>
        </p:nvGrpSpPr>
        <p:grpSpPr>
          <a:xfrm>
            <a:off x="5216540" y="1113597"/>
            <a:ext cx="3547330" cy="1413954"/>
            <a:chOff x="7701342" y="1872882"/>
            <a:chExt cx="3571702" cy="1413954"/>
          </a:xfrm>
        </p:grpSpPr>
        <p:sp>
          <p:nvSpPr>
            <p:cNvPr id="66" name="AutoShape 4">
              <a:extLst>
                <a:ext uri="{FF2B5EF4-FFF2-40B4-BE49-F238E27FC236}">
                  <a16:creationId xmlns:a16="http://schemas.microsoft.com/office/drawing/2014/main" xmlns="" id="{A0AF105A-1883-4335-968B-FC7685F26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53122" y="1872882"/>
              <a:ext cx="451654" cy="413902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7428" y="17466"/>
                  </a:moveTo>
                  <a:cubicBezTo>
                    <a:pt x="16669" y="16923"/>
                    <a:pt x="15846" y="16465"/>
                    <a:pt x="14963" y="16121"/>
                  </a:cubicBezTo>
                  <a:cubicBezTo>
                    <a:pt x="15595" y="14609"/>
                    <a:pt x="15967" y="12928"/>
                    <a:pt x="16010" y="11148"/>
                  </a:cubicBezTo>
                  <a:lnTo>
                    <a:pt x="20188" y="11148"/>
                  </a:lnTo>
                  <a:cubicBezTo>
                    <a:pt x="20097" y="13612"/>
                    <a:pt x="19065" y="15838"/>
                    <a:pt x="17428" y="17466"/>
                  </a:cubicBezTo>
                  <a:moveTo>
                    <a:pt x="1411" y="11148"/>
                  </a:moveTo>
                  <a:lnTo>
                    <a:pt x="5589" y="11148"/>
                  </a:lnTo>
                  <a:cubicBezTo>
                    <a:pt x="5632" y="12928"/>
                    <a:pt x="6004" y="14609"/>
                    <a:pt x="6636" y="16121"/>
                  </a:cubicBezTo>
                  <a:cubicBezTo>
                    <a:pt x="5753" y="16465"/>
                    <a:pt x="4931" y="16923"/>
                    <a:pt x="4171" y="17466"/>
                  </a:cubicBezTo>
                  <a:cubicBezTo>
                    <a:pt x="2534" y="15838"/>
                    <a:pt x="1502" y="13612"/>
                    <a:pt x="1411" y="11148"/>
                  </a:cubicBezTo>
                  <a:moveTo>
                    <a:pt x="3785" y="4553"/>
                  </a:moveTo>
                  <a:cubicBezTo>
                    <a:pt x="4579" y="5170"/>
                    <a:pt x="5448" y="5691"/>
                    <a:pt x="6388" y="6084"/>
                  </a:cubicBezTo>
                  <a:cubicBezTo>
                    <a:pt x="5901" y="7433"/>
                    <a:pt x="5627" y="8908"/>
                    <a:pt x="5589" y="10451"/>
                  </a:cubicBezTo>
                  <a:lnTo>
                    <a:pt x="1411" y="10451"/>
                  </a:lnTo>
                  <a:cubicBezTo>
                    <a:pt x="1494" y="8190"/>
                    <a:pt x="2376" y="6135"/>
                    <a:pt x="3785" y="4553"/>
                  </a:cubicBezTo>
                  <a:moveTo>
                    <a:pt x="11148" y="10451"/>
                  </a:moveTo>
                  <a:lnTo>
                    <a:pt x="11148" y="6950"/>
                  </a:lnTo>
                  <a:cubicBezTo>
                    <a:pt x="12339" y="6913"/>
                    <a:pt x="13484" y="6696"/>
                    <a:pt x="14558" y="6324"/>
                  </a:cubicBezTo>
                  <a:cubicBezTo>
                    <a:pt x="15018" y="7598"/>
                    <a:pt x="15276" y="8992"/>
                    <a:pt x="15314" y="10451"/>
                  </a:cubicBezTo>
                  <a:cubicBezTo>
                    <a:pt x="15314" y="10451"/>
                    <a:pt x="11148" y="10451"/>
                    <a:pt x="11148" y="10451"/>
                  </a:cubicBezTo>
                  <a:close/>
                  <a:moveTo>
                    <a:pt x="14311" y="15882"/>
                  </a:moveTo>
                  <a:cubicBezTo>
                    <a:pt x="13309" y="15559"/>
                    <a:pt x="12247" y="15380"/>
                    <a:pt x="11148" y="15346"/>
                  </a:cubicBezTo>
                  <a:lnTo>
                    <a:pt x="11148" y="11148"/>
                  </a:lnTo>
                  <a:lnTo>
                    <a:pt x="15314" y="11148"/>
                  </a:lnTo>
                  <a:cubicBezTo>
                    <a:pt x="15270" y="12844"/>
                    <a:pt x="14914" y="14445"/>
                    <a:pt x="14311" y="15882"/>
                  </a:cubicBezTo>
                  <a:moveTo>
                    <a:pt x="14683" y="16757"/>
                  </a:moveTo>
                  <a:cubicBezTo>
                    <a:pt x="15476" y="17063"/>
                    <a:pt x="16218" y="17466"/>
                    <a:pt x="16904" y="17941"/>
                  </a:cubicBezTo>
                  <a:cubicBezTo>
                    <a:pt x="15632" y="19031"/>
                    <a:pt x="14067" y="19781"/>
                    <a:pt x="12344" y="20068"/>
                  </a:cubicBezTo>
                  <a:cubicBezTo>
                    <a:pt x="13280" y="19136"/>
                    <a:pt x="14076" y="18017"/>
                    <a:pt x="14683" y="16757"/>
                  </a:cubicBezTo>
                  <a:moveTo>
                    <a:pt x="11148" y="20188"/>
                  </a:moveTo>
                  <a:lnTo>
                    <a:pt x="11148" y="16043"/>
                  </a:lnTo>
                  <a:cubicBezTo>
                    <a:pt x="12146" y="16075"/>
                    <a:pt x="13113" y="16231"/>
                    <a:pt x="14025" y="16516"/>
                  </a:cubicBezTo>
                  <a:cubicBezTo>
                    <a:pt x="13314" y="17970"/>
                    <a:pt x="12343" y="19223"/>
                    <a:pt x="11185" y="20186"/>
                  </a:cubicBezTo>
                  <a:cubicBezTo>
                    <a:pt x="11185" y="20186"/>
                    <a:pt x="11148" y="20188"/>
                    <a:pt x="11148" y="20188"/>
                  </a:cubicBezTo>
                  <a:close/>
                  <a:moveTo>
                    <a:pt x="9255" y="20068"/>
                  </a:moveTo>
                  <a:cubicBezTo>
                    <a:pt x="7532" y="19781"/>
                    <a:pt x="5967" y="19031"/>
                    <a:pt x="4695" y="17941"/>
                  </a:cubicBezTo>
                  <a:cubicBezTo>
                    <a:pt x="5381" y="17466"/>
                    <a:pt x="6123" y="17063"/>
                    <a:pt x="6916" y="16757"/>
                  </a:cubicBezTo>
                  <a:cubicBezTo>
                    <a:pt x="7523" y="18017"/>
                    <a:pt x="8319" y="19136"/>
                    <a:pt x="9255" y="20068"/>
                  </a:cubicBezTo>
                  <a:moveTo>
                    <a:pt x="10451" y="11148"/>
                  </a:moveTo>
                  <a:lnTo>
                    <a:pt x="10451" y="15346"/>
                  </a:lnTo>
                  <a:cubicBezTo>
                    <a:pt x="9352" y="15380"/>
                    <a:pt x="8290" y="15559"/>
                    <a:pt x="7288" y="15882"/>
                  </a:cubicBezTo>
                  <a:cubicBezTo>
                    <a:pt x="6685" y="14445"/>
                    <a:pt x="6329" y="12844"/>
                    <a:pt x="6285" y="11148"/>
                  </a:cubicBezTo>
                  <a:cubicBezTo>
                    <a:pt x="6285" y="11148"/>
                    <a:pt x="10451" y="11148"/>
                    <a:pt x="10451" y="11148"/>
                  </a:cubicBezTo>
                  <a:close/>
                  <a:moveTo>
                    <a:pt x="7041" y="6324"/>
                  </a:moveTo>
                  <a:cubicBezTo>
                    <a:pt x="8115" y="6696"/>
                    <a:pt x="9260" y="6913"/>
                    <a:pt x="10451" y="6950"/>
                  </a:cubicBezTo>
                  <a:lnTo>
                    <a:pt x="10451" y="10451"/>
                  </a:lnTo>
                  <a:lnTo>
                    <a:pt x="6285" y="10451"/>
                  </a:lnTo>
                  <a:cubicBezTo>
                    <a:pt x="6324" y="8992"/>
                    <a:pt x="6581" y="7598"/>
                    <a:pt x="7041" y="6324"/>
                  </a:cubicBezTo>
                  <a:moveTo>
                    <a:pt x="6651" y="5442"/>
                  </a:moveTo>
                  <a:cubicBezTo>
                    <a:pt x="5790" y="5084"/>
                    <a:pt x="4993" y="4609"/>
                    <a:pt x="4263" y="4050"/>
                  </a:cubicBezTo>
                  <a:cubicBezTo>
                    <a:pt x="5606" y="2749"/>
                    <a:pt x="7332" y="1851"/>
                    <a:pt x="9255" y="1531"/>
                  </a:cubicBezTo>
                  <a:cubicBezTo>
                    <a:pt x="8175" y="2610"/>
                    <a:pt x="7286" y="3939"/>
                    <a:pt x="6651" y="5442"/>
                  </a:cubicBezTo>
                  <a:moveTo>
                    <a:pt x="10451" y="1411"/>
                  </a:moveTo>
                  <a:lnTo>
                    <a:pt x="10451" y="6253"/>
                  </a:lnTo>
                  <a:cubicBezTo>
                    <a:pt x="9352" y="6217"/>
                    <a:pt x="8296" y="6021"/>
                    <a:pt x="7303" y="5681"/>
                  </a:cubicBezTo>
                  <a:cubicBezTo>
                    <a:pt x="8029" y="3972"/>
                    <a:pt x="9101" y="2507"/>
                    <a:pt x="10415" y="1413"/>
                  </a:cubicBezTo>
                  <a:cubicBezTo>
                    <a:pt x="10427" y="1412"/>
                    <a:pt x="10439" y="1411"/>
                    <a:pt x="10451" y="1411"/>
                  </a:cubicBezTo>
                  <a:moveTo>
                    <a:pt x="12344" y="1531"/>
                  </a:moveTo>
                  <a:cubicBezTo>
                    <a:pt x="14267" y="1851"/>
                    <a:pt x="15993" y="2749"/>
                    <a:pt x="17336" y="4050"/>
                  </a:cubicBezTo>
                  <a:cubicBezTo>
                    <a:pt x="16606" y="4609"/>
                    <a:pt x="15809" y="5084"/>
                    <a:pt x="14948" y="5442"/>
                  </a:cubicBezTo>
                  <a:cubicBezTo>
                    <a:pt x="14313" y="3939"/>
                    <a:pt x="13424" y="2610"/>
                    <a:pt x="12344" y="1531"/>
                  </a:cubicBezTo>
                  <a:moveTo>
                    <a:pt x="11184" y="1413"/>
                  </a:moveTo>
                  <a:cubicBezTo>
                    <a:pt x="12498" y="2507"/>
                    <a:pt x="13570" y="3972"/>
                    <a:pt x="14296" y="5681"/>
                  </a:cubicBezTo>
                  <a:cubicBezTo>
                    <a:pt x="13303" y="6021"/>
                    <a:pt x="12247" y="6217"/>
                    <a:pt x="11148" y="6253"/>
                  </a:cubicBezTo>
                  <a:lnTo>
                    <a:pt x="11148" y="1411"/>
                  </a:lnTo>
                  <a:cubicBezTo>
                    <a:pt x="11160" y="1411"/>
                    <a:pt x="11172" y="1412"/>
                    <a:pt x="11184" y="1413"/>
                  </a:cubicBezTo>
                  <a:moveTo>
                    <a:pt x="10414" y="20186"/>
                  </a:moveTo>
                  <a:cubicBezTo>
                    <a:pt x="9256" y="19223"/>
                    <a:pt x="8285" y="17970"/>
                    <a:pt x="7574" y="16516"/>
                  </a:cubicBezTo>
                  <a:cubicBezTo>
                    <a:pt x="8486" y="16231"/>
                    <a:pt x="9453" y="16075"/>
                    <a:pt x="10451" y="16043"/>
                  </a:cubicBezTo>
                  <a:lnTo>
                    <a:pt x="10451" y="20188"/>
                  </a:lnTo>
                  <a:cubicBezTo>
                    <a:pt x="10451" y="20188"/>
                    <a:pt x="10414" y="20186"/>
                    <a:pt x="10414" y="20186"/>
                  </a:cubicBezTo>
                  <a:close/>
                  <a:moveTo>
                    <a:pt x="20188" y="10451"/>
                  </a:moveTo>
                  <a:lnTo>
                    <a:pt x="16010" y="10451"/>
                  </a:lnTo>
                  <a:cubicBezTo>
                    <a:pt x="15972" y="8908"/>
                    <a:pt x="15698" y="7433"/>
                    <a:pt x="15211" y="6084"/>
                  </a:cubicBezTo>
                  <a:cubicBezTo>
                    <a:pt x="16151" y="5691"/>
                    <a:pt x="17020" y="5170"/>
                    <a:pt x="17814" y="4553"/>
                  </a:cubicBezTo>
                  <a:cubicBezTo>
                    <a:pt x="19223" y="6135"/>
                    <a:pt x="20105" y="8190"/>
                    <a:pt x="20188" y="10451"/>
                  </a:cubicBezTo>
                  <a:moveTo>
                    <a:pt x="10800" y="0"/>
                  </a:moveTo>
                  <a:cubicBezTo>
                    <a:pt x="4835" y="0"/>
                    <a:pt x="0" y="4835"/>
                    <a:pt x="0" y="10800"/>
                  </a:cubicBezTo>
                  <a:cubicBezTo>
                    <a:pt x="0" y="16764"/>
                    <a:pt x="4835" y="21600"/>
                    <a:pt x="10800" y="21600"/>
                  </a:cubicBezTo>
                  <a:cubicBezTo>
                    <a:pt x="16764" y="21600"/>
                    <a:pt x="21600" y="16764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</a:path>
              </a:pathLst>
            </a:custGeom>
            <a:ln/>
            <a:extLst>
              <a:ext uri="{91240B29-F687-4f45-9708-019B960494DF}">
                <a14:hiddenLine xmlns=""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19050" tIns="19050" rIns="19050" bIns="19050" anchor="ctr"/>
            <a:lstStyle/>
            <a:p>
              <a:pPr marL="0" marR="0" lvl="0" indent="0" algn="ctr" defTabSz="228600" rtl="0" eaLnBrk="1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sym typeface="Gill Sans" charset="0"/>
              </a:endParaRPr>
            </a:p>
          </p:txBody>
        </p:sp>
        <p:sp>
          <p:nvSpPr>
            <p:cNvPr id="67" name="Rectangle 28">
              <a:extLst>
                <a:ext uri="{FF2B5EF4-FFF2-40B4-BE49-F238E27FC236}">
                  <a16:creationId xmlns:a16="http://schemas.microsoft.com/office/drawing/2014/main" xmlns="" id="{86C07E43-B503-4642-A451-FD7992B685EE}"/>
                </a:ext>
              </a:extLst>
            </p:cNvPr>
            <p:cNvSpPr/>
            <p:nvPr/>
          </p:nvSpPr>
          <p:spPr>
            <a:xfrm>
              <a:off x="7701342" y="2322854"/>
              <a:ext cx="3571702" cy="96398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 dirty="0">
                  <a:ln>
                    <a:noFill/>
                  </a:ln>
                  <a:solidFill>
                    <a:srgbClr val="161949"/>
                  </a:solidFill>
                  <a:effectLst/>
                  <a:uLnTx/>
                  <a:uFillTx/>
                </a:rPr>
                <a:t>The project consortium is composed of entities from at least two Eurostars countries with at least one </a:t>
              </a:r>
              <a:r>
                <a:rPr kumimoji="0" lang="en-US" sz="1200" i="0" u="none" strike="noStrike" kern="1200" cap="none" spc="0" normalizeH="0" baseline="0" noProof="0" dirty="0" err="1">
                  <a:ln>
                    <a:noFill/>
                  </a:ln>
                  <a:solidFill>
                    <a:srgbClr val="161949"/>
                  </a:solidFill>
                  <a:effectLst/>
                  <a:uLnTx/>
                  <a:uFillTx/>
                </a:rPr>
                <a:t>organisation</a:t>
              </a:r>
              <a:r>
                <a:rPr kumimoji="0" lang="en-US" sz="1200" i="0" u="none" strike="noStrike" kern="1200" cap="none" spc="0" normalizeH="0" baseline="0" noProof="0" dirty="0">
                  <a:ln>
                    <a:noFill/>
                  </a:ln>
                  <a:solidFill>
                    <a:srgbClr val="161949"/>
                  </a:solidFill>
                  <a:effectLst/>
                  <a:uLnTx/>
                  <a:uFillTx/>
                </a:rPr>
                <a:t> coming from an EU or Horizon Europe Associated Country. </a:t>
              </a:r>
              <a:endParaRPr lang="en-US" sz="1200" dirty="0">
                <a:solidFill>
                  <a:srgbClr val="161949"/>
                </a:solidFill>
              </a:endParaRPr>
            </a:p>
          </p:txBody>
        </p:sp>
      </p:grpSp>
      <p:grpSp>
        <p:nvGrpSpPr>
          <p:cNvPr id="68" name="Group 30">
            <a:extLst>
              <a:ext uri="{FF2B5EF4-FFF2-40B4-BE49-F238E27FC236}">
                <a16:creationId xmlns:a16="http://schemas.microsoft.com/office/drawing/2014/main" xmlns="" id="{34D4508A-47C1-4CFF-A1F0-0BC44F2667AF}"/>
              </a:ext>
            </a:extLst>
          </p:cNvPr>
          <p:cNvGrpSpPr/>
          <p:nvPr/>
        </p:nvGrpSpPr>
        <p:grpSpPr>
          <a:xfrm>
            <a:off x="31096" y="1113597"/>
            <a:ext cx="2522021" cy="1089088"/>
            <a:chOff x="1353980" y="1701331"/>
            <a:chExt cx="2522021" cy="1089088"/>
          </a:xfrm>
        </p:grpSpPr>
        <p:sp>
          <p:nvSpPr>
            <p:cNvPr id="69" name="Rectangle 33">
              <a:extLst>
                <a:ext uri="{FF2B5EF4-FFF2-40B4-BE49-F238E27FC236}">
                  <a16:creationId xmlns:a16="http://schemas.microsoft.com/office/drawing/2014/main" xmlns="" id="{BC4DEFB2-2002-4BF1-B6FF-0A18766F979B}"/>
                </a:ext>
              </a:extLst>
            </p:cNvPr>
            <p:cNvSpPr/>
            <p:nvPr/>
          </p:nvSpPr>
          <p:spPr>
            <a:xfrm>
              <a:off x="1353980" y="2269635"/>
              <a:ext cx="2522021" cy="52078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 dirty="0">
                  <a:ln>
                    <a:noFill/>
                  </a:ln>
                  <a:solidFill>
                    <a:srgbClr val="161949"/>
                  </a:solidFill>
                  <a:effectLst/>
                  <a:uLnTx/>
                  <a:uFillTx/>
                </a:rPr>
                <a:t>The project is led by an 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161949"/>
                  </a:solidFill>
                  <a:effectLst/>
                  <a:uLnTx/>
                  <a:uFillTx/>
                </a:rPr>
                <a:t>innovative SME </a:t>
              </a:r>
              <a:r>
                <a:rPr kumimoji="0" lang="en-US" sz="1200" i="0" u="none" strike="noStrike" kern="1200" cap="none" spc="0" normalizeH="0" baseline="0" noProof="0" dirty="0">
                  <a:ln>
                    <a:noFill/>
                  </a:ln>
                  <a:solidFill>
                    <a:srgbClr val="161949"/>
                  </a:solidFill>
                  <a:effectLst/>
                  <a:uLnTx/>
                  <a:uFillTx/>
                </a:rPr>
                <a:t>from a Eurostars country.</a:t>
              </a:r>
              <a:endParaRPr kumimoji="0" lang="id-ID" sz="1200" i="0" u="none" strike="noStrike" kern="1200" cap="none" spc="0" normalizeH="0" baseline="0" noProof="0" dirty="0">
                <a:ln>
                  <a:noFill/>
                </a:ln>
                <a:solidFill>
                  <a:srgbClr val="161949"/>
                </a:solidFill>
                <a:effectLst/>
                <a:uLnTx/>
                <a:uFillTx/>
                <a:cs typeface="Calibri"/>
              </a:endParaRPr>
            </a:p>
          </p:txBody>
        </p:sp>
        <p:pic>
          <p:nvPicPr>
            <p:cNvPr id="70" name="Graphic 36" descr="Rocket outline">
              <a:extLst>
                <a:ext uri="{FF2B5EF4-FFF2-40B4-BE49-F238E27FC236}">
                  <a16:creationId xmlns:a16="http://schemas.microsoft.com/office/drawing/2014/main" xmlns="" id="{19666545-FE12-4A49-B84F-00C000B9E2B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2302281" y="1701331"/>
              <a:ext cx="625421" cy="625421"/>
            </a:xfrm>
            <a:prstGeom prst="rect">
              <a:avLst/>
            </a:prstGeom>
          </p:spPr>
        </p:pic>
      </p:grpSp>
      <p:grpSp>
        <p:nvGrpSpPr>
          <p:cNvPr id="71" name="Group 38">
            <a:extLst>
              <a:ext uri="{FF2B5EF4-FFF2-40B4-BE49-F238E27FC236}">
                <a16:creationId xmlns:a16="http://schemas.microsoft.com/office/drawing/2014/main" xmlns="" id="{75C255C9-9FE4-426F-956F-8DD456C471B7}"/>
              </a:ext>
            </a:extLst>
          </p:cNvPr>
          <p:cNvGrpSpPr/>
          <p:nvPr/>
        </p:nvGrpSpPr>
        <p:grpSpPr>
          <a:xfrm>
            <a:off x="2606363" y="983337"/>
            <a:ext cx="2409800" cy="1440947"/>
            <a:chOff x="4332407" y="1942924"/>
            <a:chExt cx="3368935" cy="1440947"/>
          </a:xfrm>
        </p:grpSpPr>
        <p:sp>
          <p:nvSpPr>
            <p:cNvPr id="72" name="Rectangle 41">
              <a:extLst>
                <a:ext uri="{FF2B5EF4-FFF2-40B4-BE49-F238E27FC236}">
                  <a16:creationId xmlns:a16="http://schemas.microsoft.com/office/drawing/2014/main" xmlns="" id="{20CB3352-6EEA-46FF-BA7C-AF664C26D2EE}"/>
                </a:ext>
              </a:extLst>
            </p:cNvPr>
            <p:cNvSpPr/>
            <p:nvPr/>
          </p:nvSpPr>
          <p:spPr>
            <a:xfrm>
              <a:off x="4332407" y="2641488"/>
              <a:ext cx="3368935" cy="74238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 dirty="0">
                  <a:ln>
                    <a:noFill/>
                  </a:ln>
                  <a:solidFill>
                    <a:srgbClr val="161949"/>
                  </a:solidFill>
                  <a:effectLst/>
                  <a:uLnTx/>
                  <a:uFillTx/>
                </a:rPr>
                <a:t>The </a:t>
              </a:r>
              <a:r>
                <a:rPr lang="en-US" sz="1200" dirty="0">
                  <a:solidFill>
                    <a:srgbClr val="161949"/>
                  </a:solidFill>
                </a:rPr>
                <a:t>consortium</a:t>
              </a:r>
              <a:r>
                <a:rPr kumimoji="0" lang="en-US" sz="1200" i="0" u="none" strike="noStrike" kern="1200" cap="none" spc="0" normalizeH="0" baseline="0" noProof="0" dirty="0">
                  <a:ln>
                    <a:noFill/>
                  </a:ln>
                  <a:solidFill>
                    <a:srgbClr val="161949"/>
                  </a:solidFill>
                  <a:effectLst/>
                  <a:uLnTx/>
                  <a:uFillTx/>
                </a:rPr>
                <a:t> includes at least two entities that are independent of one another.</a:t>
              </a:r>
              <a:endParaRPr kumimoji="0" lang="id-ID" sz="1200" i="0" u="none" strike="noStrike" kern="1200" cap="none" spc="0" normalizeH="0" baseline="0" noProof="0" dirty="0">
                <a:ln>
                  <a:noFill/>
                </a:ln>
                <a:solidFill>
                  <a:srgbClr val="161949"/>
                </a:solidFill>
                <a:effectLst/>
                <a:uLnTx/>
                <a:uFillTx/>
                <a:cs typeface="Calibri"/>
              </a:endParaRPr>
            </a:p>
          </p:txBody>
        </p:sp>
        <p:pic>
          <p:nvPicPr>
            <p:cNvPr id="73" name="Graphic 42" descr="Building outline">
              <a:extLst>
                <a:ext uri="{FF2B5EF4-FFF2-40B4-BE49-F238E27FC236}">
                  <a16:creationId xmlns:a16="http://schemas.microsoft.com/office/drawing/2014/main" xmlns="" id="{FB398C1C-9CF5-4C1A-AD12-06BC6251D65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394852" y="1943458"/>
              <a:ext cx="766113" cy="766113"/>
            </a:xfrm>
            <a:prstGeom prst="rect">
              <a:avLst/>
            </a:prstGeom>
          </p:spPr>
        </p:pic>
        <p:pic>
          <p:nvPicPr>
            <p:cNvPr id="74" name="Graphic 43" descr="Building outline">
              <a:extLst>
                <a:ext uri="{FF2B5EF4-FFF2-40B4-BE49-F238E27FC236}">
                  <a16:creationId xmlns:a16="http://schemas.microsoft.com/office/drawing/2014/main" xmlns="" id="{92308614-1EF3-409F-820F-501967251CD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962041" y="1942924"/>
              <a:ext cx="766113" cy="766113"/>
            </a:xfrm>
            <a:prstGeom prst="rect">
              <a:avLst/>
            </a:prstGeom>
          </p:spPr>
        </p:pic>
      </p:grpSp>
      <p:grpSp>
        <p:nvGrpSpPr>
          <p:cNvPr id="75" name="Group 44">
            <a:extLst>
              <a:ext uri="{FF2B5EF4-FFF2-40B4-BE49-F238E27FC236}">
                <a16:creationId xmlns:a16="http://schemas.microsoft.com/office/drawing/2014/main" xmlns="" id="{61E0D704-0A5F-4890-BB1F-363AD72B07B3}"/>
              </a:ext>
            </a:extLst>
          </p:cNvPr>
          <p:cNvGrpSpPr/>
          <p:nvPr/>
        </p:nvGrpSpPr>
        <p:grpSpPr>
          <a:xfrm>
            <a:off x="-67323" y="2645359"/>
            <a:ext cx="2522021" cy="1945421"/>
            <a:chOff x="96944" y="3833146"/>
            <a:chExt cx="3075426" cy="1945421"/>
          </a:xfrm>
        </p:grpSpPr>
        <p:sp>
          <p:nvSpPr>
            <p:cNvPr id="77" name="Rectangle 46">
              <a:extLst>
                <a:ext uri="{FF2B5EF4-FFF2-40B4-BE49-F238E27FC236}">
                  <a16:creationId xmlns:a16="http://schemas.microsoft.com/office/drawing/2014/main" xmlns="" id="{2646A697-6AB8-4BCA-9856-AA88AF15A710}"/>
                </a:ext>
              </a:extLst>
            </p:cNvPr>
            <p:cNvSpPr/>
            <p:nvPr/>
          </p:nvSpPr>
          <p:spPr>
            <a:xfrm>
              <a:off x="96944" y="4592986"/>
              <a:ext cx="3075426" cy="11855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 dirty="0">
                  <a:ln>
                    <a:noFill/>
                  </a:ln>
                  <a:solidFill>
                    <a:srgbClr val="161949"/>
                  </a:solidFill>
                  <a:effectLst/>
                  <a:uLnTx/>
                  <a:uFillTx/>
                  <a:cs typeface="Calibri"/>
                </a:rPr>
                <a:t>The budget of the 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161949"/>
                  </a:solidFill>
                  <a:effectLst/>
                  <a:uLnTx/>
                  <a:uFillTx/>
                  <a:cs typeface="Calibri"/>
                </a:rPr>
                <a:t>SMEs</a:t>
              </a:r>
              <a:r>
                <a:rPr kumimoji="0" lang="en-US" sz="1200" i="0" u="none" strike="noStrike" kern="1200" cap="none" spc="0" normalizeH="0" baseline="0" noProof="0" dirty="0">
                  <a:ln>
                    <a:noFill/>
                  </a:ln>
                  <a:solidFill>
                    <a:srgbClr val="161949"/>
                  </a:solidFill>
                  <a:effectLst/>
                  <a:uLnTx/>
                  <a:uFillTx/>
                  <a:cs typeface="Calibri"/>
                </a:rPr>
                <a:t> from Eurostars countries (excluding subcontracting) must be at least 50% of the total project budget.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200" i="0" u="none" strike="noStrike" kern="1200" cap="none" spc="0" normalizeH="0" baseline="0" noProof="0" dirty="0">
                <a:ln>
                  <a:noFill/>
                </a:ln>
                <a:solidFill>
                  <a:srgbClr val="161949">
                    <a:lumMod val="75000"/>
                    <a:lumOff val="25000"/>
                  </a:srgbClr>
                </a:solidFill>
                <a:effectLst/>
                <a:uLnTx/>
                <a:uFillTx/>
                <a:cs typeface="Calibri"/>
              </a:endParaRPr>
            </a:p>
          </p:txBody>
        </p:sp>
        <p:sp>
          <p:nvSpPr>
            <p:cNvPr id="78" name="Rectangle 47">
              <a:extLst>
                <a:ext uri="{FF2B5EF4-FFF2-40B4-BE49-F238E27FC236}">
                  <a16:creationId xmlns:a16="http://schemas.microsoft.com/office/drawing/2014/main" xmlns="" id="{A6584985-0EE4-4DFF-BE18-E7B553F3659B}"/>
                </a:ext>
              </a:extLst>
            </p:cNvPr>
            <p:cNvSpPr/>
            <p:nvPr/>
          </p:nvSpPr>
          <p:spPr>
            <a:xfrm>
              <a:off x="1785353" y="3963612"/>
              <a:ext cx="914400" cy="340093"/>
            </a:xfrm>
            <a:prstGeom prst="rect">
              <a:avLst/>
            </a:prstGeom>
            <a:ln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 dirty="0">
                  <a:solidFill>
                    <a:schemeClr val="accent1"/>
                  </a:solidFill>
                  <a:cs typeface="Calibri"/>
                </a:rPr>
                <a:t>≥50%</a:t>
              </a:r>
              <a:endParaRPr kumimoji="0" lang="id-ID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cs typeface="Calibri"/>
              </a:endParaRPr>
            </a:p>
          </p:txBody>
        </p:sp>
        <p:pic>
          <p:nvPicPr>
            <p:cNvPr id="79" name="Graphic 48" descr="City outline">
              <a:extLst>
                <a:ext uri="{FF2B5EF4-FFF2-40B4-BE49-F238E27FC236}">
                  <a16:creationId xmlns:a16="http://schemas.microsoft.com/office/drawing/2014/main" xmlns="" id="{AFA0054D-D6BB-416C-88EA-552E476ED62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1004171" y="3833146"/>
              <a:ext cx="914400" cy="914400"/>
            </a:xfrm>
            <a:prstGeom prst="rect">
              <a:avLst/>
            </a:prstGeom>
          </p:spPr>
        </p:pic>
      </p:grpSp>
      <p:grpSp>
        <p:nvGrpSpPr>
          <p:cNvPr id="80" name="Group 49">
            <a:extLst>
              <a:ext uri="{FF2B5EF4-FFF2-40B4-BE49-F238E27FC236}">
                <a16:creationId xmlns:a16="http://schemas.microsoft.com/office/drawing/2014/main" xmlns="" id="{6C8753C9-56BA-47A8-B290-98E51ACB8299}"/>
              </a:ext>
            </a:extLst>
          </p:cNvPr>
          <p:cNvGrpSpPr/>
          <p:nvPr/>
        </p:nvGrpSpPr>
        <p:grpSpPr>
          <a:xfrm>
            <a:off x="6990205" y="2802985"/>
            <a:ext cx="1545711" cy="1367067"/>
            <a:chOff x="10285221" y="4178471"/>
            <a:chExt cx="1545711" cy="1367067"/>
          </a:xfrm>
        </p:grpSpPr>
        <p:sp>
          <p:nvSpPr>
            <p:cNvPr id="81" name="Rectangle 50">
              <a:extLst>
                <a:ext uri="{FF2B5EF4-FFF2-40B4-BE49-F238E27FC236}">
                  <a16:creationId xmlns:a16="http://schemas.microsoft.com/office/drawing/2014/main" xmlns="" id="{0FD7CB61-70F2-4DF9-B247-D8AAF3BE9AF7}"/>
                </a:ext>
              </a:extLst>
            </p:cNvPr>
            <p:cNvSpPr/>
            <p:nvPr/>
          </p:nvSpPr>
          <p:spPr>
            <a:xfrm>
              <a:off x="10285221" y="4692356"/>
              <a:ext cx="1545711" cy="85318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dirty="0">
                  <a:solidFill>
                    <a:srgbClr val="161949"/>
                  </a:solidFill>
                  <a:cs typeface="Calibri"/>
                </a:rPr>
                <a:t>The project has an e</a:t>
              </a:r>
              <a:r>
                <a:rPr kumimoji="0" lang="en-US" sz="1200" i="0" u="none" strike="noStrike" kern="1200" cap="none" spc="0" normalizeH="0" baseline="0" noProof="0" dirty="0" err="1">
                  <a:ln>
                    <a:noFill/>
                  </a:ln>
                  <a:solidFill>
                    <a:srgbClr val="161949"/>
                  </a:solidFill>
                  <a:effectLst/>
                  <a:uLnTx/>
                  <a:uFillTx/>
                  <a:cs typeface="Calibri"/>
                </a:rPr>
                <a:t>xclusively</a:t>
              </a:r>
              <a:r>
                <a:rPr kumimoji="0" lang="en-US" sz="1200" i="0" u="none" strike="noStrike" kern="1200" cap="none" spc="0" normalizeH="0" baseline="0" noProof="0" dirty="0">
                  <a:ln>
                    <a:noFill/>
                  </a:ln>
                  <a:solidFill>
                    <a:srgbClr val="161949"/>
                  </a:solidFill>
                  <a:effectLst/>
                  <a:uLnTx/>
                  <a:uFillTx/>
                  <a:cs typeface="Calibri"/>
                </a:rPr>
                <a:t> </a:t>
              </a:r>
              <a:r>
                <a:rPr kumimoji="0" lang="en-US" sz="1200" i="0" u="none" strike="noStrike" kern="1200" cap="none" spc="0" normalizeH="0" baseline="0" noProof="0" dirty="0">
                  <a:ln>
                    <a:noFill/>
                  </a:ln>
                  <a:solidFill>
                    <a:srgbClr val="161949"/>
                  </a:solidFill>
                  <a:effectLst/>
                  <a:uLnTx/>
                  <a:uFillTx/>
                </a:rPr>
                <a:t>civilian purpose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161949"/>
                </a:solidFill>
                <a:effectLst/>
                <a:uLnTx/>
                <a:uFillTx/>
                <a:cs typeface="Calibri"/>
              </a:endParaRPr>
            </a:p>
          </p:txBody>
        </p:sp>
        <p:pic>
          <p:nvPicPr>
            <p:cNvPr id="82" name="Graphic 51" descr="Peace Sign with solid fill">
              <a:extLst>
                <a:ext uri="{FF2B5EF4-FFF2-40B4-BE49-F238E27FC236}">
                  <a16:creationId xmlns:a16="http://schemas.microsoft.com/office/drawing/2014/main" xmlns="" id="{E0DAD4BE-0A88-4F15-8CAB-DF170DA4113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p:blipFill>
          <p:spPr>
            <a:xfrm>
              <a:off x="10712278" y="4178471"/>
              <a:ext cx="603835" cy="603835"/>
            </a:xfrm>
            <a:prstGeom prst="rect">
              <a:avLst/>
            </a:prstGeom>
          </p:spPr>
        </p:pic>
      </p:grpSp>
      <p:grpSp>
        <p:nvGrpSpPr>
          <p:cNvPr id="83" name="Group 52">
            <a:extLst>
              <a:ext uri="{FF2B5EF4-FFF2-40B4-BE49-F238E27FC236}">
                <a16:creationId xmlns:a16="http://schemas.microsoft.com/office/drawing/2014/main" xmlns="" id="{F01B839C-81F8-4C8B-ADF1-6B0DF74894E6}"/>
              </a:ext>
            </a:extLst>
          </p:cNvPr>
          <p:cNvGrpSpPr/>
          <p:nvPr/>
        </p:nvGrpSpPr>
        <p:grpSpPr>
          <a:xfrm>
            <a:off x="5046740" y="2773275"/>
            <a:ext cx="1761053" cy="1267090"/>
            <a:chOff x="7879373" y="4205002"/>
            <a:chExt cx="1761053" cy="1267090"/>
          </a:xfrm>
        </p:grpSpPr>
        <p:sp>
          <p:nvSpPr>
            <p:cNvPr id="84" name="Rectangle 54">
              <a:extLst>
                <a:ext uri="{FF2B5EF4-FFF2-40B4-BE49-F238E27FC236}">
                  <a16:creationId xmlns:a16="http://schemas.microsoft.com/office/drawing/2014/main" xmlns="" id="{EDE7821D-B425-45D6-BD97-8B87B28E1552}"/>
                </a:ext>
              </a:extLst>
            </p:cNvPr>
            <p:cNvSpPr/>
            <p:nvPr/>
          </p:nvSpPr>
          <p:spPr>
            <a:xfrm>
              <a:off x="7879373" y="4729709"/>
              <a:ext cx="1761053" cy="74238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dirty="0">
                  <a:solidFill>
                    <a:srgbClr val="161949"/>
                  </a:solidFill>
                  <a:cs typeface="Calibri"/>
                </a:rPr>
                <a:t>The p</a:t>
              </a:r>
              <a:r>
                <a:rPr kumimoji="0" lang="id-ID" sz="1200" i="0" u="none" strike="noStrike" kern="1200" cap="none" spc="0" normalizeH="0" baseline="0" noProof="0" dirty="0">
                  <a:ln>
                    <a:noFill/>
                  </a:ln>
                  <a:solidFill>
                    <a:srgbClr val="161949"/>
                  </a:solidFill>
                  <a:effectLst/>
                  <a:uLnTx/>
                  <a:uFillTx/>
                  <a:cs typeface="Calibri"/>
                </a:rPr>
                <a:t>roject duration is </a:t>
              </a:r>
              <a:r>
                <a:rPr kumimoji="0" lang="en-US" sz="1200" i="0" u="none" strike="noStrike" kern="1200" cap="none" spc="0" normalizeH="0" baseline="0" noProof="0" dirty="0">
                  <a:ln>
                    <a:noFill/>
                  </a:ln>
                  <a:solidFill>
                    <a:srgbClr val="161949"/>
                  </a:solidFill>
                  <a:effectLst/>
                  <a:uLnTx/>
                  <a:uFillTx/>
                  <a:cs typeface="Calibri"/>
                </a:rPr>
                <a:t>36 months or less.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161949"/>
                </a:solidFill>
                <a:effectLst/>
                <a:uLnTx/>
                <a:uFillTx/>
                <a:cs typeface="Calibri"/>
              </a:endParaRPr>
            </a:p>
          </p:txBody>
        </p:sp>
        <p:pic>
          <p:nvPicPr>
            <p:cNvPr id="85" name="Graphic 55" descr="Clock with solid fill">
              <a:extLst>
                <a:ext uri="{FF2B5EF4-FFF2-40B4-BE49-F238E27FC236}">
                  <a16:creationId xmlns:a16="http://schemas.microsoft.com/office/drawing/2014/main" xmlns="" id="{FAEA782C-C630-43E5-A728-31E52CF9DD2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8465837" y="4205002"/>
              <a:ext cx="627400" cy="627400"/>
            </a:xfrm>
            <a:prstGeom prst="rect">
              <a:avLst/>
            </a:prstGeom>
          </p:spPr>
        </p:pic>
      </p:grpSp>
      <p:grpSp>
        <p:nvGrpSpPr>
          <p:cNvPr id="86" name="Group 56">
            <a:extLst>
              <a:ext uri="{FF2B5EF4-FFF2-40B4-BE49-F238E27FC236}">
                <a16:creationId xmlns:a16="http://schemas.microsoft.com/office/drawing/2014/main" xmlns="" id="{4B2A9BC2-8450-47C3-8D7D-08A9ED521D72}"/>
              </a:ext>
            </a:extLst>
          </p:cNvPr>
          <p:cNvGrpSpPr/>
          <p:nvPr/>
        </p:nvGrpSpPr>
        <p:grpSpPr>
          <a:xfrm>
            <a:off x="2827820" y="2673934"/>
            <a:ext cx="2124524" cy="1896680"/>
            <a:chOff x="3897586" y="4059606"/>
            <a:chExt cx="3349898" cy="1896680"/>
          </a:xfrm>
        </p:grpSpPr>
        <p:sp>
          <p:nvSpPr>
            <p:cNvPr id="87" name="Rectangle 58">
              <a:extLst>
                <a:ext uri="{FF2B5EF4-FFF2-40B4-BE49-F238E27FC236}">
                  <a16:creationId xmlns:a16="http://schemas.microsoft.com/office/drawing/2014/main" xmlns="" id="{BFD59DA5-4FF9-422E-A12E-33EA58AFEF4F}"/>
                </a:ext>
              </a:extLst>
            </p:cNvPr>
            <p:cNvSpPr/>
            <p:nvPr/>
          </p:nvSpPr>
          <p:spPr>
            <a:xfrm>
              <a:off x="3897586" y="4770705"/>
              <a:ext cx="3349898" cy="11855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 dirty="0">
                  <a:ln>
                    <a:noFill/>
                  </a:ln>
                  <a:solidFill>
                    <a:srgbClr val="161949"/>
                  </a:solidFill>
                  <a:effectLst/>
                  <a:uLnTx/>
                  <a:uFillTx/>
                  <a:cs typeface="Calibri"/>
                </a:rPr>
                <a:t>No single participant or country is responsible for more than 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161949"/>
                  </a:solidFill>
                  <a:effectLst/>
                  <a:uLnTx/>
                  <a:uFillTx/>
                  <a:cs typeface="Calibri"/>
                </a:rPr>
                <a:t>70%</a:t>
              </a:r>
              <a:r>
                <a:rPr kumimoji="0" lang="en-US" sz="1200" i="0" u="none" strike="noStrike" kern="1200" cap="none" spc="0" normalizeH="0" baseline="0" noProof="0" dirty="0">
                  <a:ln>
                    <a:noFill/>
                  </a:ln>
                  <a:solidFill>
                    <a:srgbClr val="161949"/>
                  </a:solidFill>
                  <a:effectLst/>
                  <a:uLnTx/>
                  <a:uFillTx/>
                  <a:cs typeface="Calibri"/>
                </a:rPr>
                <a:t> of the total project budget.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200" i="0" u="none" strike="noStrike" kern="1200" cap="none" spc="0" normalizeH="0" baseline="0" noProof="0" dirty="0">
                <a:ln>
                  <a:noFill/>
                </a:ln>
                <a:solidFill>
                  <a:srgbClr val="161949">
                    <a:lumMod val="75000"/>
                    <a:lumOff val="25000"/>
                  </a:srgbClr>
                </a:solidFill>
                <a:effectLst/>
                <a:uLnTx/>
                <a:uFillTx/>
                <a:cs typeface="Calibri"/>
              </a:endParaRPr>
            </a:p>
          </p:txBody>
        </p:sp>
        <p:pic>
          <p:nvPicPr>
            <p:cNvPr id="88" name="Graphic 59" descr="Building outline">
              <a:extLst>
                <a:ext uri="{FF2B5EF4-FFF2-40B4-BE49-F238E27FC236}">
                  <a16:creationId xmlns:a16="http://schemas.microsoft.com/office/drawing/2014/main" xmlns="" id="{CC69E9D0-AB6D-4236-B830-BC8E0875AE09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xmlns="" r:embed="rId14"/>
                </a:ext>
              </a:extLst>
            </a:blip>
            <a:stretch>
              <a:fillRect/>
            </a:stretch>
          </p:blipFill>
          <p:spPr>
            <a:xfrm>
              <a:off x="4740118" y="4093681"/>
              <a:ext cx="708138" cy="708138"/>
            </a:xfrm>
            <a:prstGeom prst="rect">
              <a:avLst/>
            </a:prstGeom>
          </p:spPr>
        </p:pic>
        <p:sp>
          <p:nvSpPr>
            <p:cNvPr id="89" name="Rectangle 60">
              <a:extLst>
                <a:ext uri="{FF2B5EF4-FFF2-40B4-BE49-F238E27FC236}">
                  <a16:creationId xmlns:a16="http://schemas.microsoft.com/office/drawing/2014/main" xmlns="" id="{76A12F2E-9330-42D8-A0EE-52AF1B7A8D3C}"/>
                </a:ext>
              </a:extLst>
            </p:cNvPr>
            <p:cNvSpPr/>
            <p:nvPr/>
          </p:nvSpPr>
          <p:spPr>
            <a:xfrm>
              <a:off x="6097339" y="4093681"/>
              <a:ext cx="962586" cy="304699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b="1" dirty="0">
                  <a:solidFill>
                    <a:schemeClr val="accent1"/>
                  </a:solidFill>
                  <a:cs typeface="Calibri"/>
                </a:rPr>
                <a:t>≤70%</a:t>
              </a:r>
              <a:endParaRPr kumimoji="0" lang="id-ID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cs typeface="Calibri"/>
              </a:endParaRPr>
            </a:p>
          </p:txBody>
        </p:sp>
        <p:pic>
          <p:nvPicPr>
            <p:cNvPr id="90" name="Graphic 61" descr="Map with pin outline">
              <a:extLst>
                <a:ext uri="{FF2B5EF4-FFF2-40B4-BE49-F238E27FC236}">
                  <a16:creationId xmlns:a16="http://schemas.microsoft.com/office/drawing/2014/main" xmlns="" id="{24E2AC4B-7C72-4477-AB47-CDBB7CD67800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xmlns="" r:embed="rId16"/>
                </a:ext>
              </a:extLst>
            </a:blip>
            <a:stretch>
              <a:fillRect/>
            </a:stretch>
          </p:blipFill>
          <p:spPr>
            <a:xfrm>
              <a:off x="5372007" y="4059606"/>
              <a:ext cx="797293" cy="797293"/>
            </a:xfrm>
            <a:prstGeom prst="rect">
              <a:avLst/>
            </a:prstGeom>
          </p:spPr>
        </p:pic>
      </p:grpSp>
      <p:pic>
        <p:nvPicPr>
          <p:cNvPr id="2" name="Imagen 1">
            <a:extLst>
              <a:ext uri="{FF2B5EF4-FFF2-40B4-BE49-F238E27FC236}">
                <a16:creationId xmlns:a16="http://schemas.microsoft.com/office/drawing/2014/main" xmlns="" id="{2DEFEE33-35B3-FEF8-20FD-D5319911B689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36585" y="4506965"/>
            <a:ext cx="1485165" cy="556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8648403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1 Título"/>
          <p:cNvSpPr>
            <a:spLocks noGrp="1"/>
          </p:cNvSpPr>
          <p:nvPr>
            <p:ph type="title"/>
          </p:nvPr>
        </p:nvSpPr>
        <p:spPr>
          <a:xfrm>
            <a:off x="533400" y="231490"/>
            <a:ext cx="8077200" cy="525100"/>
          </a:xfrm>
        </p:spPr>
        <p:txBody>
          <a:bodyPr lIns="68580" tIns="34290" rIns="68580" bIns="34290"/>
          <a:lstStyle/>
          <a:p>
            <a:r>
              <a:rPr lang="es-ES_tradnl" sz="2700" b="1" dirty="0">
                <a:solidFill>
                  <a:srgbClr val="2F6EB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valuación Centralizada  -  Financiación Descentralizada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xmlns="" id="{2E1C99A3-8834-FCFC-F345-9B3045011471}"/>
              </a:ext>
            </a:extLst>
          </p:cNvPr>
          <p:cNvSpPr txBox="1"/>
          <p:nvPr/>
        </p:nvSpPr>
        <p:spPr>
          <a:xfrm>
            <a:off x="857890" y="861560"/>
            <a:ext cx="7830870" cy="3616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dirty="0" err="1"/>
              <a:t>Criterio</a:t>
            </a:r>
            <a:r>
              <a:rPr lang="en-US" sz="1600" dirty="0"/>
              <a:t> 1: Calidad y </a:t>
            </a:r>
            <a:r>
              <a:rPr lang="en-US" sz="1600" dirty="0" err="1"/>
              <a:t>eficiencia</a:t>
            </a:r>
            <a:r>
              <a:rPr lang="en-US" sz="1600" dirty="0"/>
              <a:t> de la </a:t>
            </a:r>
            <a:r>
              <a:rPr lang="en-US" sz="1600" dirty="0" err="1"/>
              <a:t>implementación</a:t>
            </a:r>
            <a:endParaRPr lang="en-US" sz="1600" dirty="0"/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100" i="1" dirty="0"/>
              <a:t>Calidad del </a:t>
            </a:r>
            <a:r>
              <a:rPr lang="en-US" sz="1100" i="1" dirty="0" err="1"/>
              <a:t>consorcio</a:t>
            </a:r>
            <a:endParaRPr lang="en-US" sz="1100" i="1" dirty="0"/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100" i="1" dirty="0"/>
              <a:t>Valor </a:t>
            </a:r>
            <a:r>
              <a:rPr lang="en-US" sz="1100" i="1" dirty="0" err="1"/>
              <a:t>añadido</a:t>
            </a:r>
            <a:r>
              <a:rPr lang="en-US" sz="1100" i="1" dirty="0"/>
              <a:t> a </a:t>
            </a:r>
            <a:r>
              <a:rPr lang="en-US" sz="1100" i="1" dirty="0" err="1"/>
              <a:t>través</a:t>
            </a:r>
            <a:r>
              <a:rPr lang="en-US" sz="1100" i="1" dirty="0"/>
              <a:t> de la </a:t>
            </a:r>
            <a:r>
              <a:rPr lang="en-US" sz="1100" i="1" dirty="0" err="1"/>
              <a:t>cooperación</a:t>
            </a:r>
            <a:endParaRPr lang="en-US" sz="1100" i="1" dirty="0"/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100" i="1" dirty="0" err="1"/>
              <a:t>Gestión</a:t>
            </a:r>
            <a:r>
              <a:rPr lang="en-US" sz="1100" i="1" dirty="0"/>
              <a:t> y </a:t>
            </a:r>
            <a:r>
              <a:rPr lang="en-US" sz="1100" i="1" dirty="0" err="1"/>
              <a:t>planificación</a:t>
            </a:r>
            <a:r>
              <a:rPr lang="en-US" sz="1100" i="1" dirty="0"/>
              <a:t> del </a:t>
            </a:r>
            <a:r>
              <a:rPr lang="en-US" sz="1100" i="1" dirty="0" err="1"/>
              <a:t>proyecto</a:t>
            </a:r>
            <a:r>
              <a:rPr lang="en-US" sz="1100" i="1" dirty="0"/>
              <a:t> </a:t>
            </a:r>
            <a:r>
              <a:rPr lang="en-US" sz="1100" i="1" dirty="0" err="1"/>
              <a:t>realista</a:t>
            </a:r>
            <a:r>
              <a:rPr lang="en-US" sz="1100" i="1" dirty="0"/>
              <a:t> y </a:t>
            </a:r>
            <a:r>
              <a:rPr lang="en-US" sz="1100" i="1" dirty="0" err="1"/>
              <a:t>definida</a:t>
            </a:r>
            <a:endParaRPr lang="en-US" sz="1100" i="1" dirty="0"/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100" i="1" dirty="0" err="1"/>
              <a:t>Estructura</a:t>
            </a:r>
            <a:r>
              <a:rPr lang="en-US" sz="1100" i="1" dirty="0"/>
              <a:t> de </a:t>
            </a:r>
            <a:r>
              <a:rPr lang="en-US" sz="1100" i="1" dirty="0" err="1"/>
              <a:t>costes</a:t>
            </a:r>
            <a:r>
              <a:rPr lang="en-US" sz="1100" i="1" dirty="0"/>
              <a:t> </a:t>
            </a:r>
            <a:r>
              <a:rPr lang="en-US" sz="1100" i="1" dirty="0" err="1"/>
              <a:t>razonable</a:t>
            </a:r>
            <a:endParaRPr lang="en-US" sz="1100" i="1" dirty="0"/>
          </a:p>
          <a:p>
            <a:pPr lvl="1"/>
            <a:endParaRPr lang="en-US" sz="1100" i="1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dirty="0" err="1"/>
              <a:t>Criterio</a:t>
            </a:r>
            <a:r>
              <a:rPr lang="en-US" sz="1600" dirty="0"/>
              <a:t> 2: </a:t>
            </a:r>
            <a:r>
              <a:rPr lang="en-US" sz="1600" dirty="0" err="1"/>
              <a:t>Impacto</a:t>
            </a:r>
            <a:endParaRPr lang="en-US" sz="1600" dirty="0"/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100" i="1" dirty="0" err="1"/>
              <a:t>Tamaño</a:t>
            </a:r>
            <a:r>
              <a:rPr lang="en-US" sz="1100" i="1" dirty="0"/>
              <a:t> del mercado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100" i="1" dirty="0" err="1"/>
              <a:t>Acceso</a:t>
            </a:r>
            <a:r>
              <a:rPr lang="en-US" sz="1100" i="1" dirty="0"/>
              <a:t> al mercado y </a:t>
            </a:r>
            <a:r>
              <a:rPr lang="en-US" sz="1100" i="1" dirty="0" err="1"/>
              <a:t>riesgo</a:t>
            </a:r>
            <a:endParaRPr lang="en-US" sz="1100" i="1" dirty="0"/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100" i="1" dirty="0" err="1"/>
              <a:t>Ventaja</a:t>
            </a:r>
            <a:r>
              <a:rPr lang="en-US" sz="1100" i="1" dirty="0"/>
              <a:t> competitive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100" i="1" dirty="0"/>
              <a:t>Plan de </a:t>
            </a:r>
            <a:r>
              <a:rPr lang="en-US" sz="1100" i="1" dirty="0" err="1"/>
              <a:t>comercialización</a:t>
            </a:r>
            <a:r>
              <a:rPr lang="en-US" sz="1100" i="1" dirty="0"/>
              <a:t> claro y </a:t>
            </a:r>
            <a:r>
              <a:rPr lang="en-US" sz="1100" i="1" dirty="0" err="1"/>
              <a:t>realista</a:t>
            </a:r>
            <a:endParaRPr lang="en-US" sz="1100" i="1" dirty="0"/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100" i="1" dirty="0" err="1"/>
              <a:t>Impacto</a:t>
            </a:r>
            <a:r>
              <a:rPr lang="en-US" sz="1100" i="1" dirty="0"/>
              <a:t> </a:t>
            </a:r>
            <a:r>
              <a:rPr lang="en-US" sz="1100" i="1" dirty="0" err="1"/>
              <a:t>económico</a:t>
            </a:r>
            <a:r>
              <a:rPr lang="en-US" sz="1100" i="1" dirty="0"/>
              <a:t>, </a:t>
            </a:r>
            <a:r>
              <a:rPr lang="en-US" sz="1100" i="1" dirty="0" err="1"/>
              <a:t>medioambiental</a:t>
            </a:r>
            <a:r>
              <a:rPr lang="en-US" sz="1100" i="1" dirty="0"/>
              <a:t> y social</a:t>
            </a:r>
          </a:p>
          <a:p>
            <a:pPr lvl="1"/>
            <a:endParaRPr lang="en-US" sz="1100" i="1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dirty="0" err="1"/>
              <a:t>Criterio</a:t>
            </a:r>
            <a:r>
              <a:rPr lang="en-US" sz="1600" dirty="0"/>
              <a:t> 3: </a:t>
            </a:r>
            <a:r>
              <a:rPr lang="en-US" sz="1600" dirty="0" err="1"/>
              <a:t>Excelencia</a:t>
            </a:r>
            <a:endParaRPr lang="en-US" sz="1600" dirty="0"/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100" i="1" dirty="0"/>
              <a:t>Grado de </a:t>
            </a:r>
            <a:r>
              <a:rPr lang="en-US" sz="1100" i="1" dirty="0" err="1"/>
              <a:t>innovación</a:t>
            </a:r>
            <a:endParaRPr lang="en-US" sz="1100" i="1" dirty="0"/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100" i="1" dirty="0"/>
              <a:t>Nuevo </a:t>
            </a:r>
            <a:r>
              <a:rPr lang="en-US" sz="1100" i="1" dirty="0" err="1"/>
              <a:t>conocimiento</a:t>
            </a:r>
            <a:r>
              <a:rPr lang="en-US" sz="1100" i="1" dirty="0"/>
              <a:t> </a:t>
            </a:r>
            <a:r>
              <a:rPr lang="en-US" sz="1100" i="1" dirty="0" err="1"/>
              <a:t>aplicado</a:t>
            </a:r>
            <a:endParaRPr lang="en-US" sz="1100" i="1" dirty="0"/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100" i="1" dirty="0"/>
              <a:t>Nivel de </a:t>
            </a:r>
            <a:r>
              <a:rPr lang="en-US" sz="1100" i="1" dirty="0" err="1"/>
              <a:t>reto</a:t>
            </a:r>
            <a:r>
              <a:rPr lang="en-US" sz="1100" i="1" dirty="0"/>
              <a:t> </a:t>
            </a:r>
            <a:r>
              <a:rPr lang="en-US" sz="1100" i="1" dirty="0" err="1"/>
              <a:t>tecnológico</a:t>
            </a:r>
            <a:endParaRPr lang="en-US" sz="1100" i="1" dirty="0"/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100" i="1" dirty="0" err="1"/>
              <a:t>Riesgo</a:t>
            </a:r>
            <a:r>
              <a:rPr lang="en-US" sz="1100" i="1" dirty="0"/>
              <a:t> y </a:t>
            </a:r>
            <a:r>
              <a:rPr lang="en-US" sz="1100" i="1" dirty="0" err="1"/>
              <a:t>consecución</a:t>
            </a:r>
            <a:r>
              <a:rPr lang="en-US" sz="1100" i="1" dirty="0"/>
              <a:t> </a:t>
            </a:r>
            <a:r>
              <a:rPr lang="en-US" sz="1100" i="1" dirty="0" err="1"/>
              <a:t>técnica</a:t>
            </a:r>
            <a:endParaRPr lang="en-US" sz="1100" i="1" dirty="0"/>
          </a:p>
          <a:p>
            <a:pPr marL="742950" lvl="1" indent="-285750">
              <a:buFont typeface="Wingdings" panose="05000000000000000000" pitchFamily="2" charset="2"/>
              <a:buChar char="Ø"/>
            </a:pPr>
            <a:endParaRPr lang="es-ES" sz="1600" dirty="0"/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xmlns="" id="{C2A83BC0-6728-1EE1-870E-6BDCCCBA44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6585" y="4506965"/>
            <a:ext cx="1485165" cy="556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5803311"/>
      </p:ext>
    </p:extLst>
  </p:cSld>
  <p:clrMapOvr>
    <a:masterClrMapping/>
  </p:clrMapOvr>
  <p:transition spd="slow">
    <p:push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54861" y="231490"/>
            <a:ext cx="7744454" cy="495055"/>
          </a:xfrm>
        </p:spPr>
        <p:txBody>
          <a:bodyPr>
            <a:noAutofit/>
          </a:bodyPr>
          <a:lstStyle/>
          <a:p>
            <a:r>
              <a:rPr lang="es-ES_tradnl" sz="2700" b="1" dirty="0">
                <a:solidFill>
                  <a:srgbClr val="2F6EB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iterios de Elegibilidad Nacional</a:t>
            </a:r>
            <a:endParaRPr lang="es-ES_tradnl" sz="2700" b="1" i="1" u="sng" dirty="0">
              <a:solidFill>
                <a:srgbClr val="2F6EB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857981" y="3200170"/>
            <a:ext cx="7744454" cy="908097"/>
          </a:xfrm>
          <a:ln>
            <a:solidFill>
              <a:schemeClr val="accent1"/>
            </a:solidFill>
          </a:ln>
        </p:spPr>
        <p:txBody>
          <a:bodyPr/>
          <a:lstStyle/>
          <a:p>
            <a:pPr algn="just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s-ES" sz="1600" dirty="0">
                <a:solidFill>
                  <a:srgbClr val="444444"/>
                </a:solidFill>
              </a:rPr>
              <a:t>Fecha </a:t>
            </a:r>
            <a:r>
              <a:rPr lang="es-ES" sz="1600" b="1" dirty="0">
                <a:solidFill>
                  <a:schemeClr val="accent1"/>
                </a:solidFill>
              </a:rPr>
              <a:t>inicio de Proyecto </a:t>
            </a:r>
            <a:r>
              <a:rPr lang="es-ES" sz="1600" dirty="0"/>
              <a:t>posterior al comunicado de aprobación del Secretariado Eureka.</a:t>
            </a:r>
          </a:p>
          <a:p>
            <a:pPr algn="just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s-ES" sz="1600" dirty="0">
                <a:solidFill>
                  <a:srgbClr val="444444"/>
                </a:solidFill>
              </a:rPr>
              <a:t>Las actividades financiables no pueden exceder los </a:t>
            </a:r>
            <a:r>
              <a:rPr lang="es-ES" sz="1600" b="1" dirty="0">
                <a:solidFill>
                  <a:schemeClr val="accent1"/>
                </a:solidFill>
              </a:rPr>
              <a:t>36 meses </a:t>
            </a:r>
            <a:r>
              <a:rPr lang="es-ES" sz="1600" dirty="0">
                <a:solidFill>
                  <a:srgbClr val="444444"/>
                </a:solidFill>
              </a:rPr>
              <a:t>de duración.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xmlns="" id="{42CA4CF4-27B7-411C-A05E-5D7806DF9C0D}"/>
              </a:ext>
            </a:extLst>
          </p:cNvPr>
          <p:cNvSpPr txBox="1"/>
          <p:nvPr/>
        </p:nvSpPr>
        <p:spPr>
          <a:xfrm>
            <a:off x="857981" y="1311610"/>
            <a:ext cx="7713191" cy="163121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285750" indent="-285750" algn="just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s-ES" sz="1600" dirty="0">
                <a:solidFill>
                  <a:srgbClr val="444444"/>
                </a:solidFill>
              </a:rPr>
              <a:t>Son elegibles </a:t>
            </a:r>
            <a:r>
              <a:rPr lang="es-ES" sz="1600" b="1" dirty="0">
                <a:solidFill>
                  <a:schemeClr val="accent1"/>
                </a:solidFill>
              </a:rPr>
              <a:t>Pymes </a:t>
            </a:r>
            <a:r>
              <a:rPr lang="es-ES" sz="1600" dirty="0"/>
              <a:t>legalmente constituidas en España.</a:t>
            </a:r>
          </a:p>
          <a:p>
            <a:pPr marL="285750" indent="-285750" algn="just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s-ES" sz="1600" dirty="0">
                <a:solidFill>
                  <a:srgbClr val="444444"/>
                </a:solidFill>
              </a:rPr>
              <a:t>N</a:t>
            </a:r>
            <a:r>
              <a:rPr lang="es-ES" sz="1600" dirty="0"/>
              <a:t>o sometido a una </a:t>
            </a:r>
            <a:r>
              <a:rPr lang="es-ES" sz="1600" b="1" dirty="0">
                <a:solidFill>
                  <a:schemeClr val="accent1"/>
                </a:solidFill>
              </a:rPr>
              <a:t>orden de recuperación de la C.E.</a:t>
            </a:r>
          </a:p>
          <a:p>
            <a:pPr marL="285750" indent="-285750" algn="just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s-ES" sz="1600" dirty="0">
                <a:solidFill>
                  <a:srgbClr val="444444"/>
                </a:solidFill>
              </a:rPr>
              <a:t>La empresa </a:t>
            </a:r>
            <a:r>
              <a:rPr lang="es-ES" sz="1600" b="1" dirty="0">
                <a:solidFill>
                  <a:schemeClr val="accent1"/>
                </a:solidFill>
              </a:rPr>
              <a:t>no está en crisis</a:t>
            </a:r>
            <a:r>
              <a:rPr lang="es-ES" sz="1600" dirty="0"/>
              <a:t> y t</a:t>
            </a:r>
            <a:r>
              <a:rPr lang="es-ES" sz="1600" dirty="0">
                <a:solidFill>
                  <a:srgbClr val="444444"/>
                </a:solidFill>
              </a:rPr>
              <a:t>iene </a:t>
            </a:r>
            <a:r>
              <a:rPr lang="es-ES" sz="1600" b="1" dirty="0">
                <a:solidFill>
                  <a:schemeClr val="accent1"/>
                </a:solidFill>
              </a:rPr>
              <a:t>capacidad financiera </a:t>
            </a:r>
            <a:r>
              <a:rPr lang="es-ES" sz="1600" dirty="0">
                <a:solidFill>
                  <a:srgbClr val="444444"/>
                </a:solidFill>
              </a:rPr>
              <a:t>para acometer el Proyecto</a:t>
            </a:r>
          </a:p>
          <a:p>
            <a:pPr marL="285750" indent="-285750" algn="just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s-ES" sz="1600" dirty="0">
                <a:solidFill>
                  <a:srgbClr val="444444"/>
                </a:solidFill>
              </a:rPr>
              <a:t>Con </a:t>
            </a:r>
            <a:r>
              <a:rPr lang="es-ES" sz="1600" b="1" dirty="0">
                <a:solidFill>
                  <a:schemeClr val="accent1"/>
                </a:solidFill>
              </a:rPr>
              <a:t>cuentas registradas </a:t>
            </a:r>
            <a:r>
              <a:rPr lang="es-ES" sz="1600" dirty="0">
                <a:solidFill>
                  <a:srgbClr val="444444"/>
                </a:solidFill>
              </a:rPr>
              <a:t>de al menos el último ejercicio</a:t>
            </a:r>
            <a:r>
              <a:rPr lang="es-ES" sz="1600" b="1" dirty="0">
                <a:solidFill>
                  <a:srgbClr val="444444"/>
                </a:solidFill>
              </a:rPr>
              <a:t> </a:t>
            </a:r>
            <a:r>
              <a:rPr lang="es-ES" sz="1600" dirty="0">
                <a:solidFill>
                  <a:srgbClr val="444444"/>
                </a:solidFill>
              </a:rPr>
              <a:t>en la fecha de la </a:t>
            </a:r>
            <a:r>
              <a:rPr lang="es-ES" sz="1600" dirty="0" err="1">
                <a:solidFill>
                  <a:srgbClr val="444444"/>
                </a:solidFill>
              </a:rPr>
              <a:t>CoD</a:t>
            </a:r>
            <a:r>
              <a:rPr lang="es-ES" sz="1600" dirty="0">
                <a:solidFill>
                  <a:srgbClr val="444444"/>
                </a:solidFill>
              </a:rPr>
              <a:t>.</a:t>
            </a:r>
          </a:p>
          <a:p>
            <a:pPr marL="285750" indent="-285750" algn="just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s-ES" sz="1600" b="1" dirty="0">
                <a:solidFill>
                  <a:schemeClr val="accent1"/>
                </a:solidFill>
              </a:rPr>
              <a:t>Única</a:t>
            </a:r>
            <a:r>
              <a:rPr lang="es-ES" sz="1600" dirty="0"/>
              <a:t> </a:t>
            </a:r>
            <a:r>
              <a:rPr lang="es-ES" sz="1600" b="1" dirty="0">
                <a:solidFill>
                  <a:schemeClr val="accent1"/>
                </a:solidFill>
              </a:rPr>
              <a:t>solicitud financiable por empresa en cada convocatoria </a:t>
            </a:r>
            <a:r>
              <a:rPr lang="es-ES" sz="1600" dirty="0">
                <a:solidFill>
                  <a:srgbClr val="444444"/>
                </a:solidFill>
              </a:rPr>
              <a:t>Eurostars. 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xmlns="" id="{1956580C-A782-4263-8D77-E670C339B90D}"/>
              </a:ext>
            </a:extLst>
          </p:cNvPr>
          <p:cNvSpPr txBox="1"/>
          <p:nvPr/>
        </p:nvSpPr>
        <p:spPr>
          <a:xfrm>
            <a:off x="390984" y="1311610"/>
            <a:ext cx="369332" cy="1631216"/>
          </a:xfrm>
          <a:prstGeom prst="rect">
            <a:avLst/>
          </a:prstGeom>
          <a:solidFill>
            <a:schemeClr val="tx2"/>
          </a:solidFill>
        </p:spPr>
        <p:txBody>
          <a:bodyPr vert="vert270" wrap="square" rtlCol="0">
            <a:spAutoFit/>
          </a:bodyPr>
          <a:lstStyle/>
          <a:p>
            <a:pPr algn="ctr"/>
            <a:r>
              <a:rPr lang="es-ES" sz="1200" dirty="0">
                <a:solidFill>
                  <a:schemeClr val="bg1"/>
                </a:solidFill>
              </a:rPr>
              <a:t>Entidades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xmlns="" id="{C3200E33-9C77-4C9B-B343-7B1EEABE706C}"/>
              </a:ext>
            </a:extLst>
          </p:cNvPr>
          <p:cNvSpPr txBox="1"/>
          <p:nvPr/>
        </p:nvSpPr>
        <p:spPr>
          <a:xfrm>
            <a:off x="390984" y="3200170"/>
            <a:ext cx="369332" cy="908097"/>
          </a:xfrm>
          <a:prstGeom prst="rect">
            <a:avLst/>
          </a:prstGeom>
          <a:solidFill>
            <a:schemeClr val="tx2"/>
          </a:solidFill>
        </p:spPr>
        <p:txBody>
          <a:bodyPr vert="vert270" wrap="square" rtlCol="0">
            <a:spAutoFit/>
          </a:bodyPr>
          <a:lstStyle/>
          <a:p>
            <a:pPr algn="ctr"/>
            <a:r>
              <a:rPr lang="es-ES" sz="1200" dirty="0">
                <a:solidFill>
                  <a:schemeClr val="bg1"/>
                </a:solidFill>
              </a:rPr>
              <a:t>Proyecto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xmlns="" id="{57201363-D6B0-B135-ECEF-27983330EA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6585" y="4506965"/>
            <a:ext cx="1485165" cy="556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739995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 animBg="1"/>
      <p:bldP spid="6" grpId="0" animBg="1"/>
      <p:bldP spid="7" grpId="0" animBg="1"/>
      <p:bldP spid="10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EAEA4498-5CA0-4412-85E3-8ED4022E0C58}"/>
              </a:ext>
            </a:extLst>
          </p:cNvPr>
          <p:cNvSpPr/>
          <p:nvPr/>
        </p:nvSpPr>
        <p:spPr>
          <a:xfrm>
            <a:off x="52528" y="1276137"/>
            <a:ext cx="8368142" cy="1956189"/>
          </a:xfrm>
          <a:prstGeom prst="rect">
            <a:avLst/>
          </a:prstGeom>
          <a:solidFill>
            <a:srgbClr val="71BD54">
              <a:alpha val="70000"/>
            </a:srgbClr>
          </a:solidFill>
          <a:ln>
            <a:solidFill>
              <a:srgbClr val="71BD5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id-ID" sz="1350">
              <a:solidFill>
                <a:srgbClr val="FFFFFF"/>
              </a:solidFill>
              <a:latin typeface="Cambria" panose="02040503050406030204"/>
            </a:endParaRPr>
          </a:p>
        </p:txBody>
      </p:sp>
      <p:grpSp>
        <p:nvGrpSpPr>
          <p:cNvPr id="25" name="Grupo 24">
            <a:extLst>
              <a:ext uri="{FF2B5EF4-FFF2-40B4-BE49-F238E27FC236}">
                <a16:creationId xmlns:a16="http://schemas.microsoft.com/office/drawing/2014/main" xmlns="" id="{6F5B2900-8766-41BA-8C47-88A95A262083}"/>
              </a:ext>
            </a:extLst>
          </p:cNvPr>
          <p:cNvGrpSpPr/>
          <p:nvPr/>
        </p:nvGrpSpPr>
        <p:grpSpPr>
          <a:xfrm>
            <a:off x="264947" y="1508895"/>
            <a:ext cx="7713997" cy="1490671"/>
            <a:chOff x="645745" y="2144749"/>
            <a:chExt cx="7713997" cy="1490671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xmlns="" id="{79CD447B-4414-4560-BCD1-E0176F5D131F}"/>
                </a:ext>
              </a:extLst>
            </p:cNvPr>
            <p:cNvSpPr/>
            <p:nvPr/>
          </p:nvSpPr>
          <p:spPr>
            <a:xfrm>
              <a:off x="645745" y="2146799"/>
              <a:ext cx="1642978" cy="1488621"/>
            </a:xfrm>
            <a:prstGeom prst="roundRect">
              <a:avLst>
                <a:gd name="adj" fmla="val 1588"/>
              </a:avLst>
            </a:prstGeom>
            <a:solidFill>
              <a:schemeClr val="bg1"/>
            </a:solidFill>
            <a:ln>
              <a:noFill/>
            </a:ln>
            <a:effectLst>
              <a:outerShdw blurRad="381000" dist="254000" dir="5400000" sx="90000" sy="90000" algn="t" rotWithShape="0">
                <a:schemeClr val="bg1">
                  <a:lumMod val="75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r>
                <a:rPr lang="en-US" sz="7200" b="1" dirty="0">
                  <a:solidFill>
                    <a:srgbClr val="FFFFFF">
                      <a:lumMod val="95000"/>
                      <a:alpha val="60000"/>
                    </a:srgbClr>
                  </a:solidFill>
                  <a:latin typeface="Montserrat" panose="00000500000000000000" pitchFamily="50" charset="0"/>
                </a:rPr>
                <a:t>01</a:t>
              </a:r>
              <a:endParaRPr lang="id-ID" sz="7200" b="1" dirty="0">
                <a:solidFill>
                  <a:srgbClr val="FFFFFF">
                    <a:lumMod val="95000"/>
                    <a:alpha val="60000"/>
                  </a:srgbClr>
                </a:solidFill>
                <a:latin typeface="Montserrat" panose="00000500000000000000" pitchFamily="50" charset="0"/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xmlns="" id="{C1D351F0-28A3-4F0A-8A6F-1D7B8712E01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93610" y="2324626"/>
              <a:ext cx="422074" cy="413654"/>
            </a:xfrm>
            <a:prstGeom prst="rect">
              <a:avLst/>
            </a:prstGeom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xmlns="" id="{6009DAB3-B1BB-47B9-A84C-9869A99FC8D6}"/>
                </a:ext>
              </a:extLst>
            </p:cNvPr>
            <p:cNvSpPr/>
            <p:nvPr/>
          </p:nvSpPr>
          <p:spPr>
            <a:xfrm>
              <a:off x="1004399" y="2779913"/>
              <a:ext cx="1184138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85800">
                <a:defRPr/>
              </a:pPr>
              <a:r>
                <a:rPr lang="en-US" sz="2100" dirty="0">
                  <a:solidFill>
                    <a:srgbClr val="71BD54"/>
                  </a:solidFill>
                  <a:latin typeface="Arial Regular"/>
                  <a:cs typeface="Segoe UI" panose="020B0502040204020203" pitchFamily="34" charset="0"/>
                </a:rPr>
                <a:t>3-4</a:t>
              </a:r>
              <a:r>
                <a:rPr lang="en-US" sz="1500" dirty="0">
                  <a:solidFill>
                    <a:srgbClr val="71BD54"/>
                  </a:solidFill>
                  <a:latin typeface="Arial Regular"/>
                  <a:cs typeface="Segoe UI" panose="020B0502040204020203" pitchFamily="34" charset="0"/>
                </a:rPr>
                <a:t> participants</a:t>
              </a:r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xmlns="" id="{198B6EE5-545A-4880-8420-80E7E80DD212}"/>
                </a:ext>
              </a:extLst>
            </p:cNvPr>
            <p:cNvGrpSpPr/>
            <p:nvPr/>
          </p:nvGrpSpPr>
          <p:grpSpPr>
            <a:xfrm>
              <a:off x="2761761" y="2144749"/>
              <a:ext cx="1642978" cy="1488621"/>
              <a:chOff x="3682347" y="2859665"/>
              <a:chExt cx="2190637" cy="1984828"/>
            </a:xfrm>
          </p:grpSpPr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xmlns="" id="{10E763C0-7958-4D9A-AE73-07BD2EB6A10D}"/>
                  </a:ext>
                </a:extLst>
              </p:cNvPr>
              <p:cNvGrpSpPr/>
              <p:nvPr/>
            </p:nvGrpSpPr>
            <p:grpSpPr>
              <a:xfrm>
                <a:off x="3682347" y="2859665"/>
                <a:ext cx="2190637" cy="1984828"/>
                <a:chOff x="3682347" y="2859665"/>
                <a:chExt cx="2190637" cy="1984828"/>
              </a:xfrm>
            </p:grpSpPr>
            <p:sp>
              <p:nvSpPr>
                <p:cNvPr id="12" name="Rectangle: Rounded Corners 11">
                  <a:extLst>
                    <a:ext uri="{FF2B5EF4-FFF2-40B4-BE49-F238E27FC236}">
                      <a16:creationId xmlns:a16="http://schemas.microsoft.com/office/drawing/2014/main" xmlns="" id="{4A04959F-FE76-43E9-8415-5F2C56FFEF33}"/>
                    </a:ext>
                  </a:extLst>
                </p:cNvPr>
                <p:cNvSpPr/>
                <p:nvPr/>
              </p:nvSpPr>
              <p:spPr>
                <a:xfrm>
                  <a:off x="3682347" y="2859665"/>
                  <a:ext cx="2190637" cy="1984828"/>
                </a:xfrm>
                <a:prstGeom prst="roundRect">
                  <a:avLst>
                    <a:gd name="adj" fmla="val 1588"/>
                  </a:avLst>
                </a:prstGeom>
                <a:solidFill>
                  <a:schemeClr val="bg1"/>
                </a:solidFill>
                <a:ln>
                  <a:noFill/>
                </a:ln>
                <a:effectLst>
                  <a:outerShdw blurRad="381000" dist="254000" dir="5400000" sx="90000" sy="90000" algn="t" rotWithShape="0">
                    <a:schemeClr val="bg1">
                      <a:lumMod val="75000"/>
                      <a:alpha val="40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00">
                    <a:defRPr/>
                  </a:pPr>
                  <a:r>
                    <a:rPr lang="en-US" sz="7200" b="1" dirty="0">
                      <a:solidFill>
                        <a:srgbClr val="FFFFFF">
                          <a:lumMod val="95000"/>
                          <a:alpha val="60000"/>
                        </a:srgbClr>
                      </a:solidFill>
                      <a:latin typeface="Montserrat" panose="00000500000000000000" pitchFamily="50" charset="0"/>
                    </a:rPr>
                    <a:t>02</a:t>
                  </a:r>
                  <a:endParaRPr lang="id-ID" sz="7200" b="1" dirty="0">
                    <a:solidFill>
                      <a:srgbClr val="FFFFFF">
                        <a:lumMod val="95000"/>
                        <a:alpha val="60000"/>
                      </a:srgbClr>
                    </a:solidFill>
                    <a:latin typeface="Montserrat" panose="00000500000000000000" pitchFamily="50" charset="0"/>
                  </a:endParaRPr>
                </a:p>
              </p:txBody>
            </p:sp>
            <p:sp>
              <p:nvSpPr>
                <p:cNvPr id="13" name="Rectangle 12">
                  <a:extLst>
                    <a:ext uri="{FF2B5EF4-FFF2-40B4-BE49-F238E27FC236}">
                      <a16:creationId xmlns:a16="http://schemas.microsoft.com/office/drawing/2014/main" xmlns="" id="{93711303-5B03-49E7-9A5F-FFA28FD28BDD}"/>
                    </a:ext>
                  </a:extLst>
                </p:cNvPr>
                <p:cNvSpPr/>
                <p:nvPr/>
              </p:nvSpPr>
              <p:spPr>
                <a:xfrm>
                  <a:off x="4093327" y="3706550"/>
                  <a:ext cx="1368678" cy="861775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ctr" defTabSz="685800">
                    <a:defRPr/>
                  </a:pPr>
                  <a:r>
                    <a:rPr lang="en-US" sz="2100" dirty="0">
                      <a:solidFill>
                        <a:srgbClr val="71BD54"/>
                      </a:solidFill>
                      <a:latin typeface="Arial Regular"/>
                      <a:cs typeface="Segoe UI" panose="020B0502040204020203" pitchFamily="34" charset="0"/>
                    </a:rPr>
                    <a:t>2-3 </a:t>
                  </a:r>
                  <a:r>
                    <a:rPr lang="en-US" sz="1500" dirty="0">
                      <a:solidFill>
                        <a:srgbClr val="71BD54"/>
                      </a:solidFill>
                      <a:latin typeface="Arial Regular"/>
                      <a:cs typeface="Segoe UI" panose="020B0502040204020203" pitchFamily="34" charset="0"/>
                    </a:rPr>
                    <a:t>countries</a:t>
                  </a:r>
                </a:p>
              </p:txBody>
            </p:sp>
          </p:grpSp>
          <p:pic>
            <p:nvPicPr>
              <p:cNvPr id="11" name="Picture 10">
                <a:extLst>
                  <a:ext uri="{FF2B5EF4-FFF2-40B4-BE49-F238E27FC236}">
                    <a16:creationId xmlns:a16="http://schemas.microsoft.com/office/drawing/2014/main" xmlns="" id="{7D979BA2-C9B8-40E6-8E95-A8E8DD82FD4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495877" y="3091396"/>
                <a:ext cx="563304" cy="616416"/>
              </a:xfrm>
              <a:prstGeom prst="rect">
                <a:avLst/>
              </a:prstGeom>
            </p:spPr>
          </p:pic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xmlns="" id="{1FA17B60-82D9-4127-AEA6-AC389FC40137}"/>
                </a:ext>
              </a:extLst>
            </p:cNvPr>
            <p:cNvGrpSpPr/>
            <p:nvPr/>
          </p:nvGrpSpPr>
          <p:grpSpPr>
            <a:xfrm>
              <a:off x="4739262" y="2144749"/>
              <a:ext cx="1642978" cy="1488621"/>
              <a:chOff x="6319016" y="2859665"/>
              <a:chExt cx="2190637" cy="1984828"/>
            </a:xfrm>
          </p:grpSpPr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xmlns="" id="{B9622F37-D50C-466C-B4F6-4CF1B279E5C9}"/>
                  </a:ext>
                </a:extLst>
              </p:cNvPr>
              <p:cNvGrpSpPr/>
              <p:nvPr/>
            </p:nvGrpSpPr>
            <p:grpSpPr>
              <a:xfrm>
                <a:off x="6319016" y="2859665"/>
                <a:ext cx="2190637" cy="1984828"/>
                <a:chOff x="6319016" y="2859665"/>
                <a:chExt cx="2190637" cy="1984828"/>
              </a:xfrm>
            </p:grpSpPr>
            <p:sp>
              <p:nvSpPr>
                <p:cNvPr id="17" name="Rectangle: Rounded Corners 16">
                  <a:extLst>
                    <a:ext uri="{FF2B5EF4-FFF2-40B4-BE49-F238E27FC236}">
                      <a16:creationId xmlns:a16="http://schemas.microsoft.com/office/drawing/2014/main" xmlns="" id="{7317809E-AEEC-427D-8F2E-3021E260B451}"/>
                    </a:ext>
                  </a:extLst>
                </p:cNvPr>
                <p:cNvSpPr/>
                <p:nvPr/>
              </p:nvSpPr>
              <p:spPr>
                <a:xfrm>
                  <a:off x="6319016" y="2859665"/>
                  <a:ext cx="2190637" cy="1984828"/>
                </a:xfrm>
                <a:prstGeom prst="roundRect">
                  <a:avLst>
                    <a:gd name="adj" fmla="val 1588"/>
                  </a:avLst>
                </a:prstGeom>
                <a:solidFill>
                  <a:schemeClr val="bg1"/>
                </a:solidFill>
                <a:ln>
                  <a:noFill/>
                </a:ln>
                <a:effectLst>
                  <a:outerShdw blurRad="381000" dist="254000" dir="5400000" sx="90000" sy="90000" algn="t" rotWithShape="0">
                    <a:schemeClr val="bg1">
                      <a:lumMod val="75000"/>
                      <a:alpha val="40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00">
                    <a:defRPr/>
                  </a:pPr>
                  <a:r>
                    <a:rPr lang="en-US" sz="7200" b="1" dirty="0">
                      <a:solidFill>
                        <a:srgbClr val="FFFFFF">
                          <a:lumMod val="95000"/>
                          <a:alpha val="60000"/>
                        </a:srgbClr>
                      </a:solidFill>
                      <a:latin typeface="Montserrat" panose="00000500000000000000" pitchFamily="50" charset="0"/>
                    </a:rPr>
                    <a:t>03</a:t>
                  </a:r>
                  <a:endParaRPr lang="id-ID" sz="7200" b="1" dirty="0">
                    <a:solidFill>
                      <a:srgbClr val="FFFFFF">
                        <a:lumMod val="95000"/>
                        <a:alpha val="60000"/>
                      </a:srgbClr>
                    </a:solidFill>
                    <a:latin typeface="Montserrat" panose="00000500000000000000" pitchFamily="50" charset="0"/>
                  </a:endParaRPr>
                </a:p>
              </p:txBody>
            </p:sp>
            <p:sp>
              <p:nvSpPr>
                <p:cNvPr id="18" name="Rectangle 17">
                  <a:extLst>
                    <a:ext uri="{FF2B5EF4-FFF2-40B4-BE49-F238E27FC236}">
                      <a16:creationId xmlns:a16="http://schemas.microsoft.com/office/drawing/2014/main" xmlns="" id="{E30C38E3-26E2-4B0A-B6AB-E8C709FDAC9B}"/>
                    </a:ext>
                  </a:extLst>
                </p:cNvPr>
                <p:cNvSpPr/>
                <p:nvPr/>
              </p:nvSpPr>
              <p:spPr>
                <a:xfrm>
                  <a:off x="6568591" y="3781500"/>
                  <a:ext cx="1691490" cy="769441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ctr" defTabSz="685800">
                    <a:defRPr/>
                  </a:pPr>
                  <a:r>
                    <a:rPr lang="en-US" sz="1050" dirty="0">
                      <a:solidFill>
                        <a:srgbClr val="71BD54"/>
                      </a:solidFill>
                      <a:latin typeface="Arial Regular"/>
                      <a:cs typeface="Segoe UI" panose="020B0502040204020203" pitchFamily="34" charset="0"/>
                    </a:rPr>
                    <a:t>average duration</a:t>
                  </a:r>
                </a:p>
                <a:p>
                  <a:pPr algn="ctr" defTabSz="685800">
                    <a:defRPr/>
                  </a:pPr>
                  <a:r>
                    <a:rPr lang="en-US" sz="2100" dirty="0">
                      <a:solidFill>
                        <a:srgbClr val="71BD54"/>
                      </a:solidFill>
                      <a:latin typeface="Arial Regular"/>
                      <a:cs typeface="Segoe UI" panose="020B0502040204020203" pitchFamily="34" charset="0"/>
                    </a:rPr>
                    <a:t>30</a:t>
                  </a:r>
                  <a:r>
                    <a:rPr lang="en-US" sz="1500" dirty="0">
                      <a:solidFill>
                        <a:srgbClr val="71BD54"/>
                      </a:solidFill>
                      <a:latin typeface="Arial Regular"/>
                      <a:cs typeface="Segoe UI" panose="020B0502040204020203" pitchFamily="34" charset="0"/>
                    </a:rPr>
                    <a:t> months</a:t>
                  </a:r>
                </a:p>
              </p:txBody>
            </p:sp>
          </p:grpSp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xmlns="" id="{0F542D95-D0B5-4992-B410-51982442A11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148422" y="3141956"/>
                <a:ext cx="541977" cy="441282"/>
              </a:xfrm>
              <a:prstGeom prst="rect">
                <a:avLst/>
              </a:prstGeom>
            </p:spPr>
          </p:pic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xmlns="" id="{05596EC5-A8E4-4401-B9C3-32A6DA9BE6C2}"/>
                </a:ext>
              </a:extLst>
            </p:cNvPr>
            <p:cNvGrpSpPr/>
            <p:nvPr/>
          </p:nvGrpSpPr>
          <p:grpSpPr>
            <a:xfrm>
              <a:off x="6716764" y="2144749"/>
              <a:ext cx="1642978" cy="1488621"/>
              <a:chOff x="8955685" y="2859665"/>
              <a:chExt cx="2190637" cy="1984828"/>
            </a:xfrm>
          </p:grpSpPr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xmlns="" id="{4E3B33B6-964B-4753-A443-27FD11AA9AD3}"/>
                  </a:ext>
                </a:extLst>
              </p:cNvPr>
              <p:cNvGrpSpPr/>
              <p:nvPr/>
            </p:nvGrpSpPr>
            <p:grpSpPr>
              <a:xfrm>
                <a:off x="8955685" y="2859665"/>
                <a:ext cx="2190637" cy="1984828"/>
                <a:chOff x="8955685" y="2859665"/>
                <a:chExt cx="2190637" cy="1984828"/>
              </a:xfrm>
            </p:grpSpPr>
            <p:sp>
              <p:nvSpPr>
                <p:cNvPr id="22" name="Rectangle: Rounded Corners 21">
                  <a:extLst>
                    <a:ext uri="{FF2B5EF4-FFF2-40B4-BE49-F238E27FC236}">
                      <a16:creationId xmlns:a16="http://schemas.microsoft.com/office/drawing/2014/main" xmlns="" id="{47FFD73A-4D11-42B5-94B7-585B85E2D292}"/>
                    </a:ext>
                  </a:extLst>
                </p:cNvPr>
                <p:cNvSpPr/>
                <p:nvPr/>
              </p:nvSpPr>
              <p:spPr>
                <a:xfrm>
                  <a:off x="8955685" y="2859665"/>
                  <a:ext cx="2190637" cy="1984828"/>
                </a:xfrm>
                <a:prstGeom prst="roundRect">
                  <a:avLst>
                    <a:gd name="adj" fmla="val 1588"/>
                  </a:avLst>
                </a:prstGeom>
                <a:solidFill>
                  <a:schemeClr val="bg1"/>
                </a:solidFill>
                <a:ln>
                  <a:noFill/>
                </a:ln>
                <a:effectLst>
                  <a:outerShdw blurRad="381000" dist="254000" dir="5400000" sx="90000" sy="90000" algn="t" rotWithShape="0">
                    <a:schemeClr val="bg1">
                      <a:lumMod val="75000"/>
                      <a:alpha val="40000"/>
                    </a:scheme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00">
                    <a:defRPr/>
                  </a:pPr>
                  <a:r>
                    <a:rPr lang="en-US" sz="7200" b="1" dirty="0">
                      <a:solidFill>
                        <a:srgbClr val="FFFFFF">
                          <a:lumMod val="95000"/>
                          <a:alpha val="60000"/>
                        </a:srgbClr>
                      </a:solidFill>
                      <a:latin typeface="Montserrat" panose="00000500000000000000" pitchFamily="50" charset="0"/>
                    </a:rPr>
                    <a:t>04</a:t>
                  </a:r>
                  <a:endParaRPr lang="id-ID" sz="7200" b="1" dirty="0">
                    <a:solidFill>
                      <a:srgbClr val="FFFFFF">
                        <a:lumMod val="95000"/>
                        <a:alpha val="60000"/>
                      </a:srgbClr>
                    </a:solidFill>
                    <a:latin typeface="Montserrat" panose="00000500000000000000" pitchFamily="50" charset="0"/>
                  </a:endParaRPr>
                </a:p>
              </p:txBody>
            </p:sp>
            <p:sp>
              <p:nvSpPr>
                <p:cNvPr id="23" name="Rectangle 22">
                  <a:extLst>
                    <a:ext uri="{FF2B5EF4-FFF2-40B4-BE49-F238E27FC236}">
                      <a16:creationId xmlns:a16="http://schemas.microsoft.com/office/drawing/2014/main" xmlns="" id="{42127703-C771-4A0C-9D96-F4D13B2702EF}"/>
                    </a:ext>
                  </a:extLst>
                </p:cNvPr>
                <p:cNvSpPr/>
                <p:nvPr/>
              </p:nvSpPr>
              <p:spPr>
                <a:xfrm>
                  <a:off x="9129010" y="3803985"/>
                  <a:ext cx="1851285" cy="769441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ctr" defTabSz="685800">
                    <a:defRPr/>
                  </a:pPr>
                  <a:r>
                    <a:rPr lang="en-US" sz="1050" dirty="0">
                      <a:solidFill>
                        <a:srgbClr val="71BD54"/>
                      </a:solidFill>
                      <a:latin typeface="Arial Regular"/>
                      <a:cs typeface="Segoe UI" panose="020B0502040204020203" pitchFamily="34" charset="0"/>
                    </a:rPr>
                    <a:t>average project cost</a:t>
                  </a:r>
                </a:p>
                <a:p>
                  <a:pPr algn="ctr" defTabSz="685800">
                    <a:defRPr/>
                  </a:pPr>
                  <a:r>
                    <a:rPr lang="en-US" sz="2100" dirty="0">
                      <a:solidFill>
                        <a:srgbClr val="71BD54"/>
                      </a:solidFill>
                      <a:latin typeface="Arial Regular"/>
                      <a:cs typeface="Segoe UI" panose="020B0502040204020203" pitchFamily="34" charset="0"/>
                    </a:rPr>
                    <a:t>€1.4 </a:t>
                  </a:r>
                  <a:r>
                    <a:rPr lang="en-US" sz="1500" dirty="0">
                      <a:solidFill>
                        <a:srgbClr val="71BD54"/>
                      </a:solidFill>
                      <a:latin typeface="Arial Regular"/>
                      <a:cs typeface="Segoe UI" panose="020B0502040204020203" pitchFamily="34" charset="0"/>
                    </a:rPr>
                    <a:t>million</a:t>
                  </a:r>
                </a:p>
              </p:txBody>
            </p:sp>
          </p:grpSp>
          <p:pic>
            <p:nvPicPr>
              <p:cNvPr id="21" name="Picture 20">
                <a:extLst>
                  <a:ext uri="{FF2B5EF4-FFF2-40B4-BE49-F238E27FC236}">
                    <a16:creationId xmlns:a16="http://schemas.microsoft.com/office/drawing/2014/main" xmlns="" id="{98BD6BAE-7EC7-4298-A87C-6E9F475B79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728905" y="3202041"/>
                <a:ext cx="636793" cy="448999"/>
              </a:xfrm>
              <a:prstGeom prst="rect">
                <a:avLst/>
              </a:prstGeom>
            </p:spPr>
          </p:pic>
        </p:grpSp>
      </p:grpSp>
      <p:sp>
        <p:nvSpPr>
          <p:cNvPr id="24" name="1 Título">
            <a:extLst>
              <a:ext uri="{FF2B5EF4-FFF2-40B4-BE49-F238E27FC236}">
                <a16:creationId xmlns:a16="http://schemas.microsoft.com/office/drawing/2014/main" xmlns="" id="{9E9D75D3-9A30-444E-991B-E3B2BF24A553}"/>
              </a:ext>
            </a:extLst>
          </p:cNvPr>
          <p:cNvSpPr txBox="1">
            <a:spLocks/>
          </p:cNvSpPr>
          <p:nvPr/>
        </p:nvSpPr>
        <p:spPr>
          <a:xfrm>
            <a:off x="319864" y="273886"/>
            <a:ext cx="8077200" cy="467372"/>
          </a:xfrm>
          <a:prstGeom prst="rect">
            <a:avLst/>
          </a:prstGeom>
        </p:spPr>
        <p:txBody>
          <a:bodyPr lIns="68580" tIns="34290" rIns="68580" bIns="34290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2700" b="1" dirty="0">
                <a:solidFill>
                  <a:srgbClr val="2F6EB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yecto Eurostars clásico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xmlns="" id="{F5752B21-EE04-0933-850F-AA7939B6298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6585" y="4506965"/>
            <a:ext cx="1485165" cy="556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957787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heme/theme1.xml><?xml version="1.0" encoding="utf-8"?>
<a:theme xmlns:a="http://schemas.openxmlformats.org/drawingml/2006/main" name="Presentación CDTI 2018">
  <a:themeElements>
    <a:clrScheme name="Oficin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icin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icin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389</TotalTime>
  <Words>1229</Words>
  <Application>Microsoft Office PowerPoint</Application>
  <PresentationFormat>Presentación en pantalla (16:9)</PresentationFormat>
  <Paragraphs>229</Paragraphs>
  <Slides>24</Slides>
  <Notes>6</Notes>
  <HiddenSlides>0</HiddenSlides>
  <MMClips>0</MMClips>
  <ScaleCrop>false</ScaleCrop>
  <HeadingPairs>
    <vt:vector size="6" baseType="variant">
      <vt:variant>
        <vt:lpstr>Fuentes usadas</vt:lpstr>
      </vt:variant>
      <vt:variant>
        <vt:i4>17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24</vt:i4>
      </vt:variant>
    </vt:vector>
  </HeadingPairs>
  <TitlesOfParts>
    <vt:vector size="42" baseType="lpstr">
      <vt:lpstr>MS PGothic</vt:lpstr>
      <vt:lpstr>Aharoni</vt:lpstr>
      <vt:lpstr>Arial</vt:lpstr>
      <vt:lpstr>Arial Narrow</vt:lpstr>
      <vt:lpstr>Arial Regular</vt:lpstr>
      <vt:lpstr>Calibri</vt:lpstr>
      <vt:lpstr>Cambria</vt:lpstr>
      <vt:lpstr>Gill Sans</vt:lpstr>
      <vt:lpstr>Inconsolata</vt:lpstr>
      <vt:lpstr>Latha</vt:lpstr>
      <vt:lpstr>Lucida Handwriting</vt:lpstr>
      <vt:lpstr>Minion Pro</vt:lpstr>
      <vt:lpstr>Montserrat</vt:lpstr>
      <vt:lpstr>Nunito Sans</vt:lpstr>
      <vt:lpstr>Segoe UI</vt:lpstr>
      <vt:lpstr>Tahoma</vt:lpstr>
      <vt:lpstr>Wingdings</vt:lpstr>
      <vt:lpstr>Presentación CDTI 2018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Evaluación Centralizada  -  Financiación Descentralizada</vt:lpstr>
      <vt:lpstr>Criterios de Elegibilidad Nacional</vt:lpstr>
      <vt:lpstr>Presentación de PowerPoint</vt:lpstr>
      <vt:lpstr>Países activos en la CoD5</vt:lpstr>
      <vt:lpstr>Construyendo el proyecto – Búsqueda de Socios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Oscar Roberto Gonzalez Llamazares</dc:creator>
  <cp:lastModifiedBy>Comisiones</cp:lastModifiedBy>
  <cp:revision>190</cp:revision>
  <cp:lastPrinted>2022-07-14T12:26:53Z</cp:lastPrinted>
  <dcterms:created xsi:type="dcterms:W3CDTF">2019-11-05T16:14:30Z</dcterms:created>
  <dcterms:modified xsi:type="dcterms:W3CDTF">2023-06-19T13:00:29Z</dcterms:modified>
</cp:coreProperties>
</file>